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slideLayouts/slideLayout14.xml" ContentType="application/vnd.openxmlformats-officedocument.presentationml.slideLayout+xml"/>
  <Override PartName="/ppt/theme/theme4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5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6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7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8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9.xml" ContentType="application/vnd.openxmlformats-officedocument.theme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10.xml" ContentType="application/vnd.openxmlformats-officedocument.theme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11.xml" ContentType="application/vnd.openxmlformats-officedocument.theme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12.xml" ContentType="application/vnd.openxmlformats-officedocument.theme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theme/theme13.xml" ContentType="application/vnd.openxmlformats-officedocument.theme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theme/theme14.xml" ContentType="application/vnd.openxmlformats-officedocument.theme+xml"/>
  <Override PartName="/ppt/slideLayouts/slideLayout200.xml" ContentType="application/vnd.openxmlformats-officedocument.presentationml.slideLayout+xml"/>
  <Override PartName="/ppt/theme/theme15.xml" ContentType="application/vnd.openxmlformats-officedocument.theme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theme/theme16.xml" ContentType="application/vnd.openxmlformats-officedocument.theme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theme/theme17.xml" ContentType="application/vnd.openxmlformats-officedocument.theme+xml"/>
  <Override PartName="/ppt/theme/theme18.xml" ContentType="application/vnd.openxmlformats-officedocument.theme+xml"/>
  <Override PartName="/ppt/theme/theme1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heme/themeOverride3.xml" ContentType="application/vnd.openxmlformats-officedocument.themeOverr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theme/themeOverride4.xml" ContentType="application/vnd.openxmlformats-officedocument.themeOverr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theme/themeOverride5.xml" ContentType="application/vnd.openxmlformats-officedocument.themeOverride+xml"/>
  <Override PartName="/ppt/notesSlides/notesSlide30.xml" ContentType="application/vnd.openxmlformats-officedocument.presentationml.notesSlide+xml"/>
  <Override PartName="/ppt/theme/themeOverride6.xml" ContentType="application/vnd.openxmlformats-officedocument.themeOverr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theme/themeOverride7.xml" ContentType="application/vnd.openxmlformats-officedocument.themeOverr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theme/themeOverride8.xml" ContentType="application/vnd.openxmlformats-officedocument.themeOverr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4"/>
    <p:sldMasterId id="2147483663" r:id="rId5"/>
    <p:sldMasterId id="2147483665" r:id="rId6"/>
    <p:sldMasterId id="2147483661" r:id="rId7"/>
    <p:sldMasterId id="2147483694" r:id="rId8"/>
    <p:sldMasterId id="2147483720" r:id="rId9"/>
    <p:sldMasterId id="2147483751" r:id="rId10"/>
    <p:sldMasterId id="2147483840" r:id="rId11"/>
    <p:sldMasterId id="2147483853" r:id="rId12"/>
    <p:sldMasterId id="2147483887" r:id="rId13"/>
    <p:sldMasterId id="2147483919" r:id="rId14"/>
    <p:sldMasterId id="2147483940" r:id="rId15"/>
    <p:sldMasterId id="2147483957" r:id="rId16"/>
    <p:sldMasterId id="2147483982" r:id="rId17"/>
    <p:sldMasterId id="2147484016" r:id="rId18"/>
    <p:sldMasterId id="2147484018" r:id="rId19"/>
    <p:sldMasterId id="2147484058" r:id="rId20"/>
  </p:sldMasterIdLst>
  <p:notesMasterIdLst>
    <p:notesMasterId r:id="rId84"/>
  </p:notesMasterIdLst>
  <p:handoutMasterIdLst>
    <p:handoutMasterId r:id="rId85"/>
  </p:handoutMasterIdLst>
  <p:sldIdLst>
    <p:sldId id="541" r:id="rId21"/>
    <p:sldId id="398" r:id="rId22"/>
    <p:sldId id="352" r:id="rId23"/>
    <p:sldId id="3631" r:id="rId24"/>
    <p:sldId id="3632" r:id="rId25"/>
    <p:sldId id="520" r:id="rId26"/>
    <p:sldId id="3621" r:id="rId27"/>
    <p:sldId id="3634" r:id="rId28"/>
    <p:sldId id="3622" r:id="rId29"/>
    <p:sldId id="3623" r:id="rId30"/>
    <p:sldId id="3624" r:id="rId31"/>
    <p:sldId id="500" r:id="rId32"/>
    <p:sldId id="259" r:id="rId33"/>
    <p:sldId id="8609" r:id="rId34"/>
    <p:sldId id="10920" r:id="rId35"/>
    <p:sldId id="10921" r:id="rId36"/>
    <p:sldId id="10096" r:id="rId37"/>
    <p:sldId id="10954" r:id="rId38"/>
    <p:sldId id="10955" r:id="rId39"/>
    <p:sldId id="10097" r:id="rId40"/>
    <p:sldId id="8584" r:id="rId41"/>
    <p:sldId id="10953" r:id="rId42"/>
    <p:sldId id="8691" r:id="rId43"/>
    <p:sldId id="1928" r:id="rId44"/>
    <p:sldId id="10883" r:id="rId45"/>
    <p:sldId id="10889" r:id="rId46"/>
    <p:sldId id="10890" r:id="rId47"/>
    <p:sldId id="10891" r:id="rId48"/>
    <p:sldId id="10892" r:id="rId49"/>
    <p:sldId id="10893" r:id="rId50"/>
    <p:sldId id="10957" r:id="rId51"/>
    <p:sldId id="8692" r:id="rId52"/>
    <p:sldId id="3748" r:id="rId53"/>
    <p:sldId id="10094" r:id="rId54"/>
    <p:sldId id="8550" r:id="rId55"/>
    <p:sldId id="8549" r:id="rId56"/>
    <p:sldId id="8551" r:id="rId57"/>
    <p:sldId id="8695" r:id="rId58"/>
    <p:sldId id="3617" r:id="rId59"/>
    <p:sldId id="10976" r:id="rId60"/>
    <p:sldId id="10971" r:id="rId61"/>
    <p:sldId id="8557" r:id="rId62"/>
    <p:sldId id="8515" r:id="rId63"/>
    <p:sldId id="8700" r:id="rId64"/>
    <p:sldId id="8516" r:id="rId65"/>
    <p:sldId id="10100" r:id="rId66"/>
    <p:sldId id="8568" r:id="rId67"/>
    <p:sldId id="10993" r:id="rId68"/>
    <p:sldId id="10978" r:id="rId69"/>
    <p:sldId id="10981" r:id="rId70"/>
    <p:sldId id="10982" r:id="rId71"/>
    <p:sldId id="10983" r:id="rId72"/>
    <p:sldId id="10984" r:id="rId73"/>
    <p:sldId id="10986" r:id="rId74"/>
    <p:sldId id="10985" r:id="rId75"/>
    <p:sldId id="10987" r:id="rId76"/>
    <p:sldId id="10988" r:id="rId77"/>
    <p:sldId id="10989" r:id="rId78"/>
    <p:sldId id="10990" r:id="rId79"/>
    <p:sldId id="10991" r:id="rId80"/>
    <p:sldId id="10992" r:id="rId81"/>
    <p:sldId id="10975" r:id="rId82"/>
    <p:sldId id="10092" r:id="rId8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" id="{0C682E15-2E16-4A71-9152-67FB457BC042}">
          <p14:sldIdLst>
            <p14:sldId id="541"/>
            <p14:sldId id="398"/>
            <p14:sldId id="352"/>
            <p14:sldId id="3631"/>
            <p14:sldId id="3632"/>
            <p14:sldId id="520"/>
            <p14:sldId id="3621"/>
            <p14:sldId id="3634"/>
            <p14:sldId id="3622"/>
            <p14:sldId id="3623"/>
            <p14:sldId id="3624"/>
            <p14:sldId id="500"/>
            <p14:sldId id="259"/>
            <p14:sldId id="8609"/>
            <p14:sldId id="10920"/>
            <p14:sldId id="10921"/>
            <p14:sldId id="10096"/>
            <p14:sldId id="10954"/>
            <p14:sldId id="10955"/>
            <p14:sldId id="10097"/>
            <p14:sldId id="8584"/>
            <p14:sldId id="10953"/>
            <p14:sldId id="8691"/>
            <p14:sldId id="1928"/>
            <p14:sldId id="10883"/>
            <p14:sldId id="10889"/>
            <p14:sldId id="10890"/>
            <p14:sldId id="10891"/>
            <p14:sldId id="10892"/>
            <p14:sldId id="10893"/>
            <p14:sldId id="10957"/>
            <p14:sldId id="8692"/>
            <p14:sldId id="3748"/>
            <p14:sldId id="10094"/>
            <p14:sldId id="8550"/>
            <p14:sldId id="8549"/>
            <p14:sldId id="8551"/>
            <p14:sldId id="8695"/>
            <p14:sldId id="3617"/>
            <p14:sldId id="10976"/>
            <p14:sldId id="10971"/>
            <p14:sldId id="8557"/>
            <p14:sldId id="8515"/>
            <p14:sldId id="8700"/>
            <p14:sldId id="8516"/>
            <p14:sldId id="10100"/>
            <p14:sldId id="8568"/>
            <p14:sldId id="10993"/>
            <p14:sldId id="10978"/>
            <p14:sldId id="10981"/>
            <p14:sldId id="10982"/>
            <p14:sldId id="10983"/>
            <p14:sldId id="10984"/>
            <p14:sldId id="10986"/>
            <p14:sldId id="10985"/>
            <p14:sldId id="10987"/>
            <p14:sldId id="10988"/>
            <p14:sldId id="10989"/>
            <p14:sldId id="10990"/>
            <p14:sldId id="10991"/>
            <p14:sldId id="10992"/>
            <p14:sldId id="10975"/>
            <p14:sldId id="1009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1"/>
    <p:restoredTop sz="89692" autoAdjust="0"/>
  </p:normalViewPr>
  <p:slideViewPr>
    <p:cSldViewPr snapToGrid="0">
      <p:cViewPr varScale="1">
        <p:scale>
          <a:sx n="90" d="100"/>
          <a:sy n="90" d="100"/>
        </p:scale>
        <p:origin x="232" y="4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6.xml"/><Relationship Id="rId21" Type="http://schemas.openxmlformats.org/officeDocument/2006/relationships/slide" Target="slides/slide1.xml"/><Relationship Id="rId42" Type="http://schemas.openxmlformats.org/officeDocument/2006/relationships/slide" Target="slides/slide22.xml"/><Relationship Id="rId47" Type="http://schemas.openxmlformats.org/officeDocument/2006/relationships/slide" Target="slides/slide27.xml"/><Relationship Id="rId63" Type="http://schemas.openxmlformats.org/officeDocument/2006/relationships/slide" Target="slides/slide43.xml"/><Relationship Id="rId68" Type="http://schemas.openxmlformats.org/officeDocument/2006/relationships/slide" Target="slides/slide48.xml"/><Relationship Id="rId84" Type="http://schemas.openxmlformats.org/officeDocument/2006/relationships/notesMaster" Target="notesMasters/notesMaster1.xml"/><Relationship Id="rId89" Type="http://schemas.openxmlformats.org/officeDocument/2006/relationships/tableStyles" Target="tableStyles.xml"/><Relationship Id="rId16" Type="http://schemas.openxmlformats.org/officeDocument/2006/relationships/slideMaster" Target="slideMasters/slideMaster13.xml"/><Relationship Id="rId11" Type="http://schemas.openxmlformats.org/officeDocument/2006/relationships/slideMaster" Target="slideMasters/slideMaster8.xml"/><Relationship Id="rId32" Type="http://schemas.openxmlformats.org/officeDocument/2006/relationships/slide" Target="slides/slide12.xml"/><Relationship Id="rId37" Type="http://schemas.openxmlformats.org/officeDocument/2006/relationships/slide" Target="slides/slide17.xml"/><Relationship Id="rId53" Type="http://schemas.openxmlformats.org/officeDocument/2006/relationships/slide" Target="slides/slide33.xml"/><Relationship Id="rId58" Type="http://schemas.openxmlformats.org/officeDocument/2006/relationships/slide" Target="slides/slide38.xml"/><Relationship Id="rId74" Type="http://schemas.openxmlformats.org/officeDocument/2006/relationships/slide" Target="slides/slide54.xml"/><Relationship Id="rId79" Type="http://schemas.openxmlformats.org/officeDocument/2006/relationships/slide" Target="slides/slide59.xml"/><Relationship Id="rId5" Type="http://schemas.openxmlformats.org/officeDocument/2006/relationships/slideMaster" Target="slideMasters/slideMaster2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2.xml"/><Relationship Id="rId27" Type="http://schemas.openxmlformats.org/officeDocument/2006/relationships/slide" Target="slides/slide7.xml"/><Relationship Id="rId30" Type="http://schemas.openxmlformats.org/officeDocument/2006/relationships/slide" Target="slides/slide10.xml"/><Relationship Id="rId35" Type="http://schemas.openxmlformats.org/officeDocument/2006/relationships/slide" Target="slides/slide15.xml"/><Relationship Id="rId43" Type="http://schemas.openxmlformats.org/officeDocument/2006/relationships/slide" Target="slides/slide23.xml"/><Relationship Id="rId48" Type="http://schemas.openxmlformats.org/officeDocument/2006/relationships/slide" Target="slides/slide28.xml"/><Relationship Id="rId56" Type="http://schemas.openxmlformats.org/officeDocument/2006/relationships/slide" Target="slides/slide36.xml"/><Relationship Id="rId64" Type="http://schemas.openxmlformats.org/officeDocument/2006/relationships/slide" Target="slides/slide44.xml"/><Relationship Id="rId69" Type="http://schemas.openxmlformats.org/officeDocument/2006/relationships/slide" Target="slides/slide49.xml"/><Relationship Id="rId77" Type="http://schemas.openxmlformats.org/officeDocument/2006/relationships/slide" Target="slides/slide57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31.xml"/><Relationship Id="rId72" Type="http://schemas.openxmlformats.org/officeDocument/2006/relationships/slide" Target="slides/slide52.xml"/><Relationship Id="rId80" Type="http://schemas.openxmlformats.org/officeDocument/2006/relationships/slide" Target="slides/slide60.xml"/><Relationship Id="rId85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5.xml"/><Relationship Id="rId33" Type="http://schemas.openxmlformats.org/officeDocument/2006/relationships/slide" Target="slides/slide13.xml"/><Relationship Id="rId38" Type="http://schemas.openxmlformats.org/officeDocument/2006/relationships/slide" Target="slides/slide18.xml"/><Relationship Id="rId46" Type="http://schemas.openxmlformats.org/officeDocument/2006/relationships/slide" Target="slides/slide26.xml"/><Relationship Id="rId59" Type="http://schemas.openxmlformats.org/officeDocument/2006/relationships/slide" Target="slides/slide39.xml"/><Relationship Id="rId67" Type="http://schemas.openxmlformats.org/officeDocument/2006/relationships/slide" Target="slides/slide47.xml"/><Relationship Id="rId20" Type="http://schemas.openxmlformats.org/officeDocument/2006/relationships/slideMaster" Target="slideMasters/slideMaster17.xml"/><Relationship Id="rId41" Type="http://schemas.openxmlformats.org/officeDocument/2006/relationships/slide" Target="slides/slide21.xml"/><Relationship Id="rId54" Type="http://schemas.openxmlformats.org/officeDocument/2006/relationships/slide" Target="slides/slide34.xml"/><Relationship Id="rId62" Type="http://schemas.openxmlformats.org/officeDocument/2006/relationships/slide" Target="slides/slide42.xml"/><Relationship Id="rId70" Type="http://schemas.openxmlformats.org/officeDocument/2006/relationships/slide" Target="slides/slide50.xml"/><Relationship Id="rId75" Type="http://schemas.openxmlformats.org/officeDocument/2006/relationships/slide" Target="slides/slide55.xml"/><Relationship Id="rId83" Type="http://schemas.openxmlformats.org/officeDocument/2006/relationships/slide" Target="slides/slide63.xml"/><Relationship Id="rId88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3.xml"/><Relationship Id="rId28" Type="http://schemas.openxmlformats.org/officeDocument/2006/relationships/slide" Target="slides/slide8.xml"/><Relationship Id="rId36" Type="http://schemas.openxmlformats.org/officeDocument/2006/relationships/slide" Target="slides/slide16.xml"/><Relationship Id="rId49" Type="http://schemas.openxmlformats.org/officeDocument/2006/relationships/slide" Target="slides/slide29.xml"/><Relationship Id="rId57" Type="http://schemas.openxmlformats.org/officeDocument/2006/relationships/slide" Target="slides/slide37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11.xml"/><Relationship Id="rId44" Type="http://schemas.openxmlformats.org/officeDocument/2006/relationships/slide" Target="slides/slide24.xml"/><Relationship Id="rId52" Type="http://schemas.openxmlformats.org/officeDocument/2006/relationships/slide" Target="slides/slide32.xml"/><Relationship Id="rId60" Type="http://schemas.openxmlformats.org/officeDocument/2006/relationships/slide" Target="slides/slide40.xml"/><Relationship Id="rId65" Type="http://schemas.openxmlformats.org/officeDocument/2006/relationships/slide" Target="slides/slide45.xml"/><Relationship Id="rId73" Type="http://schemas.openxmlformats.org/officeDocument/2006/relationships/slide" Target="slides/slide53.xml"/><Relationship Id="rId78" Type="http://schemas.openxmlformats.org/officeDocument/2006/relationships/slide" Target="slides/slide58.xml"/><Relationship Id="rId81" Type="http://schemas.openxmlformats.org/officeDocument/2006/relationships/slide" Target="slides/slide61.xml"/><Relationship Id="rId86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39" Type="http://schemas.openxmlformats.org/officeDocument/2006/relationships/slide" Target="slides/slide19.xml"/><Relationship Id="rId34" Type="http://schemas.openxmlformats.org/officeDocument/2006/relationships/slide" Target="slides/slide14.xml"/><Relationship Id="rId50" Type="http://schemas.openxmlformats.org/officeDocument/2006/relationships/slide" Target="slides/slide30.xml"/><Relationship Id="rId55" Type="http://schemas.openxmlformats.org/officeDocument/2006/relationships/slide" Target="slides/slide35.xml"/><Relationship Id="rId76" Type="http://schemas.openxmlformats.org/officeDocument/2006/relationships/slide" Target="slides/slide56.xml"/><Relationship Id="rId7" Type="http://schemas.openxmlformats.org/officeDocument/2006/relationships/slideMaster" Target="slideMasters/slideMaster4.xml"/><Relationship Id="rId71" Type="http://schemas.openxmlformats.org/officeDocument/2006/relationships/slide" Target="slides/slide51.xml"/><Relationship Id="rId2" Type="http://schemas.openxmlformats.org/officeDocument/2006/relationships/customXml" Target="../customXml/item2.xml"/><Relationship Id="rId29" Type="http://schemas.openxmlformats.org/officeDocument/2006/relationships/slide" Target="slides/slide9.xml"/><Relationship Id="rId24" Type="http://schemas.openxmlformats.org/officeDocument/2006/relationships/slide" Target="slides/slide4.xml"/><Relationship Id="rId40" Type="http://schemas.openxmlformats.org/officeDocument/2006/relationships/slide" Target="slides/slide20.xml"/><Relationship Id="rId45" Type="http://schemas.openxmlformats.org/officeDocument/2006/relationships/slide" Target="slides/slide25.xml"/><Relationship Id="rId66" Type="http://schemas.openxmlformats.org/officeDocument/2006/relationships/slide" Target="slides/slide46.xml"/><Relationship Id="rId87" Type="http://schemas.openxmlformats.org/officeDocument/2006/relationships/viewProps" Target="viewProps.xml"/><Relationship Id="rId61" Type="http://schemas.openxmlformats.org/officeDocument/2006/relationships/slide" Target="slides/slide41.xml"/><Relationship Id="rId82" Type="http://schemas.openxmlformats.org/officeDocument/2006/relationships/slide" Target="slides/slide62.xml"/><Relationship Id="rId19" Type="http://schemas.openxmlformats.org/officeDocument/2006/relationships/slideMaster" Target="slideMasters/slideMaster16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F29697-4A6D-AC4B-B035-E737BE26C24F}" type="datetimeFigureOut">
              <a:rPr lang="en-US" smtClean="0"/>
              <a:t>1/28/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166E8A-67CA-C341-8374-503D670F7D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39878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795838-E26F-BF4F-AF40-5695E293B9BE}" type="datetimeFigureOut">
              <a:rPr lang="en-US" smtClean="0"/>
              <a:t>1/28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5375D1-61FB-3243-8074-59CD809395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53845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5375D1-61FB-3243-8074-59CD809395A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10696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g45ddbdda59_2_2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4" name="Google Shape;94;g45ddbdda59_2_23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7750661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g45ddbdda59_2_22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9" name="Google Shape;119;g45ddbdda59_2_22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7 – 8 minutes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69256677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Google Shape;125;g45ddbdda59_2_22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6" name="Google Shape;126;g45ddbdda59_2_223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8-10 minutes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10967205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C470E0-F101-4710-A121-DF6D0F7F2570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897385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r>
              <a:rPr lang="en-US"/>
              <a:t>10 minutes</a:t>
            </a:r>
          </a:p>
        </p:txBody>
      </p:sp>
    </p:spTree>
    <p:extLst>
      <p:ext uri="{BB962C8B-B14F-4D97-AF65-F5344CB8AC3E}">
        <p14:creationId xmlns:p14="http://schemas.microsoft.com/office/powerpoint/2010/main" val="401593806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r>
              <a:rPr lang="en-US"/>
              <a:t>10 minutes</a:t>
            </a:r>
          </a:p>
        </p:txBody>
      </p:sp>
    </p:spTree>
    <p:extLst>
      <p:ext uri="{BB962C8B-B14F-4D97-AF65-F5344CB8AC3E}">
        <p14:creationId xmlns:p14="http://schemas.microsoft.com/office/powerpoint/2010/main" val="82889779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g45ddbdda59_2_1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0" name="Google Shape;70;g45ddbdda59_2_1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4926566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ook up who is Dinesh Nirmal IB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B8AF7F-066E-4BCD-B99A-AC4EB14F352D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187485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r>
              <a:rPr lang="en-US" sz="1100" b="0" i="0" u="none" strike="noStrike" cap="none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</a:rPr>
              <a:t>Site Reliability Engineers </a:t>
            </a:r>
          </a:p>
        </p:txBody>
      </p:sp>
    </p:spTree>
    <p:extLst>
      <p:ext uri="{BB962C8B-B14F-4D97-AF65-F5344CB8AC3E}">
        <p14:creationId xmlns:p14="http://schemas.microsoft.com/office/powerpoint/2010/main" val="263500907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g45ddbdda59_2_1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0" name="Google Shape;70;g45ddbdda59_2_1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09567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3A18DF-2E2C-4B51-B31A-8EAAD44872A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1160490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B8AF7F-066E-4BCD-B99A-AC4EB14F352D}" type="slidenum">
              <a:rPr lang="en-GB" smtClean="0"/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237219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038957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638049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950354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016279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530882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293662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457119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g45ddbdda59_2_1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0" name="Google Shape;70;g45ddbdda59_2_1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4361212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1/29/21 6:50 A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99896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3A18DF-2E2C-4B51-B31A-8EAAD44872A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046889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g45ddbdda59_2_1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0" name="Google Shape;70;g45ddbdda59_2_1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2212200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g45ddbdda59_2_1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0" name="Google Shape;70;g45ddbdda59_2_1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071043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2D3714-B553-A044-BA72-366907BA36B5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996687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2609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r>
              <a:rPr lang="en-US"/>
              <a:t>27m-28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852878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F23E6A-3945-4101-B321-93EC5C297B7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198325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r>
              <a:rPr lang="en-US"/>
              <a:t>27m</a:t>
            </a:r>
          </a:p>
        </p:txBody>
      </p:sp>
    </p:spTree>
    <p:extLst>
      <p:ext uri="{BB962C8B-B14F-4D97-AF65-F5344CB8AC3E}">
        <p14:creationId xmlns:p14="http://schemas.microsoft.com/office/powerpoint/2010/main" val="185739981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r>
              <a:rPr lang="en-GB"/>
              <a:t>29m-30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9083713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r>
              <a:rPr lang="en-GB"/>
              <a:t>30m-31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995272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r>
              <a:rPr lang="en-GB"/>
              <a:t>31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61638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3A18DF-2E2C-4B51-B31A-8EAAD44872A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5533349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GB"/>
              <a:t>31m</a:t>
            </a:r>
          </a:p>
          <a:p>
            <a:pPr marL="158750" indent="0">
              <a:buNone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3600377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GB"/>
              <a:t>31m-32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8159932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GB"/>
              <a:t>31m-32m</a:t>
            </a:r>
          </a:p>
          <a:p>
            <a:pPr marL="158750" indent="0">
              <a:buNone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532680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GB"/>
              <a:t>31m-32m</a:t>
            </a:r>
          </a:p>
          <a:p>
            <a:pPr marL="158750" indent="0">
              <a:buNone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8417478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GB"/>
              <a:t>31m-32m</a:t>
            </a:r>
          </a:p>
          <a:p>
            <a:pPr marL="158750" indent="0">
              <a:buNone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8154473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r>
              <a:rPr lang="en-GB"/>
              <a:t>32m-33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5302105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GB"/>
              <a:t>32m-33m</a:t>
            </a:r>
          </a:p>
          <a:p>
            <a:pPr marL="158750" indent="0">
              <a:buNone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8289090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GB"/>
              <a:t>32m-33m</a:t>
            </a:r>
          </a:p>
          <a:p>
            <a:pPr marL="158750" indent="0">
              <a:buNone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5555693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GB"/>
              <a:t>32m-33m</a:t>
            </a:r>
          </a:p>
          <a:p>
            <a:pPr marL="158750" indent="0">
              <a:buNone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1050669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GB"/>
              <a:t>32m-33m</a:t>
            </a:r>
          </a:p>
          <a:p>
            <a:pPr marL="158750" indent="0">
              <a:buNone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06790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50404E-245B-4AEC-843D-8091A336220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153401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r>
              <a:rPr lang="en-GB"/>
              <a:t>33m-34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2414459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66612">
              <a:defRPr/>
            </a:pPr>
            <a:r>
              <a:rPr lang="en-US"/>
              <a:t>Here is the data scientist’s inner loop of work</a:t>
            </a:r>
          </a:p>
          <a:p>
            <a:pPr defTabSz="966612">
              <a:defRPr/>
            </a:pPr>
            <a:endParaRPr lang="en-US"/>
          </a:p>
          <a:p>
            <a:pPr defTabSz="966612">
              <a:defRPr/>
            </a:pPr>
            <a:r>
              <a:rPr lang="en-US"/>
              <a:t>The interesting piece is now this DS loop is merged with the DevOps cycle</a:t>
            </a:r>
          </a:p>
          <a:p>
            <a:pPr defTabSz="966612">
              <a:defRPr/>
            </a:pPr>
            <a:endParaRPr lang="en-US"/>
          </a:p>
          <a:p>
            <a:pPr defTabSz="966612">
              <a:defRPr/>
            </a:pPr>
            <a:r>
              <a:rPr lang="en-US"/>
              <a:t>Offers complete ML lifecycle management</a:t>
            </a:r>
          </a:p>
          <a:p>
            <a:pPr defTabSz="966612">
              <a:defRPr/>
            </a:pPr>
            <a:endParaRPr lang="en-US"/>
          </a:p>
          <a:p>
            <a:pPr defTabSz="966612">
              <a:defRPr/>
            </a:pPr>
            <a:r>
              <a:rPr lang="en-US"/>
              <a:t>Brings CI/CD to life</a:t>
            </a:r>
          </a:p>
          <a:p>
            <a:pPr defTabSz="966612">
              <a:defRPr/>
            </a:pPr>
            <a:endParaRPr lang="en-US"/>
          </a:p>
          <a:p>
            <a:pPr defTabSz="966612">
              <a:defRPr/>
            </a:pPr>
            <a:r>
              <a:rPr lang="en-US"/>
              <a:t>Helps create the feedback loop for DS to improve</a:t>
            </a:r>
          </a:p>
          <a:p>
            <a:pPr defTabSz="966612">
              <a:defRPr/>
            </a:pPr>
            <a:endParaRPr lang="en-US"/>
          </a:p>
          <a:p>
            <a:pPr defTabSz="966612">
              <a:defRPr/>
            </a:pPr>
            <a:r>
              <a:rPr lang="en-US"/>
              <a:t>&lt;Transition to BP discussion&gt;</a:t>
            </a:r>
          </a:p>
          <a:p>
            <a:pPr defTabSz="966612">
              <a:defRPr/>
            </a:pPr>
            <a:endParaRPr lang="en-US"/>
          </a:p>
          <a:p>
            <a:pPr defTabSz="966612">
              <a:defRPr/>
            </a:pPr>
            <a:r>
              <a:rPr lang="en-US"/>
              <a:t>Let’s understand this better from the perspective of a customer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83961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50404E-245B-4AEC-843D-8091A336220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25012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50404E-245B-4AEC-843D-8091A336220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03057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5375D1-61FB-3243-8074-59CD809395A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54110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g45ddbdda59_2_1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0" name="Google Shape;70;g45ddbdda59_2_1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993952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1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13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13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13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13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4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4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4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6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6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6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6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6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B27273-82A0-4F03-B551-F05C0A270C9F}" type="datetimeFigureOut">
              <a:rPr lang="en-US" smtClean="0"/>
              <a:t>1/28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8363C5-1D77-4ABE-8C60-573DC6EF2A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38041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B27273-82A0-4F03-B551-F05C0A270C9F}" type="datetimeFigureOut">
              <a:rPr lang="en-US" smtClean="0"/>
              <a:t>1/28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8363C5-1D77-4ABE-8C60-573DC6EF2A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488260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77582" y="1635896"/>
            <a:ext cx="2689274" cy="4931036"/>
          </a:xfrm>
        </p:spPr>
        <p:txBody>
          <a:bodyPr>
            <a:noAutofit/>
          </a:bodyPr>
          <a:lstStyle>
            <a:lvl1pPr marL="336145" indent="-336145">
              <a:buNone/>
              <a:defRPr kumimoji="0" lang="en-US" sz="2353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89615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to edit</a:t>
            </a:r>
            <a:br>
              <a:rPr lang="en-US"/>
            </a:br>
            <a:r>
              <a:rPr lang="en-US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27913716"/>
      </p:ext>
    </p:extLst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45583741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94668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389">
                      <a:schemeClr val="tx2"/>
                    </a:gs>
                    <a:gs pos="31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91" indent="0">
              <a:buNone/>
              <a:tabLst/>
              <a:defRPr sz="1961"/>
            </a:lvl3pPr>
            <a:lvl4pPr marL="451269" indent="0">
              <a:buNone/>
              <a:defRPr/>
            </a:lvl4pPr>
            <a:lvl5pPr marL="672236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9175"/>
            <a:ext cx="5378548" cy="194668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389">
                      <a:schemeClr val="tx2"/>
                    </a:gs>
                    <a:gs pos="31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91" indent="0">
              <a:buNone/>
              <a:tabLst/>
              <a:defRPr sz="1961"/>
            </a:lvl3pPr>
            <a:lvl4pPr marL="451269" indent="0">
              <a:buNone/>
              <a:defRPr/>
            </a:lvl4pPr>
            <a:lvl5pPr marL="672236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07495572"/>
      </p:ext>
    </p:extLst>
  </p:cSld>
  <p:clrMapOvr>
    <a:masterClrMapping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8"/>
            <a:ext cx="11653523" cy="2187971"/>
          </a:xfrm>
        </p:spPr>
        <p:txBody>
          <a:bodyPr>
            <a:spAutoFit/>
          </a:bodyPr>
          <a:lstStyle>
            <a:lvl1pPr>
              <a:buClr>
                <a:schemeClr val="tx2"/>
              </a:buClr>
              <a:defRPr sz="3921">
                <a:gradFill>
                  <a:gsLst>
                    <a:gs pos="7080">
                      <a:schemeClr val="tx2"/>
                    </a:gs>
                    <a:gs pos="36283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01909573"/>
      </p:ext>
    </p:extLst>
  </p:cSld>
  <p:clrMapOvr>
    <a:masterClrMapping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121606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20354">
                      <a:schemeClr val="tx2"/>
                    </a:gs>
                    <a:gs pos="40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79" indent="0">
              <a:buNone/>
              <a:defRPr/>
            </a:lvl3pPr>
            <a:lvl4pPr marL="448157" indent="0">
              <a:buNone/>
              <a:defRPr/>
            </a:lvl4pPr>
            <a:lvl5pPr marL="672236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01535008"/>
      </p:ext>
    </p:extLst>
  </p:cSld>
  <p:clrMapOvr>
    <a:masterClrMapping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2-color bullete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184808"/>
          </a:xfrm>
        </p:spPr>
        <p:txBody>
          <a:bodyPr>
            <a:spAutoFit/>
          </a:bodyPr>
          <a:lstStyle>
            <a:lvl1pPr>
              <a:buClr>
                <a:schemeClr val="tx2"/>
              </a:buClr>
              <a:defRPr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  <a:lvl3pPr>
              <a:defRPr sz="2353"/>
            </a:lvl3pPr>
            <a:lvl4pPr>
              <a:defRPr sz="1961"/>
            </a:lvl4pPr>
            <a:lvl5pPr>
              <a:defRPr sz="196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67997077"/>
      </p:ext>
    </p:extLst>
  </p:cSld>
  <p:clrMapOvr>
    <a:masterClrMapping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49" y="228600"/>
            <a:ext cx="11151917" cy="6093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49" y="1447800"/>
            <a:ext cx="11151917" cy="21848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3889643"/>
      </p:ext>
    </p:extLst>
  </p:cSld>
  <p:clrMapOvr>
    <a:masterClrMapping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27310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27310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1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50B57460-EC8C-496E-B825-E030E5EAD088}" type="datetimeFigureOut">
              <a:rPr lang="en-US" smtClean="0">
                <a:solidFill>
                  <a:srgbClr val="FFFFFF"/>
                </a:solidFill>
              </a:rPr>
              <a:pPr/>
              <a:t>1/28/21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C7CA368E-06D4-4D16-ACE0-0F724B54AFDF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248148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Intelligent Cloud Architect Boot Camp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rc 12">
            <a:extLst>
              <a:ext uri="{FF2B5EF4-FFF2-40B4-BE49-F238E27FC236}">
                <a16:creationId xmlns:a16="http://schemas.microsoft.com/office/drawing/2014/main" id="{4482FD05-F4F6-4D52-A0D4-67F8B984BC9F}"/>
              </a:ext>
            </a:extLst>
          </p:cNvPr>
          <p:cNvSpPr/>
          <p:nvPr userDrawn="1"/>
        </p:nvSpPr>
        <p:spPr>
          <a:xfrm rot="16200000">
            <a:off x="8300546" y="1869065"/>
            <a:ext cx="2659858" cy="5123677"/>
          </a:xfrm>
          <a:custGeom>
            <a:avLst/>
            <a:gdLst>
              <a:gd name="connsiteX0" fmla="*/ 1485900 w 2971800"/>
              <a:gd name="connsiteY0" fmla="*/ 0 h 4581267"/>
              <a:gd name="connsiteX1" fmla="*/ 2735082 w 2971800"/>
              <a:gd name="connsiteY1" fmla="*/ 1050219 h 4581267"/>
              <a:gd name="connsiteX2" fmla="*/ 2971785 w 2971800"/>
              <a:gd name="connsiteY2" fmla="*/ 2301099 h 4581267"/>
              <a:gd name="connsiteX3" fmla="*/ 1485900 w 2971800"/>
              <a:gd name="connsiteY3" fmla="*/ 2290634 h 4581267"/>
              <a:gd name="connsiteX4" fmla="*/ 1485900 w 2971800"/>
              <a:gd name="connsiteY4" fmla="*/ 0 h 4581267"/>
              <a:gd name="connsiteX0" fmla="*/ 1485900 w 2971800"/>
              <a:gd name="connsiteY0" fmla="*/ 0 h 4581267"/>
              <a:gd name="connsiteX1" fmla="*/ 2735082 w 2971800"/>
              <a:gd name="connsiteY1" fmla="*/ 1050219 h 4581267"/>
              <a:gd name="connsiteX2" fmla="*/ 2971785 w 2971800"/>
              <a:gd name="connsiteY2" fmla="*/ 2301099 h 4581267"/>
              <a:gd name="connsiteX0" fmla="*/ 0 w 1485900"/>
              <a:gd name="connsiteY0" fmla="*/ 0 h 5095102"/>
              <a:gd name="connsiteX1" fmla="*/ 1249182 w 1485900"/>
              <a:gd name="connsiteY1" fmla="*/ 1050219 h 5095102"/>
              <a:gd name="connsiteX2" fmla="*/ 1485885 w 1485900"/>
              <a:gd name="connsiteY2" fmla="*/ 2301099 h 5095102"/>
              <a:gd name="connsiteX3" fmla="*/ 0 w 1485900"/>
              <a:gd name="connsiteY3" fmla="*/ 2290634 h 5095102"/>
              <a:gd name="connsiteX4" fmla="*/ 0 w 1485900"/>
              <a:gd name="connsiteY4" fmla="*/ 0 h 5095102"/>
              <a:gd name="connsiteX0" fmla="*/ 0 w 1485900"/>
              <a:gd name="connsiteY0" fmla="*/ 0 h 5095102"/>
              <a:gd name="connsiteX1" fmla="*/ 1249182 w 1485900"/>
              <a:gd name="connsiteY1" fmla="*/ 1050219 h 5095102"/>
              <a:gd name="connsiteX2" fmla="*/ 457184 w 1485900"/>
              <a:gd name="connsiteY2" fmla="*/ 5095102 h 5095102"/>
              <a:gd name="connsiteX0" fmla="*/ 1143000 w 2628900"/>
              <a:gd name="connsiteY0" fmla="*/ 0 h 5095102"/>
              <a:gd name="connsiteX1" fmla="*/ 2392182 w 2628900"/>
              <a:gd name="connsiteY1" fmla="*/ 1050219 h 5095102"/>
              <a:gd name="connsiteX2" fmla="*/ 2628885 w 2628900"/>
              <a:gd name="connsiteY2" fmla="*/ 2301099 h 5095102"/>
              <a:gd name="connsiteX3" fmla="*/ 1143000 w 2628900"/>
              <a:gd name="connsiteY3" fmla="*/ 2290634 h 5095102"/>
              <a:gd name="connsiteX4" fmla="*/ 1143000 w 2628900"/>
              <a:gd name="connsiteY4" fmla="*/ 0 h 5095102"/>
              <a:gd name="connsiteX0" fmla="*/ 0 w 2628900"/>
              <a:gd name="connsiteY0" fmla="*/ 1816100 h 5095102"/>
              <a:gd name="connsiteX1" fmla="*/ 2392182 w 2628900"/>
              <a:gd name="connsiteY1" fmla="*/ 1050219 h 5095102"/>
              <a:gd name="connsiteX2" fmla="*/ 1600184 w 2628900"/>
              <a:gd name="connsiteY2" fmla="*/ 5095102 h 5095102"/>
              <a:gd name="connsiteX0" fmla="*/ 1176338 w 2662238"/>
              <a:gd name="connsiteY0" fmla="*/ 0 h 5095102"/>
              <a:gd name="connsiteX1" fmla="*/ 2425520 w 2662238"/>
              <a:gd name="connsiteY1" fmla="*/ 1050219 h 5095102"/>
              <a:gd name="connsiteX2" fmla="*/ 2662223 w 2662238"/>
              <a:gd name="connsiteY2" fmla="*/ 2301099 h 5095102"/>
              <a:gd name="connsiteX3" fmla="*/ 1176338 w 2662238"/>
              <a:gd name="connsiteY3" fmla="*/ 2290634 h 5095102"/>
              <a:gd name="connsiteX4" fmla="*/ 1176338 w 2662238"/>
              <a:gd name="connsiteY4" fmla="*/ 0 h 5095102"/>
              <a:gd name="connsiteX0" fmla="*/ 0 w 2662238"/>
              <a:gd name="connsiteY0" fmla="*/ 1882775 h 5095102"/>
              <a:gd name="connsiteX1" fmla="*/ 2425520 w 2662238"/>
              <a:gd name="connsiteY1" fmla="*/ 1050219 h 5095102"/>
              <a:gd name="connsiteX2" fmla="*/ 1633522 w 2662238"/>
              <a:gd name="connsiteY2" fmla="*/ 5095102 h 5095102"/>
              <a:gd name="connsiteX0" fmla="*/ 1176338 w 2662238"/>
              <a:gd name="connsiteY0" fmla="*/ 0 h 5095102"/>
              <a:gd name="connsiteX1" fmla="*/ 2425520 w 2662238"/>
              <a:gd name="connsiteY1" fmla="*/ 1050219 h 5095102"/>
              <a:gd name="connsiteX2" fmla="*/ 2662223 w 2662238"/>
              <a:gd name="connsiteY2" fmla="*/ 2301099 h 5095102"/>
              <a:gd name="connsiteX3" fmla="*/ 1176338 w 2662238"/>
              <a:gd name="connsiteY3" fmla="*/ 2290634 h 5095102"/>
              <a:gd name="connsiteX4" fmla="*/ 1176338 w 2662238"/>
              <a:gd name="connsiteY4" fmla="*/ 0 h 5095102"/>
              <a:gd name="connsiteX0" fmla="*/ 0 w 2662238"/>
              <a:gd name="connsiteY0" fmla="*/ 1882775 h 5095102"/>
              <a:gd name="connsiteX1" fmla="*/ 1633522 w 2662238"/>
              <a:gd name="connsiteY1" fmla="*/ 5095102 h 5095102"/>
              <a:gd name="connsiteX0" fmla="*/ 1176338 w 2662238"/>
              <a:gd name="connsiteY0" fmla="*/ 0 h 5095102"/>
              <a:gd name="connsiteX1" fmla="*/ 2425520 w 2662238"/>
              <a:gd name="connsiteY1" fmla="*/ 1050219 h 5095102"/>
              <a:gd name="connsiteX2" fmla="*/ 2662223 w 2662238"/>
              <a:gd name="connsiteY2" fmla="*/ 2301099 h 5095102"/>
              <a:gd name="connsiteX3" fmla="*/ 1176338 w 2662238"/>
              <a:gd name="connsiteY3" fmla="*/ 2290634 h 5095102"/>
              <a:gd name="connsiteX4" fmla="*/ 1176338 w 2662238"/>
              <a:gd name="connsiteY4" fmla="*/ 0 h 5095102"/>
              <a:gd name="connsiteX0" fmla="*/ 0 w 2662238"/>
              <a:gd name="connsiteY0" fmla="*/ 1882775 h 5095102"/>
              <a:gd name="connsiteX1" fmla="*/ 1633522 w 2662238"/>
              <a:gd name="connsiteY1" fmla="*/ 5095102 h 5095102"/>
              <a:gd name="connsiteX0" fmla="*/ 1176338 w 2662238"/>
              <a:gd name="connsiteY0" fmla="*/ 0 h 5095102"/>
              <a:gd name="connsiteX1" fmla="*/ 2425520 w 2662238"/>
              <a:gd name="connsiteY1" fmla="*/ 1050219 h 5095102"/>
              <a:gd name="connsiteX2" fmla="*/ 2662223 w 2662238"/>
              <a:gd name="connsiteY2" fmla="*/ 2301099 h 5095102"/>
              <a:gd name="connsiteX3" fmla="*/ 1176338 w 2662238"/>
              <a:gd name="connsiteY3" fmla="*/ 2290634 h 5095102"/>
              <a:gd name="connsiteX4" fmla="*/ 1176338 w 2662238"/>
              <a:gd name="connsiteY4" fmla="*/ 0 h 5095102"/>
              <a:gd name="connsiteX0" fmla="*/ 0 w 2662238"/>
              <a:gd name="connsiteY0" fmla="*/ 1882775 h 5095102"/>
              <a:gd name="connsiteX1" fmla="*/ 1633522 w 2662238"/>
              <a:gd name="connsiteY1" fmla="*/ 5095102 h 5095102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3958 w 2659858"/>
              <a:gd name="connsiteY0" fmla="*/ 0 h 5123677"/>
              <a:gd name="connsiteX1" fmla="*/ 2423140 w 2659858"/>
              <a:gd name="connsiteY1" fmla="*/ 1050219 h 5123677"/>
              <a:gd name="connsiteX2" fmla="*/ 2659843 w 2659858"/>
              <a:gd name="connsiteY2" fmla="*/ 2301099 h 5123677"/>
              <a:gd name="connsiteX3" fmla="*/ 1173958 w 2659858"/>
              <a:gd name="connsiteY3" fmla="*/ 2290634 h 5123677"/>
              <a:gd name="connsiteX4" fmla="*/ 1173958 w 2659858"/>
              <a:gd name="connsiteY4" fmla="*/ 0 h 5123677"/>
              <a:gd name="connsiteX0" fmla="*/ 0 w 2659858"/>
              <a:gd name="connsiteY0" fmla="*/ 1889922 h 5123677"/>
              <a:gd name="connsiteX1" fmla="*/ 1650192 w 2659858"/>
              <a:gd name="connsiteY1" fmla="*/ 5123677 h 5123677"/>
              <a:gd name="connsiteX0" fmla="*/ 1173958 w 2659858"/>
              <a:gd name="connsiteY0" fmla="*/ 0 h 5123677"/>
              <a:gd name="connsiteX1" fmla="*/ 2423140 w 2659858"/>
              <a:gd name="connsiteY1" fmla="*/ 1050219 h 5123677"/>
              <a:gd name="connsiteX2" fmla="*/ 2659843 w 2659858"/>
              <a:gd name="connsiteY2" fmla="*/ 2301099 h 5123677"/>
              <a:gd name="connsiteX3" fmla="*/ 1173958 w 2659858"/>
              <a:gd name="connsiteY3" fmla="*/ 2290634 h 5123677"/>
              <a:gd name="connsiteX4" fmla="*/ 1173958 w 2659858"/>
              <a:gd name="connsiteY4" fmla="*/ 0 h 5123677"/>
              <a:gd name="connsiteX0" fmla="*/ 0 w 2659858"/>
              <a:gd name="connsiteY0" fmla="*/ 1889922 h 5123677"/>
              <a:gd name="connsiteX1" fmla="*/ 1650192 w 2659858"/>
              <a:gd name="connsiteY1" fmla="*/ 5123677 h 5123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659858" h="5123677" stroke="0" extrusionOk="0">
                <a:moveTo>
                  <a:pt x="1173958" y="0"/>
                </a:moveTo>
                <a:cubicBezTo>
                  <a:pt x="1679080" y="0"/>
                  <a:pt x="2149608" y="395585"/>
                  <a:pt x="2423140" y="1050219"/>
                </a:cubicBezTo>
                <a:cubicBezTo>
                  <a:pt x="2578929" y="1423063"/>
                  <a:pt x="2661157" y="1857606"/>
                  <a:pt x="2659843" y="2301099"/>
                </a:cubicBezTo>
                <a:lnTo>
                  <a:pt x="1173958" y="2290634"/>
                </a:lnTo>
                <a:lnTo>
                  <a:pt x="1173958" y="0"/>
                </a:lnTo>
                <a:close/>
              </a:path>
              <a:path w="2659858" h="5123677" fill="none">
                <a:moveTo>
                  <a:pt x="0" y="1889922"/>
                </a:moveTo>
                <a:cubicBezTo>
                  <a:pt x="1442247" y="2534466"/>
                  <a:pt x="1905795" y="3976716"/>
                  <a:pt x="1650192" y="5123677"/>
                </a:cubicBezTo>
              </a:path>
            </a:pathLst>
          </a:custGeom>
          <a:noFill/>
          <a:ln w="12700">
            <a:solidFill>
              <a:schemeClr val="accent1">
                <a:lumMod val="20000"/>
                <a:lumOff val="80000"/>
                <a:alpha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Arc 12">
            <a:extLst>
              <a:ext uri="{FF2B5EF4-FFF2-40B4-BE49-F238E27FC236}">
                <a16:creationId xmlns:a16="http://schemas.microsoft.com/office/drawing/2014/main" id="{E73B8847-EA8B-4495-9732-9FA0DB1963B0}"/>
              </a:ext>
            </a:extLst>
          </p:cNvPr>
          <p:cNvSpPr/>
          <p:nvPr userDrawn="1"/>
        </p:nvSpPr>
        <p:spPr>
          <a:xfrm rot="16200000">
            <a:off x="4275597" y="-1752531"/>
            <a:ext cx="6569893" cy="9188265"/>
          </a:xfrm>
          <a:custGeom>
            <a:avLst/>
            <a:gdLst>
              <a:gd name="connsiteX0" fmla="*/ 1485900 w 2971800"/>
              <a:gd name="connsiteY0" fmla="*/ 0 h 4581267"/>
              <a:gd name="connsiteX1" fmla="*/ 2735082 w 2971800"/>
              <a:gd name="connsiteY1" fmla="*/ 1050219 h 4581267"/>
              <a:gd name="connsiteX2" fmla="*/ 2971785 w 2971800"/>
              <a:gd name="connsiteY2" fmla="*/ 2301099 h 4581267"/>
              <a:gd name="connsiteX3" fmla="*/ 1485900 w 2971800"/>
              <a:gd name="connsiteY3" fmla="*/ 2290634 h 4581267"/>
              <a:gd name="connsiteX4" fmla="*/ 1485900 w 2971800"/>
              <a:gd name="connsiteY4" fmla="*/ 0 h 4581267"/>
              <a:gd name="connsiteX0" fmla="*/ 1485900 w 2971800"/>
              <a:gd name="connsiteY0" fmla="*/ 0 h 4581267"/>
              <a:gd name="connsiteX1" fmla="*/ 2735082 w 2971800"/>
              <a:gd name="connsiteY1" fmla="*/ 1050219 h 4581267"/>
              <a:gd name="connsiteX2" fmla="*/ 2971785 w 2971800"/>
              <a:gd name="connsiteY2" fmla="*/ 2301099 h 4581267"/>
              <a:gd name="connsiteX0" fmla="*/ 0 w 1485900"/>
              <a:gd name="connsiteY0" fmla="*/ 0 h 5095102"/>
              <a:gd name="connsiteX1" fmla="*/ 1249182 w 1485900"/>
              <a:gd name="connsiteY1" fmla="*/ 1050219 h 5095102"/>
              <a:gd name="connsiteX2" fmla="*/ 1485885 w 1485900"/>
              <a:gd name="connsiteY2" fmla="*/ 2301099 h 5095102"/>
              <a:gd name="connsiteX3" fmla="*/ 0 w 1485900"/>
              <a:gd name="connsiteY3" fmla="*/ 2290634 h 5095102"/>
              <a:gd name="connsiteX4" fmla="*/ 0 w 1485900"/>
              <a:gd name="connsiteY4" fmla="*/ 0 h 5095102"/>
              <a:gd name="connsiteX0" fmla="*/ 0 w 1485900"/>
              <a:gd name="connsiteY0" fmla="*/ 0 h 5095102"/>
              <a:gd name="connsiteX1" fmla="*/ 1249182 w 1485900"/>
              <a:gd name="connsiteY1" fmla="*/ 1050219 h 5095102"/>
              <a:gd name="connsiteX2" fmla="*/ 457184 w 1485900"/>
              <a:gd name="connsiteY2" fmla="*/ 5095102 h 5095102"/>
              <a:gd name="connsiteX0" fmla="*/ 1143000 w 2628900"/>
              <a:gd name="connsiteY0" fmla="*/ 0 h 5095102"/>
              <a:gd name="connsiteX1" fmla="*/ 2392182 w 2628900"/>
              <a:gd name="connsiteY1" fmla="*/ 1050219 h 5095102"/>
              <a:gd name="connsiteX2" fmla="*/ 2628885 w 2628900"/>
              <a:gd name="connsiteY2" fmla="*/ 2301099 h 5095102"/>
              <a:gd name="connsiteX3" fmla="*/ 1143000 w 2628900"/>
              <a:gd name="connsiteY3" fmla="*/ 2290634 h 5095102"/>
              <a:gd name="connsiteX4" fmla="*/ 1143000 w 2628900"/>
              <a:gd name="connsiteY4" fmla="*/ 0 h 5095102"/>
              <a:gd name="connsiteX0" fmla="*/ 0 w 2628900"/>
              <a:gd name="connsiteY0" fmla="*/ 1816100 h 5095102"/>
              <a:gd name="connsiteX1" fmla="*/ 2392182 w 2628900"/>
              <a:gd name="connsiteY1" fmla="*/ 1050219 h 5095102"/>
              <a:gd name="connsiteX2" fmla="*/ 1600184 w 2628900"/>
              <a:gd name="connsiteY2" fmla="*/ 5095102 h 5095102"/>
              <a:gd name="connsiteX0" fmla="*/ 1176338 w 2662238"/>
              <a:gd name="connsiteY0" fmla="*/ 0 h 5095102"/>
              <a:gd name="connsiteX1" fmla="*/ 2425520 w 2662238"/>
              <a:gd name="connsiteY1" fmla="*/ 1050219 h 5095102"/>
              <a:gd name="connsiteX2" fmla="*/ 2662223 w 2662238"/>
              <a:gd name="connsiteY2" fmla="*/ 2301099 h 5095102"/>
              <a:gd name="connsiteX3" fmla="*/ 1176338 w 2662238"/>
              <a:gd name="connsiteY3" fmla="*/ 2290634 h 5095102"/>
              <a:gd name="connsiteX4" fmla="*/ 1176338 w 2662238"/>
              <a:gd name="connsiteY4" fmla="*/ 0 h 5095102"/>
              <a:gd name="connsiteX0" fmla="*/ 0 w 2662238"/>
              <a:gd name="connsiteY0" fmla="*/ 1882775 h 5095102"/>
              <a:gd name="connsiteX1" fmla="*/ 2425520 w 2662238"/>
              <a:gd name="connsiteY1" fmla="*/ 1050219 h 5095102"/>
              <a:gd name="connsiteX2" fmla="*/ 1633522 w 2662238"/>
              <a:gd name="connsiteY2" fmla="*/ 5095102 h 5095102"/>
              <a:gd name="connsiteX0" fmla="*/ 1176338 w 2662238"/>
              <a:gd name="connsiteY0" fmla="*/ 0 h 5095102"/>
              <a:gd name="connsiteX1" fmla="*/ 2425520 w 2662238"/>
              <a:gd name="connsiteY1" fmla="*/ 1050219 h 5095102"/>
              <a:gd name="connsiteX2" fmla="*/ 2662223 w 2662238"/>
              <a:gd name="connsiteY2" fmla="*/ 2301099 h 5095102"/>
              <a:gd name="connsiteX3" fmla="*/ 1176338 w 2662238"/>
              <a:gd name="connsiteY3" fmla="*/ 2290634 h 5095102"/>
              <a:gd name="connsiteX4" fmla="*/ 1176338 w 2662238"/>
              <a:gd name="connsiteY4" fmla="*/ 0 h 5095102"/>
              <a:gd name="connsiteX0" fmla="*/ 0 w 2662238"/>
              <a:gd name="connsiteY0" fmla="*/ 1882775 h 5095102"/>
              <a:gd name="connsiteX1" fmla="*/ 1633522 w 2662238"/>
              <a:gd name="connsiteY1" fmla="*/ 5095102 h 5095102"/>
              <a:gd name="connsiteX0" fmla="*/ 1176338 w 2662238"/>
              <a:gd name="connsiteY0" fmla="*/ 0 h 5095102"/>
              <a:gd name="connsiteX1" fmla="*/ 2425520 w 2662238"/>
              <a:gd name="connsiteY1" fmla="*/ 1050219 h 5095102"/>
              <a:gd name="connsiteX2" fmla="*/ 2662223 w 2662238"/>
              <a:gd name="connsiteY2" fmla="*/ 2301099 h 5095102"/>
              <a:gd name="connsiteX3" fmla="*/ 1176338 w 2662238"/>
              <a:gd name="connsiteY3" fmla="*/ 2290634 h 5095102"/>
              <a:gd name="connsiteX4" fmla="*/ 1176338 w 2662238"/>
              <a:gd name="connsiteY4" fmla="*/ 0 h 5095102"/>
              <a:gd name="connsiteX0" fmla="*/ 0 w 2662238"/>
              <a:gd name="connsiteY0" fmla="*/ 1882775 h 5095102"/>
              <a:gd name="connsiteX1" fmla="*/ 1633522 w 2662238"/>
              <a:gd name="connsiteY1" fmla="*/ 5095102 h 5095102"/>
              <a:gd name="connsiteX0" fmla="*/ 1176338 w 2662238"/>
              <a:gd name="connsiteY0" fmla="*/ 0 h 5095102"/>
              <a:gd name="connsiteX1" fmla="*/ 2425520 w 2662238"/>
              <a:gd name="connsiteY1" fmla="*/ 1050219 h 5095102"/>
              <a:gd name="connsiteX2" fmla="*/ 2662223 w 2662238"/>
              <a:gd name="connsiteY2" fmla="*/ 2301099 h 5095102"/>
              <a:gd name="connsiteX3" fmla="*/ 1176338 w 2662238"/>
              <a:gd name="connsiteY3" fmla="*/ 2290634 h 5095102"/>
              <a:gd name="connsiteX4" fmla="*/ 1176338 w 2662238"/>
              <a:gd name="connsiteY4" fmla="*/ 0 h 5095102"/>
              <a:gd name="connsiteX0" fmla="*/ 0 w 2662238"/>
              <a:gd name="connsiteY0" fmla="*/ 1882775 h 5095102"/>
              <a:gd name="connsiteX1" fmla="*/ 1633522 w 2662238"/>
              <a:gd name="connsiteY1" fmla="*/ 5095102 h 5095102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3958 w 2659858"/>
              <a:gd name="connsiteY0" fmla="*/ 0 h 5123677"/>
              <a:gd name="connsiteX1" fmla="*/ 2423140 w 2659858"/>
              <a:gd name="connsiteY1" fmla="*/ 1050219 h 5123677"/>
              <a:gd name="connsiteX2" fmla="*/ 2659843 w 2659858"/>
              <a:gd name="connsiteY2" fmla="*/ 2301099 h 5123677"/>
              <a:gd name="connsiteX3" fmla="*/ 1173958 w 2659858"/>
              <a:gd name="connsiteY3" fmla="*/ 2290634 h 5123677"/>
              <a:gd name="connsiteX4" fmla="*/ 1173958 w 2659858"/>
              <a:gd name="connsiteY4" fmla="*/ 0 h 5123677"/>
              <a:gd name="connsiteX0" fmla="*/ 0 w 2659858"/>
              <a:gd name="connsiteY0" fmla="*/ 1889922 h 5123677"/>
              <a:gd name="connsiteX1" fmla="*/ 1650192 w 2659858"/>
              <a:gd name="connsiteY1" fmla="*/ 5123677 h 5123677"/>
              <a:gd name="connsiteX0" fmla="*/ 1173958 w 2659858"/>
              <a:gd name="connsiteY0" fmla="*/ 0 h 5123677"/>
              <a:gd name="connsiteX1" fmla="*/ 2423140 w 2659858"/>
              <a:gd name="connsiteY1" fmla="*/ 1050219 h 5123677"/>
              <a:gd name="connsiteX2" fmla="*/ 2659843 w 2659858"/>
              <a:gd name="connsiteY2" fmla="*/ 2301099 h 5123677"/>
              <a:gd name="connsiteX3" fmla="*/ 1173958 w 2659858"/>
              <a:gd name="connsiteY3" fmla="*/ 2290634 h 5123677"/>
              <a:gd name="connsiteX4" fmla="*/ 1173958 w 2659858"/>
              <a:gd name="connsiteY4" fmla="*/ 0 h 5123677"/>
              <a:gd name="connsiteX0" fmla="*/ 0 w 2659858"/>
              <a:gd name="connsiteY0" fmla="*/ 1889922 h 5123677"/>
              <a:gd name="connsiteX1" fmla="*/ 1650192 w 2659858"/>
              <a:gd name="connsiteY1" fmla="*/ 5123677 h 5123677"/>
              <a:gd name="connsiteX0" fmla="*/ 1173958 w 2659858"/>
              <a:gd name="connsiteY0" fmla="*/ 0 h 5123677"/>
              <a:gd name="connsiteX1" fmla="*/ 2423140 w 2659858"/>
              <a:gd name="connsiteY1" fmla="*/ 1050219 h 5123677"/>
              <a:gd name="connsiteX2" fmla="*/ 2659843 w 2659858"/>
              <a:gd name="connsiteY2" fmla="*/ 2301099 h 5123677"/>
              <a:gd name="connsiteX3" fmla="*/ 1173958 w 2659858"/>
              <a:gd name="connsiteY3" fmla="*/ 2290634 h 5123677"/>
              <a:gd name="connsiteX4" fmla="*/ 1173958 w 2659858"/>
              <a:gd name="connsiteY4" fmla="*/ 0 h 5123677"/>
              <a:gd name="connsiteX0" fmla="*/ 0 w 2659858"/>
              <a:gd name="connsiteY0" fmla="*/ 1889922 h 5123677"/>
              <a:gd name="connsiteX1" fmla="*/ 1650192 w 2659858"/>
              <a:gd name="connsiteY1" fmla="*/ 5123677 h 5123677"/>
              <a:gd name="connsiteX0" fmla="*/ 1150209 w 2636109"/>
              <a:gd name="connsiteY0" fmla="*/ 0 h 5123677"/>
              <a:gd name="connsiteX1" fmla="*/ 2399391 w 2636109"/>
              <a:gd name="connsiteY1" fmla="*/ 1050219 h 5123677"/>
              <a:gd name="connsiteX2" fmla="*/ 2636094 w 2636109"/>
              <a:gd name="connsiteY2" fmla="*/ 2301099 h 5123677"/>
              <a:gd name="connsiteX3" fmla="*/ 1150209 w 2636109"/>
              <a:gd name="connsiteY3" fmla="*/ 2290634 h 5123677"/>
              <a:gd name="connsiteX4" fmla="*/ 1150209 w 2636109"/>
              <a:gd name="connsiteY4" fmla="*/ 0 h 5123677"/>
              <a:gd name="connsiteX0" fmla="*/ 0 w 2636109"/>
              <a:gd name="connsiteY0" fmla="*/ 2045387 h 5123677"/>
              <a:gd name="connsiteX1" fmla="*/ 1626443 w 2636109"/>
              <a:gd name="connsiteY1" fmla="*/ 5123677 h 5123677"/>
              <a:gd name="connsiteX0" fmla="*/ 1150209 w 2636109"/>
              <a:gd name="connsiteY0" fmla="*/ 0 h 5123677"/>
              <a:gd name="connsiteX1" fmla="*/ 2399391 w 2636109"/>
              <a:gd name="connsiteY1" fmla="*/ 1050219 h 5123677"/>
              <a:gd name="connsiteX2" fmla="*/ 2636094 w 2636109"/>
              <a:gd name="connsiteY2" fmla="*/ 2301099 h 5123677"/>
              <a:gd name="connsiteX3" fmla="*/ 1150209 w 2636109"/>
              <a:gd name="connsiteY3" fmla="*/ 2290634 h 5123677"/>
              <a:gd name="connsiteX4" fmla="*/ 1150209 w 2636109"/>
              <a:gd name="connsiteY4" fmla="*/ 0 h 5123677"/>
              <a:gd name="connsiteX0" fmla="*/ 0 w 2636109"/>
              <a:gd name="connsiteY0" fmla="*/ 2045387 h 5123677"/>
              <a:gd name="connsiteX1" fmla="*/ 1626443 w 2636109"/>
              <a:gd name="connsiteY1" fmla="*/ 5123677 h 5123677"/>
              <a:gd name="connsiteX0" fmla="*/ 1150209 w 2636109"/>
              <a:gd name="connsiteY0" fmla="*/ 0 h 5123677"/>
              <a:gd name="connsiteX1" fmla="*/ 2399391 w 2636109"/>
              <a:gd name="connsiteY1" fmla="*/ 1050219 h 5123677"/>
              <a:gd name="connsiteX2" fmla="*/ 2636094 w 2636109"/>
              <a:gd name="connsiteY2" fmla="*/ 2301099 h 5123677"/>
              <a:gd name="connsiteX3" fmla="*/ 1150209 w 2636109"/>
              <a:gd name="connsiteY3" fmla="*/ 2290634 h 5123677"/>
              <a:gd name="connsiteX4" fmla="*/ 1150209 w 2636109"/>
              <a:gd name="connsiteY4" fmla="*/ 0 h 5123677"/>
              <a:gd name="connsiteX0" fmla="*/ 0 w 2636109"/>
              <a:gd name="connsiteY0" fmla="*/ 2045387 h 5123677"/>
              <a:gd name="connsiteX1" fmla="*/ 1626443 w 2636109"/>
              <a:gd name="connsiteY1" fmla="*/ 5123677 h 5123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636109" h="5123677" stroke="0" extrusionOk="0">
                <a:moveTo>
                  <a:pt x="1150209" y="0"/>
                </a:moveTo>
                <a:cubicBezTo>
                  <a:pt x="1655331" y="0"/>
                  <a:pt x="2125859" y="395585"/>
                  <a:pt x="2399391" y="1050219"/>
                </a:cubicBezTo>
                <a:cubicBezTo>
                  <a:pt x="2555180" y="1423063"/>
                  <a:pt x="2637408" y="1857606"/>
                  <a:pt x="2636094" y="2301099"/>
                </a:cubicBezTo>
                <a:lnTo>
                  <a:pt x="1150209" y="2290634"/>
                </a:lnTo>
                <a:lnTo>
                  <a:pt x="1150209" y="0"/>
                </a:lnTo>
                <a:close/>
              </a:path>
              <a:path w="2636109" h="5123677" fill="none">
                <a:moveTo>
                  <a:pt x="0" y="2045387"/>
                </a:moveTo>
                <a:cubicBezTo>
                  <a:pt x="1360446" y="2375211"/>
                  <a:pt x="1736915" y="4098056"/>
                  <a:pt x="1626443" y="5123677"/>
                </a:cubicBezTo>
              </a:path>
            </a:pathLst>
          </a:custGeom>
          <a:noFill/>
          <a:ln w="12700">
            <a:solidFill>
              <a:schemeClr val="accent1">
                <a:lumMod val="20000"/>
                <a:lumOff val="80000"/>
                <a:alpha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Freeform 11">
            <a:extLst>
              <a:ext uri="{FF2B5EF4-FFF2-40B4-BE49-F238E27FC236}">
                <a16:creationId xmlns:a16="http://schemas.microsoft.com/office/drawing/2014/main" id="{1F943766-1615-4432-905C-072976630204}"/>
              </a:ext>
            </a:extLst>
          </p:cNvPr>
          <p:cNvSpPr>
            <a:spLocks/>
          </p:cNvSpPr>
          <p:nvPr userDrawn="1"/>
        </p:nvSpPr>
        <p:spPr bwMode="auto">
          <a:xfrm>
            <a:off x="-92364" y="4651948"/>
            <a:ext cx="12284364" cy="2258859"/>
          </a:xfrm>
          <a:custGeom>
            <a:avLst/>
            <a:gdLst>
              <a:gd name="T0" fmla="*/ 4468 w 4666"/>
              <a:gd name="T1" fmla="*/ 394 h 887"/>
              <a:gd name="T2" fmla="*/ 4208 w 4666"/>
              <a:gd name="T3" fmla="*/ 497 h 887"/>
              <a:gd name="T4" fmla="*/ 4019 w 4666"/>
              <a:gd name="T5" fmla="*/ 257 h 887"/>
              <a:gd name="T6" fmla="*/ 3962 w 4666"/>
              <a:gd name="T7" fmla="*/ 180 h 887"/>
              <a:gd name="T8" fmla="*/ 3796 w 4666"/>
              <a:gd name="T9" fmla="*/ 257 h 887"/>
              <a:gd name="T10" fmla="*/ 3739 w 4666"/>
              <a:gd name="T11" fmla="*/ 320 h 887"/>
              <a:gd name="T12" fmla="*/ 3606 w 4666"/>
              <a:gd name="T13" fmla="*/ 109 h 887"/>
              <a:gd name="T14" fmla="*/ 3364 w 4666"/>
              <a:gd name="T15" fmla="*/ 0 h 887"/>
              <a:gd name="T16" fmla="*/ 2978 w 4666"/>
              <a:gd name="T17" fmla="*/ 257 h 887"/>
              <a:gd name="T18" fmla="*/ 2926 w 4666"/>
              <a:gd name="T19" fmla="*/ 180 h 887"/>
              <a:gd name="T20" fmla="*/ 2760 w 4666"/>
              <a:gd name="T21" fmla="*/ 257 h 887"/>
              <a:gd name="T22" fmla="*/ 2703 w 4666"/>
              <a:gd name="T23" fmla="*/ 497 h 887"/>
              <a:gd name="T24" fmla="*/ 2512 w 4666"/>
              <a:gd name="T25" fmla="*/ 394 h 887"/>
              <a:gd name="T26" fmla="*/ 2254 w 4666"/>
              <a:gd name="T27" fmla="*/ 320 h 887"/>
              <a:gd name="T28" fmla="*/ 1955 w 4666"/>
              <a:gd name="T29" fmla="*/ 91 h 887"/>
              <a:gd name="T30" fmla="*/ 1751 w 4666"/>
              <a:gd name="T31" fmla="*/ 465 h 887"/>
              <a:gd name="T32" fmla="*/ 1567 w 4666"/>
              <a:gd name="T33" fmla="*/ 394 h 887"/>
              <a:gd name="T34" fmla="*/ 1325 w 4666"/>
              <a:gd name="T35" fmla="*/ 394 h 887"/>
              <a:gd name="T36" fmla="*/ 1290 w 4666"/>
              <a:gd name="T37" fmla="*/ 497 h 887"/>
              <a:gd name="T38" fmla="*/ 1099 w 4666"/>
              <a:gd name="T39" fmla="*/ 428 h 887"/>
              <a:gd name="T40" fmla="*/ 1044 w 4666"/>
              <a:gd name="T41" fmla="*/ 351 h 887"/>
              <a:gd name="T42" fmla="*/ 876 w 4666"/>
              <a:gd name="T43" fmla="*/ 428 h 887"/>
              <a:gd name="T44" fmla="*/ 821 w 4666"/>
              <a:gd name="T45" fmla="*/ 634 h 887"/>
              <a:gd name="T46" fmla="*/ 567 w 4666"/>
              <a:gd name="T47" fmla="*/ 465 h 887"/>
              <a:gd name="T48" fmla="*/ 325 w 4666"/>
              <a:gd name="T49" fmla="*/ 603 h 887"/>
              <a:gd name="T50" fmla="*/ 0 w 4666"/>
              <a:gd name="T51" fmla="*/ 887 h 887"/>
              <a:gd name="T52" fmla="*/ 327 w 4666"/>
              <a:gd name="T53" fmla="*/ 887 h 887"/>
              <a:gd name="T54" fmla="*/ 567 w 4666"/>
              <a:gd name="T55" fmla="*/ 887 h 887"/>
              <a:gd name="T56" fmla="*/ 860 w 4666"/>
              <a:gd name="T57" fmla="*/ 887 h 887"/>
              <a:gd name="T58" fmla="*/ 1099 w 4666"/>
              <a:gd name="T59" fmla="*/ 887 h 887"/>
              <a:gd name="T60" fmla="*/ 1204 w 4666"/>
              <a:gd name="T61" fmla="*/ 887 h 887"/>
              <a:gd name="T62" fmla="*/ 1321 w 4666"/>
              <a:gd name="T63" fmla="*/ 887 h 887"/>
              <a:gd name="T64" fmla="*/ 1346 w 4666"/>
              <a:gd name="T65" fmla="*/ 887 h 887"/>
              <a:gd name="T66" fmla="*/ 1553 w 4666"/>
              <a:gd name="T67" fmla="*/ 887 h 887"/>
              <a:gd name="T68" fmla="*/ 1751 w 4666"/>
              <a:gd name="T69" fmla="*/ 887 h 887"/>
              <a:gd name="T70" fmla="*/ 1827 w 4666"/>
              <a:gd name="T71" fmla="*/ 887 h 887"/>
              <a:gd name="T72" fmla="*/ 2254 w 4666"/>
              <a:gd name="T73" fmla="*/ 887 h 887"/>
              <a:gd name="T74" fmla="*/ 2512 w 4666"/>
              <a:gd name="T75" fmla="*/ 887 h 887"/>
              <a:gd name="T76" fmla="*/ 2741 w 4666"/>
              <a:gd name="T77" fmla="*/ 887 h 887"/>
              <a:gd name="T78" fmla="*/ 2981 w 4666"/>
              <a:gd name="T79" fmla="*/ 887 h 887"/>
              <a:gd name="T80" fmla="*/ 3364 w 4666"/>
              <a:gd name="T81" fmla="*/ 887 h 887"/>
              <a:gd name="T82" fmla="*/ 3606 w 4666"/>
              <a:gd name="T83" fmla="*/ 887 h 887"/>
              <a:gd name="T84" fmla="*/ 3780 w 4666"/>
              <a:gd name="T85" fmla="*/ 887 h 887"/>
              <a:gd name="T86" fmla="*/ 4019 w 4666"/>
              <a:gd name="T87" fmla="*/ 887 h 887"/>
              <a:gd name="T88" fmla="*/ 4208 w 4666"/>
              <a:gd name="T89" fmla="*/ 887 h 887"/>
              <a:gd name="T90" fmla="*/ 4468 w 4666"/>
              <a:gd name="T91" fmla="*/ 887 h 887"/>
              <a:gd name="T92" fmla="*/ 4666 w 4666"/>
              <a:gd name="T93" fmla="*/ 722 h 8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666" h="887">
                <a:moveTo>
                  <a:pt x="4468" y="722"/>
                </a:moveTo>
                <a:lnTo>
                  <a:pt x="4468" y="394"/>
                </a:lnTo>
                <a:lnTo>
                  <a:pt x="4208" y="394"/>
                </a:lnTo>
                <a:lnTo>
                  <a:pt x="4208" y="497"/>
                </a:lnTo>
                <a:lnTo>
                  <a:pt x="4019" y="497"/>
                </a:lnTo>
                <a:lnTo>
                  <a:pt x="4019" y="257"/>
                </a:lnTo>
                <a:lnTo>
                  <a:pt x="3962" y="257"/>
                </a:lnTo>
                <a:lnTo>
                  <a:pt x="3962" y="180"/>
                </a:lnTo>
                <a:lnTo>
                  <a:pt x="3796" y="180"/>
                </a:lnTo>
                <a:lnTo>
                  <a:pt x="3796" y="257"/>
                </a:lnTo>
                <a:lnTo>
                  <a:pt x="3739" y="257"/>
                </a:lnTo>
                <a:lnTo>
                  <a:pt x="3739" y="320"/>
                </a:lnTo>
                <a:lnTo>
                  <a:pt x="3606" y="320"/>
                </a:lnTo>
                <a:lnTo>
                  <a:pt x="3606" y="109"/>
                </a:lnTo>
                <a:lnTo>
                  <a:pt x="3364" y="306"/>
                </a:lnTo>
                <a:lnTo>
                  <a:pt x="3364" y="0"/>
                </a:lnTo>
                <a:lnTo>
                  <a:pt x="2978" y="0"/>
                </a:lnTo>
                <a:lnTo>
                  <a:pt x="2978" y="257"/>
                </a:lnTo>
                <a:lnTo>
                  <a:pt x="2926" y="257"/>
                </a:lnTo>
                <a:lnTo>
                  <a:pt x="2926" y="180"/>
                </a:lnTo>
                <a:lnTo>
                  <a:pt x="2760" y="180"/>
                </a:lnTo>
                <a:lnTo>
                  <a:pt x="2760" y="257"/>
                </a:lnTo>
                <a:lnTo>
                  <a:pt x="2703" y="257"/>
                </a:lnTo>
                <a:lnTo>
                  <a:pt x="2703" y="497"/>
                </a:lnTo>
                <a:lnTo>
                  <a:pt x="2512" y="497"/>
                </a:lnTo>
                <a:lnTo>
                  <a:pt x="2512" y="394"/>
                </a:lnTo>
                <a:lnTo>
                  <a:pt x="2254" y="394"/>
                </a:lnTo>
                <a:lnTo>
                  <a:pt x="2254" y="320"/>
                </a:lnTo>
                <a:lnTo>
                  <a:pt x="1955" y="320"/>
                </a:lnTo>
                <a:lnTo>
                  <a:pt x="1955" y="91"/>
                </a:lnTo>
                <a:lnTo>
                  <a:pt x="1751" y="91"/>
                </a:lnTo>
                <a:lnTo>
                  <a:pt x="1751" y="465"/>
                </a:lnTo>
                <a:lnTo>
                  <a:pt x="1567" y="465"/>
                </a:lnTo>
                <a:lnTo>
                  <a:pt x="1567" y="394"/>
                </a:lnTo>
                <a:lnTo>
                  <a:pt x="1550" y="394"/>
                </a:lnTo>
                <a:lnTo>
                  <a:pt x="1325" y="394"/>
                </a:lnTo>
                <a:lnTo>
                  <a:pt x="1290" y="394"/>
                </a:lnTo>
                <a:lnTo>
                  <a:pt x="1290" y="497"/>
                </a:lnTo>
                <a:lnTo>
                  <a:pt x="1099" y="497"/>
                </a:lnTo>
                <a:lnTo>
                  <a:pt x="1099" y="428"/>
                </a:lnTo>
                <a:lnTo>
                  <a:pt x="1044" y="428"/>
                </a:lnTo>
                <a:lnTo>
                  <a:pt x="1044" y="351"/>
                </a:lnTo>
                <a:lnTo>
                  <a:pt x="876" y="351"/>
                </a:lnTo>
                <a:lnTo>
                  <a:pt x="876" y="428"/>
                </a:lnTo>
                <a:lnTo>
                  <a:pt x="821" y="428"/>
                </a:lnTo>
                <a:lnTo>
                  <a:pt x="821" y="634"/>
                </a:lnTo>
                <a:lnTo>
                  <a:pt x="567" y="634"/>
                </a:lnTo>
                <a:lnTo>
                  <a:pt x="567" y="465"/>
                </a:lnTo>
                <a:lnTo>
                  <a:pt x="325" y="465"/>
                </a:lnTo>
                <a:lnTo>
                  <a:pt x="325" y="603"/>
                </a:lnTo>
                <a:lnTo>
                  <a:pt x="0" y="603"/>
                </a:lnTo>
                <a:lnTo>
                  <a:pt x="0" y="887"/>
                </a:lnTo>
                <a:lnTo>
                  <a:pt x="325" y="887"/>
                </a:lnTo>
                <a:lnTo>
                  <a:pt x="327" y="887"/>
                </a:lnTo>
                <a:lnTo>
                  <a:pt x="563" y="887"/>
                </a:lnTo>
                <a:lnTo>
                  <a:pt x="567" y="887"/>
                </a:lnTo>
                <a:lnTo>
                  <a:pt x="821" y="887"/>
                </a:lnTo>
                <a:lnTo>
                  <a:pt x="860" y="887"/>
                </a:lnTo>
                <a:lnTo>
                  <a:pt x="1061" y="887"/>
                </a:lnTo>
                <a:lnTo>
                  <a:pt x="1099" y="887"/>
                </a:lnTo>
                <a:lnTo>
                  <a:pt x="1104" y="887"/>
                </a:lnTo>
                <a:lnTo>
                  <a:pt x="1204" y="887"/>
                </a:lnTo>
                <a:lnTo>
                  <a:pt x="1290" y="887"/>
                </a:lnTo>
                <a:lnTo>
                  <a:pt x="1321" y="887"/>
                </a:lnTo>
                <a:lnTo>
                  <a:pt x="1325" y="887"/>
                </a:lnTo>
                <a:lnTo>
                  <a:pt x="1346" y="887"/>
                </a:lnTo>
                <a:lnTo>
                  <a:pt x="1550" y="887"/>
                </a:lnTo>
                <a:lnTo>
                  <a:pt x="1553" y="887"/>
                </a:lnTo>
                <a:lnTo>
                  <a:pt x="1567" y="887"/>
                </a:lnTo>
                <a:lnTo>
                  <a:pt x="1751" y="887"/>
                </a:lnTo>
                <a:lnTo>
                  <a:pt x="1795" y="887"/>
                </a:lnTo>
                <a:lnTo>
                  <a:pt x="1827" y="887"/>
                </a:lnTo>
                <a:lnTo>
                  <a:pt x="1955" y="887"/>
                </a:lnTo>
                <a:lnTo>
                  <a:pt x="2254" y="887"/>
                </a:lnTo>
                <a:lnTo>
                  <a:pt x="2483" y="887"/>
                </a:lnTo>
                <a:lnTo>
                  <a:pt x="2512" y="887"/>
                </a:lnTo>
                <a:lnTo>
                  <a:pt x="2703" y="887"/>
                </a:lnTo>
                <a:lnTo>
                  <a:pt x="2741" y="887"/>
                </a:lnTo>
                <a:lnTo>
                  <a:pt x="2978" y="887"/>
                </a:lnTo>
                <a:lnTo>
                  <a:pt x="2981" y="887"/>
                </a:lnTo>
                <a:lnTo>
                  <a:pt x="3356" y="887"/>
                </a:lnTo>
                <a:lnTo>
                  <a:pt x="3364" y="887"/>
                </a:lnTo>
                <a:lnTo>
                  <a:pt x="3481" y="887"/>
                </a:lnTo>
                <a:lnTo>
                  <a:pt x="3606" y="887"/>
                </a:lnTo>
                <a:lnTo>
                  <a:pt x="3739" y="887"/>
                </a:lnTo>
                <a:lnTo>
                  <a:pt x="3780" y="887"/>
                </a:lnTo>
                <a:lnTo>
                  <a:pt x="3980" y="887"/>
                </a:lnTo>
                <a:lnTo>
                  <a:pt x="4019" y="887"/>
                </a:lnTo>
                <a:lnTo>
                  <a:pt x="4124" y="887"/>
                </a:lnTo>
                <a:lnTo>
                  <a:pt x="4208" y="887"/>
                </a:lnTo>
                <a:lnTo>
                  <a:pt x="4239" y="887"/>
                </a:lnTo>
                <a:lnTo>
                  <a:pt x="4468" y="887"/>
                </a:lnTo>
                <a:lnTo>
                  <a:pt x="4666" y="887"/>
                </a:lnTo>
                <a:lnTo>
                  <a:pt x="4666" y="722"/>
                </a:lnTo>
                <a:lnTo>
                  <a:pt x="4468" y="722"/>
                </a:lnTo>
                <a:close/>
              </a:path>
            </a:pathLst>
          </a:custGeom>
          <a:solidFill>
            <a:srgbClr val="00188F">
              <a:lumMod val="5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CAC56D8-7E55-4F0C-8E9D-9362AAA1BE8A}"/>
              </a:ext>
            </a:extLst>
          </p:cNvPr>
          <p:cNvSpPr/>
          <p:nvPr userDrawn="1"/>
        </p:nvSpPr>
        <p:spPr>
          <a:xfrm>
            <a:off x="6079376" y="456225"/>
            <a:ext cx="5936412" cy="14219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4800" b="1" kern="1200" cap="none" spc="-98" baseline="0">
                <a:ln w="3175"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telligent Cloud Architect Boot Camp</a:t>
            </a:r>
          </a:p>
        </p:txBody>
      </p:sp>
      <p:sp>
        <p:nvSpPr>
          <p:cNvPr id="15" name="Freeform 10">
            <a:extLst>
              <a:ext uri="{FF2B5EF4-FFF2-40B4-BE49-F238E27FC236}">
                <a16:creationId xmlns:a16="http://schemas.microsoft.com/office/drawing/2014/main" id="{E79ACDCA-90B8-4F93-AB30-1088C4082FC4}"/>
              </a:ext>
            </a:extLst>
          </p:cNvPr>
          <p:cNvSpPr>
            <a:spLocks/>
          </p:cNvSpPr>
          <p:nvPr userDrawn="1"/>
        </p:nvSpPr>
        <p:spPr bwMode="auto">
          <a:xfrm>
            <a:off x="269300" y="4471379"/>
            <a:ext cx="12063937" cy="2228238"/>
          </a:xfrm>
          <a:custGeom>
            <a:avLst/>
            <a:gdLst>
              <a:gd name="T0" fmla="*/ 0 w 2301"/>
              <a:gd name="T1" fmla="*/ 122 h 425"/>
              <a:gd name="T2" fmla="*/ 10 w 2301"/>
              <a:gd name="T3" fmla="*/ 293 h 425"/>
              <a:gd name="T4" fmla="*/ 34 w 2301"/>
              <a:gd name="T5" fmla="*/ 211 h 425"/>
              <a:gd name="T6" fmla="*/ 108 w 2301"/>
              <a:gd name="T7" fmla="*/ 293 h 425"/>
              <a:gd name="T8" fmla="*/ 124 w 2301"/>
              <a:gd name="T9" fmla="*/ 132 h 425"/>
              <a:gd name="T10" fmla="*/ 148 w 2301"/>
              <a:gd name="T11" fmla="*/ 78 h 425"/>
              <a:gd name="T12" fmla="*/ 187 w 2301"/>
              <a:gd name="T13" fmla="*/ 132 h 425"/>
              <a:gd name="T14" fmla="*/ 204 w 2301"/>
              <a:gd name="T15" fmla="*/ 243 h 425"/>
              <a:gd name="T16" fmla="*/ 231 w 2301"/>
              <a:gd name="T17" fmla="*/ 51 h 425"/>
              <a:gd name="T18" fmla="*/ 285 w 2301"/>
              <a:gd name="T19" fmla="*/ 51 h 425"/>
              <a:gd name="T20" fmla="*/ 307 w 2301"/>
              <a:gd name="T21" fmla="*/ 172 h 425"/>
              <a:gd name="T22" fmla="*/ 315 w 2301"/>
              <a:gd name="T23" fmla="*/ 43 h 425"/>
              <a:gd name="T24" fmla="*/ 400 w 2301"/>
              <a:gd name="T25" fmla="*/ 177 h 425"/>
              <a:gd name="T26" fmla="*/ 439 w 2301"/>
              <a:gd name="T27" fmla="*/ 39 h 425"/>
              <a:gd name="T28" fmla="*/ 471 w 2301"/>
              <a:gd name="T29" fmla="*/ 177 h 425"/>
              <a:gd name="T30" fmla="*/ 498 w 2301"/>
              <a:gd name="T31" fmla="*/ 293 h 425"/>
              <a:gd name="T32" fmla="*/ 522 w 2301"/>
              <a:gd name="T33" fmla="*/ 182 h 425"/>
              <a:gd name="T34" fmla="*/ 582 w 2301"/>
              <a:gd name="T35" fmla="*/ 264 h 425"/>
              <a:gd name="T36" fmla="*/ 682 w 2301"/>
              <a:gd name="T37" fmla="*/ 293 h 425"/>
              <a:gd name="T38" fmla="*/ 704 w 2301"/>
              <a:gd name="T39" fmla="*/ 126 h 425"/>
              <a:gd name="T40" fmla="*/ 780 w 2301"/>
              <a:gd name="T41" fmla="*/ 240 h 425"/>
              <a:gd name="T42" fmla="*/ 808 w 2301"/>
              <a:gd name="T43" fmla="*/ 154 h 425"/>
              <a:gd name="T44" fmla="*/ 852 w 2301"/>
              <a:gd name="T45" fmla="*/ 154 h 425"/>
              <a:gd name="T46" fmla="*/ 878 w 2301"/>
              <a:gd name="T47" fmla="*/ 240 h 425"/>
              <a:gd name="T48" fmla="*/ 915 w 2301"/>
              <a:gd name="T49" fmla="*/ 101 h 425"/>
              <a:gd name="T50" fmla="*/ 990 w 2301"/>
              <a:gd name="T51" fmla="*/ 101 h 425"/>
              <a:gd name="T52" fmla="*/ 1041 w 2301"/>
              <a:gd name="T53" fmla="*/ 240 h 425"/>
              <a:gd name="T54" fmla="*/ 1069 w 2301"/>
              <a:gd name="T55" fmla="*/ 154 h 425"/>
              <a:gd name="T56" fmla="*/ 1113 w 2301"/>
              <a:gd name="T57" fmla="*/ 154 h 425"/>
              <a:gd name="T58" fmla="*/ 1140 w 2301"/>
              <a:gd name="T59" fmla="*/ 240 h 425"/>
              <a:gd name="T60" fmla="*/ 1161 w 2301"/>
              <a:gd name="T61" fmla="*/ 126 h 425"/>
              <a:gd name="T62" fmla="*/ 1237 w 2301"/>
              <a:gd name="T63" fmla="*/ 293 h 425"/>
              <a:gd name="T64" fmla="*/ 1335 w 2301"/>
              <a:gd name="T65" fmla="*/ 264 h 425"/>
              <a:gd name="T66" fmla="*/ 1377 w 2301"/>
              <a:gd name="T67" fmla="*/ 182 h 425"/>
              <a:gd name="T68" fmla="*/ 1422 w 2301"/>
              <a:gd name="T69" fmla="*/ 293 h 425"/>
              <a:gd name="T70" fmla="*/ 1443 w 2301"/>
              <a:gd name="T71" fmla="*/ 177 h 425"/>
              <a:gd name="T72" fmla="*/ 1465 w 2301"/>
              <a:gd name="T73" fmla="*/ 39 h 425"/>
              <a:gd name="T74" fmla="*/ 1492 w 2301"/>
              <a:gd name="T75" fmla="*/ 177 h 425"/>
              <a:gd name="T76" fmla="*/ 1540 w 2301"/>
              <a:gd name="T77" fmla="*/ 43 h 425"/>
              <a:gd name="T78" fmla="*/ 1618 w 2301"/>
              <a:gd name="T79" fmla="*/ 172 h 425"/>
              <a:gd name="T80" fmla="*/ 1639 w 2301"/>
              <a:gd name="T81" fmla="*/ 51 h 425"/>
              <a:gd name="T82" fmla="*/ 1695 w 2301"/>
              <a:gd name="T83" fmla="*/ 51 h 425"/>
              <a:gd name="T84" fmla="*/ 1716 w 2301"/>
              <a:gd name="T85" fmla="*/ 243 h 425"/>
              <a:gd name="T86" fmla="*/ 1735 w 2301"/>
              <a:gd name="T87" fmla="*/ 132 h 425"/>
              <a:gd name="T88" fmla="*/ 1759 w 2301"/>
              <a:gd name="T89" fmla="*/ 78 h 425"/>
              <a:gd name="T90" fmla="*/ 1799 w 2301"/>
              <a:gd name="T91" fmla="*/ 132 h 425"/>
              <a:gd name="T92" fmla="*/ 1813 w 2301"/>
              <a:gd name="T93" fmla="*/ 293 h 425"/>
              <a:gd name="T94" fmla="*/ 1836 w 2301"/>
              <a:gd name="T95" fmla="*/ 211 h 425"/>
              <a:gd name="T96" fmla="*/ 1909 w 2301"/>
              <a:gd name="T97" fmla="*/ 293 h 425"/>
              <a:gd name="T98" fmla="*/ 1921 w 2301"/>
              <a:gd name="T99" fmla="*/ 122 h 425"/>
              <a:gd name="T100" fmla="*/ 2008 w 2301"/>
              <a:gd name="T101" fmla="*/ 253 h 425"/>
              <a:gd name="T102" fmla="*/ 2019 w 2301"/>
              <a:gd name="T103" fmla="*/ 161 h 425"/>
              <a:gd name="T104" fmla="*/ 2086 w 2301"/>
              <a:gd name="T105" fmla="*/ 174 h 425"/>
              <a:gd name="T106" fmla="*/ 2116 w 2301"/>
              <a:gd name="T107" fmla="*/ 159 h 425"/>
              <a:gd name="T108" fmla="*/ 2140 w 2301"/>
              <a:gd name="T109" fmla="*/ 90 h 425"/>
              <a:gd name="T110" fmla="*/ 2193 w 2301"/>
              <a:gd name="T111" fmla="*/ 159 h 425"/>
              <a:gd name="T112" fmla="*/ 2214 w 2301"/>
              <a:gd name="T113" fmla="*/ 234 h 425"/>
              <a:gd name="T114" fmla="*/ 2255 w 2301"/>
              <a:gd name="T115" fmla="*/ 125 h 425"/>
              <a:gd name="T116" fmla="*/ 2281 w 2301"/>
              <a:gd name="T117" fmla="*/ 234 h 4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301" h="425">
                <a:moveTo>
                  <a:pt x="2301" y="234"/>
                </a:moveTo>
                <a:lnTo>
                  <a:pt x="2301" y="425"/>
                </a:lnTo>
                <a:lnTo>
                  <a:pt x="0" y="425"/>
                </a:lnTo>
                <a:lnTo>
                  <a:pt x="0" y="122"/>
                </a:lnTo>
                <a:lnTo>
                  <a:pt x="10" y="122"/>
                </a:lnTo>
                <a:lnTo>
                  <a:pt x="10" y="180"/>
                </a:lnTo>
                <a:lnTo>
                  <a:pt x="10" y="180"/>
                </a:lnTo>
                <a:lnTo>
                  <a:pt x="10" y="293"/>
                </a:lnTo>
                <a:lnTo>
                  <a:pt x="21" y="293"/>
                </a:lnTo>
                <a:lnTo>
                  <a:pt x="21" y="264"/>
                </a:lnTo>
                <a:lnTo>
                  <a:pt x="34" y="264"/>
                </a:lnTo>
                <a:lnTo>
                  <a:pt x="34" y="211"/>
                </a:lnTo>
                <a:lnTo>
                  <a:pt x="94" y="211"/>
                </a:lnTo>
                <a:lnTo>
                  <a:pt x="94" y="264"/>
                </a:lnTo>
                <a:lnTo>
                  <a:pt x="108" y="264"/>
                </a:lnTo>
                <a:lnTo>
                  <a:pt x="108" y="293"/>
                </a:lnTo>
                <a:lnTo>
                  <a:pt x="117" y="293"/>
                </a:lnTo>
                <a:lnTo>
                  <a:pt x="117" y="159"/>
                </a:lnTo>
                <a:lnTo>
                  <a:pt x="124" y="159"/>
                </a:lnTo>
                <a:lnTo>
                  <a:pt x="124" y="132"/>
                </a:lnTo>
                <a:lnTo>
                  <a:pt x="132" y="132"/>
                </a:lnTo>
                <a:lnTo>
                  <a:pt x="132" y="105"/>
                </a:lnTo>
                <a:lnTo>
                  <a:pt x="148" y="105"/>
                </a:lnTo>
                <a:lnTo>
                  <a:pt x="148" y="78"/>
                </a:lnTo>
                <a:lnTo>
                  <a:pt x="171" y="78"/>
                </a:lnTo>
                <a:lnTo>
                  <a:pt x="171" y="105"/>
                </a:lnTo>
                <a:lnTo>
                  <a:pt x="187" y="105"/>
                </a:lnTo>
                <a:lnTo>
                  <a:pt x="187" y="132"/>
                </a:lnTo>
                <a:lnTo>
                  <a:pt x="195" y="132"/>
                </a:lnTo>
                <a:lnTo>
                  <a:pt x="195" y="159"/>
                </a:lnTo>
                <a:lnTo>
                  <a:pt x="204" y="159"/>
                </a:lnTo>
                <a:lnTo>
                  <a:pt x="204" y="243"/>
                </a:lnTo>
                <a:lnTo>
                  <a:pt x="215" y="243"/>
                </a:lnTo>
                <a:lnTo>
                  <a:pt x="215" y="84"/>
                </a:lnTo>
                <a:lnTo>
                  <a:pt x="231" y="84"/>
                </a:lnTo>
                <a:lnTo>
                  <a:pt x="231" y="51"/>
                </a:lnTo>
                <a:lnTo>
                  <a:pt x="235" y="51"/>
                </a:lnTo>
                <a:lnTo>
                  <a:pt x="235" y="0"/>
                </a:lnTo>
                <a:lnTo>
                  <a:pt x="285" y="0"/>
                </a:lnTo>
                <a:lnTo>
                  <a:pt x="285" y="51"/>
                </a:lnTo>
                <a:lnTo>
                  <a:pt x="291" y="51"/>
                </a:lnTo>
                <a:lnTo>
                  <a:pt x="291" y="84"/>
                </a:lnTo>
                <a:lnTo>
                  <a:pt x="307" y="84"/>
                </a:lnTo>
                <a:lnTo>
                  <a:pt x="307" y="172"/>
                </a:lnTo>
                <a:lnTo>
                  <a:pt x="313" y="172"/>
                </a:lnTo>
                <a:lnTo>
                  <a:pt x="313" y="124"/>
                </a:lnTo>
                <a:lnTo>
                  <a:pt x="315" y="124"/>
                </a:lnTo>
                <a:lnTo>
                  <a:pt x="315" y="43"/>
                </a:lnTo>
                <a:lnTo>
                  <a:pt x="390" y="43"/>
                </a:lnTo>
                <a:lnTo>
                  <a:pt x="390" y="124"/>
                </a:lnTo>
                <a:lnTo>
                  <a:pt x="400" y="124"/>
                </a:lnTo>
                <a:lnTo>
                  <a:pt x="400" y="177"/>
                </a:lnTo>
                <a:lnTo>
                  <a:pt x="438" y="177"/>
                </a:lnTo>
                <a:lnTo>
                  <a:pt x="438" y="108"/>
                </a:lnTo>
                <a:lnTo>
                  <a:pt x="435" y="108"/>
                </a:lnTo>
                <a:lnTo>
                  <a:pt x="439" y="39"/>
                </a:lnTo>
                <a:lnTo>
                  <a:pt x="466" y="39"/>
                </a:lnTo>
                <a:lnTo>
                  <a:pt x="466" y="108"/>
                </a:lnTo>
                <a:lnTo>
                  <a:pt x="471" y="108"/>
                </a:lnTo>
                <a:lnTo>
                  <a:pt x="471" y="177"/>
                </a:lnTo>
                <a:lnTo>
                  <a:pt x="488" y="177"/>
                </a:lnTo>
                <a:lnTo>
                  <a:pt x="488" y="244"/>
                </a:lnTo>
                <a:lnTo>
                  <a:pt x="498" y="244"/>
                </a:lnTo>
                <a:lnTo>
                  <a:pt x="498" y="293"/>
                </a:lnTo>
                <a:lnTo>
                  <a:pt x="508" y="293"/>
                </a:lnTo>
                <a:lnTo>
                  <a:pt x="508" y="264"/>
                </a:lnTo>
                <a:lnTo>
                  <a:pt x="522" y="264"/>
                </a:lnTo>
                <a:lnTo>
                  <a:pt x="522" y="182"/>
                </a:lnTo>
                <a:lnTo>
                  <a:pt x="554" y="182"/>
                </a:lnTo>
                <a:lnTo>
                  <a:pt x="554" y="211"/>
                </a:lnTo>
                <a:lnTo>
                  <a:pt x="582" y="211"/>
                </a:lnTo>
                <a:lnTo>
                  <a:pt x="582" y="264"/>
                </a:lnTo>
                <a:lnTo>
                  <a:pt x="595" y="264"/>
                </a:lnTo>
                <a:lnTo>
                  <a:pt x="595" y="234"/>
                </a:lnTo>
                <a:lnTo>
                  <a:pt x="682" y="234"/>
                </a:lnTo>
                <a:lnTo>
                  <a:pt x="682" y="293"/>
                </a:lnTo>
                <a:lnTo>
                  <a:pt x="693" y="293"/>
                </a:lnTo>
                <a:lnTo>
                  <a:pt x="693" y="159"/>
                </a:lnTo>
                <a:lnTo>
                  <a:pt x="704" y="159"/>
                </a:lnTo>
                <a:lnTo>
                  <a:pt x="704" y="126"/>
                </a:lnTo>
                <a:lnTo>
                  <a:pt x="769" y="126"/>
                </a:lnTo>
                <a:lnTo>
                  <a:pt x="769" y="159"/>
                </a:lnTo>
                <a:lnTo>
                  <a:pt x="780" y="159"/>
                </a:lnTo>
                <a:lnTo>
                  <a:pt x="780" y="240"/>
                </a:lnTo>
                <a:lnTo>
                  <a:pt x="791" y="240"/>
                </a:lnTo>
                <a:lnTo>
                  <a:pt x="791" y="199"/>
                </a:lnTo>
                <a:lnTo>
                  <a:pt x="808" y="199"/>
                </a:lnTo>
                <a:lnTo>
                  <a:pt x="808" y="154"/>
                </a:lnTo>
                <a:lnTo>
                  <a:pt x="817" y="154"/>
                </a:lnTo>
                <a:lnTo>
                  <a:pt x="817" y="121"/>
                </a:lnTo>
                <a:lnTo>
                  <a:pt x="852" y="121"/>
                </a:lnTo>
                <a:lnTo>
                  <a:pt x="852" y="154"/>
                </a:lnTo>
                <a:lnTo>
                  <a:pt x="861" y="154"/>
                </a:lnTo>
                <a:lnTo>
                  <a:pt x="861" y="199"/>
                </a:lnTo>
                <a:lnTo>
                  <a:pt x="878" y="199"/>
                </a:lnTo>
                <a:lnTo>
                  <a:pt x="878" y="240"/>
                </a:lnTo>
                <a:lnTo>
                  <a:pt x="889" y="240"/>
                </a:lnTo>
                <a:lnTo>
                  <a:pt x="889" y="159"/>
                </a:lnTo>
                <a:lnTo>
                  <a:pt x="915" y="159"/>
                </a:lnTo>
                <a:lnTo>
                  <a:pt x="915" y="101"/>
                </a:lnTo>
                <a:lnTo>
                  <a:pt x="940" y="101"/>
                </a:lnTo>
                <a:lnTo>
                  <a:pt x="940" y="64"/>
                </a:lnTo>
                <a:lnTo>
                  <a:pt x="990" y="64"/>
                </a:lnTo>
                <a:lnTo>
                  <a:pt x="990" y="101"/>
                </a:lnTo>
                <a:lnTo>
                  <a:pt x="1015" y="101"/>
                </a:lnTo>
                <a:lnTo>
                  <a:pt x="1015" y="159"/>
                </a:lnTo>
                <a:lnTo>
                  <a:pt x="1041" y="159"/>
                </a:lnTo>
                <a:lnTo>
                  <a:pt x="1041" y="240"/>
                </a:lnTo>
                <a:lnTo>
                  <a:pt x="1053" y="240"/>
                </a:lnTo>
                <a:lnTo>
                  <a:pt x="1053" y="199"/>
                </a:lnTo>
                <a:lnTo>
                  <a:pt x="1069" y="199"/>
                </a:lnTo>
                <a:lnTo>
                  <a:pt x="1069" y="154"/>
                </a:lnTo>
                <a:lnTo>
                  <a:pt x="1079" y="154"/>
                </a:lnTo>
                <a:lnTo>
                  <a:pt x="1079" y="121"/>
                </a:lnTo>
                <a:lnTo>
                  <a:pt x="1113" y="121"/>
                </a:lnTo>
                <a:lnTo>
                  <a:pt x="1113" y="154"/>
                </a:lnTo>
                <a:lnTo>
                  <a:pt x="1123" y="154"/>
                </a:lnTo>
                <a:lnTo>
                  <a:pt x="1123" y="199"/>
                </a:lnTo>
                <a:lnTo>
                  <a:pt x="1140" y="199"/>
                </a:lnTo>
                <a:lnTo>
                  <a:pt x="1140" y="240"/>
                </a:lnTo>
                <a:lnTo>
                  <a:pt x="1150" y="240"/>
                </a:lnTo>
                <a:lnTo>
                  <a:pt x="1150" y="159"/>
                </a:lnTo>
                <a:lnTo>
                  <a:pt x="1161" y="159"/>
                </a:lnTo>
                <a:lnTo>
                  <a:pt x="1161" y="126"/>
                </a:lnTo>
                <a:lnTo>
                  <a:pt x="1227" y="126"/>
                </a:lnTo>
                <a:lnTo>
                  <a:pt x="1227" y="159"/>
                </a:lnTo>
                <a:lnTo>
                  <a:pt x="1237" y="159"/>
                </a:lnTo>
                <a:lnTo>
                  <a:pt x="1237" y="293"/>
                </a:lnTo>
                <a:lnTo>
                  <a:pt x="1248" y="293"/>
                </a:lnTo>
                <a:lnTo>
                  <a:pt x="1248" y="234"/>
                </a:lnTo>
                <a:lnTo>
                  <a:pt x="1335" y="234"/>
                </a:lnTo>
                <a:lnTo>
                  <a:pt x="1335" y="264"/>
                </a:lnTo>
                <a:lnTo>
                  <a:pt x="1348" y="264"/>
                </a:lnTo>
                <a:lnTo>
                  <a:pt x="1348" y="211"/>
                </a:lnTo>
                <a:lnTo>
                  <a:pt x="1377" y="211"/>
                </a:lnTo>
                <a:lnTo>
                  <a:pt x="1377" y="182"/>
                </a:lnTo>
                <a:lnTo>
                  <a:pt x="1408" y="182"/>
                </a:lnTo>
                <a:lnTo>
                  <a:pt x="1408" y="264"/>
                </a:lnTo>
                <a:lnTo>
                  <a:pt x="1422" y="264"/>
                </a:lnTo>
                <a:lnTo>
                  <a:pt x="1422" y="293"/>
                </a:lnTo>
                <a:lnTo>
                  <a:pt x="1433" y="293"/>
                </a:lnTo>
                <a:lnTo>
                  <a:pt x="1433" y="244"/>
                </a:lnTo>
                <a:lnTo>
                  <a:pt x="1443" y="244"/>
                </a:lnTo>
                <a:lnTo>
                  <a:pt x="1443" y="177"/>
                </a:lnTo>
                <a:lnTo>
                  <a:pt x="1459" y="177"/>
                </a:lnTo>
                <a:lnTo>
                  <a:pt x="1459" y="108"/>
                </a:lnTo>
                <a:lnTo>
                  <a:pt x="1465" y="108"/>
                </a:lnTo>
                <a:lnTo>
                  <a:pt x="1465" y="39"/>
                </a:lnTo>
                <a:lnTo>
                  <a:pt x="1492" y="39"/>
                </a:lnTo>
                <a:lnTo>
                  <a:pt x="1495" y="108"/>
                </a:lnTo>
                <a:lnTo>
                  <a:pt x="1492" y="108"/>
                </a:lnTo>
                <a:lnTo>
                  <a:pt x="1492" y="177"/>
                </a:lnTo>
                <a:lnTo>
                  <a:pt x="1531" y="177"/>
                </a:lnTo>
                <a:lnTo>
                  <a:pt x="1531" y="124"/>
                </a:lnTo>
                <a:lnTo>
                  <a:pt x="1540" y="124"/>
                </a:lnTo>
                <a:lnTo>
                  <a:pt x="1540" y="43"/>
                </a:lnTo>
                <a:lnTo>
                  <a:pt x="1616" y="43"/>
                </a:lnTo>
                <a:lnTo>
                  <a:pt x="1616" y="124"/>
                </a:lnTo>
                <a:lnTo>
                  <a:pt x="1618" y="124"/>
                </a:lnTo>
                <a:lnTo>
                  <a:pt x="1618" y="172"/>
                </a:lnTo>
                <a:lnTo>
                  <a:pt x="1624" y="172"/>
                </a:lnTo>
                <a:lnTo>
                  <a:pt x="1624" y="84"/>
                </a:lnTo>
                <a:lnTo>
                  <a:pt x="1639" y="84"/>
                </a:lnTo>
                <a:lnTo>
                  <a:pt x="1639" y="51"/>
                </a:lnTo>
                <a:lnTo>
                  <a:pt x="1645" y="51"/>
                </a:lnTo>
                <a:lnTo>
                  <a:pt x="1645" y="0"/>
                </a:lnTo>
                <a:lnTo>
                  <a:pt x="1695" y="0"/>
                </a:lnTo>
                <a:lnTo>
                  <a:pt x="1695" y="51"/>
                </a:lnTo>
                <a:lnTo>
                  <a:pt x="1700" y="51"/>
                </a:lnTo>
                <a:lnTo>
                  <a:pt x="1700" y="84"/>
                </a:lnTo>
                <a:lnTo>
                  <a:pt x="1716" y="84"/>
                </a:lnTo>
                <a:lnTo>
                  <a:pt x="1716" y="243"/>
                </a:lnTo>
                <a:lnTo>
                  <a:pt x="1726" y="243"/>
                </a:lnTo>
                <a:lnTo>
                  <a:pt x="1726" y="159"/>
                </a:lnTo>
                <a:lnTo>
                  <a:pt x="1735" y="159"/>
                </a:lnTo>
                <a:lnTo>
                  <a:pt x="1735" y="132"/>
                </a:lnTo>
                <a:lnTo>
                  <a:pt x="1743" y="132"/>
                </a:lnTo>
                <a:lnTo>
                  <a:pt x="1743" y="105"/>
                </a:lnTo>
                <a:lnTo>
                  <a:pt x="1759" y="105"/>
                </a:lnTo>
                <a:lnTo>
                  <a:pt x="1759" y="78"/>
                </a:lnTo>
                <a:lnTo>
                  <a:pt x="1782" y="78"/>
                </a:lnTo>
                <a:lnTo>
                  <a:pt x="1782" y="105"/>
                </a:lnTo>
                <a:lnTo>
                  <a:pt x="1799" y="105"/>
                </a:lnTo>
                <a:lnTo>
                  <a:pt x="1799" y="132"/>
                </a:lnTo>
                <a:lnTo>
                  <a:pt x="1806" y="132"/>
                </a:lnTo>
                <a:lnTo>
                  <a:pt x="1806" y="159"/>
                </a:lnTo>
                <a:lnTo>
                  <a:pt x="1813" y="159"/>
                </a:lnTo>
                <a:lnTo>
                  <a:pt x="1813" y="293"/>
                </a:lnTo>
                <a:lnTo>
                  <a:pt x="1823" y="293"/>
                </a:lnTo>
                <a:lnTo>
                  <a:pt x="1823" y="264"/>
                </a:lnTo>
                <a:lnTo>
                  <a:pt x="1836" y="264"/>
                </a:lnTo>
                <a:lnTo>
                  <a:pt x="1836" y="211"/>
                </a:lnTo>
                <a:lnTo>
                  <a:pt x="1896" y="211"/>
                </a:lnTo>
                <a:lnTo>
                  <a:pt x="1896" y="264"/>
                </a:lnTo>
                <a:lnTo>
                  <a:pt x="1909" y="264"/>
                </a:lnTo>
                <a:lnTo>
                  <a:pt x="1909" y="293"/>
                </a:lnTo>
                <a:lnTo>
                  <a:pt x="1921" y="293"/>
                </a:lnTo>
                <a:lnTo>
                  <a:pt x="1921" y="180"/>
                </a:lnTo>
                <a:lnTo>
                  <a:pt x="1921" y="180"/>
                </a:lnTo>
                <a:lnTo>
                  <a:pt x="1921" y="122"/>
                </a:lnTo>
                <a:lnTo>
                  <a:pt x="1989" y="122"/>
                </a:lnTo>
                <a:lnTo>
                  <a:pt x="1989" y="159"/>
                </a:lnTo>
                <a:lnTo>
                  <a:pt x="2008" y="159"/>
                </a:lnTo>
                <a:lnTo>
                  <a:pt x="2008" y="253"/>
                </a:lnTo>
                <a:lnTo>
                  <a:pt x="2019" y="253"/>
                </a:lnTo>
                <a:lnTo>
                  <a:pt x="2019" y="224"/>
                </a:lnTo>
                <a:lnTo>
                  <a:pt x="2019" y="224"/>
                </a:lnTo>
                <a:lnTo>
                  <a:pt x="2019" y="161"/>
                </a:lnTo>
                <a:lnTo>
                  <a:pt x="2038" y="174"/>
                </a:lnTo>
                <a:lnTo>
                  <a:pt x="2038" y="134"/>
                </a:lnTo>
                <a:lnTo>
                  <a:pt x="2086" y="134"/>
                </a:lnTo>
                <a:lnTo>
                  <a:pt x="2086" y="174"/>
                </a:lnTo>
                <a:lnTo>
                  <a:pt x="2106" y="161"/>
                </a:lnTo>
                <a:lnTo>
                  <a:pt x="2106" y="218"/>
                </a:lnTo>
                <a:lnTo>
                  <a:pt x="2116" y="218"/>
                </a:lnTo>
                <a:lnTo>
                  <a:pt x="2116" y="159"/>
                </a:lnTo>
                <a:lnTo>
                  <a:pt x="2127" y="159"/>
                </a:lnTo>
                <a:lnTo>
                  <a:pt x="2127" y="126"/>
                </a:lnTo>
                <a:lnTo>
                  <a:pt x="2140" y="126"/>
                </a:lnTo>
                <a:lnTo>
                  <a:pt x="2140" y="90"/>
                </a:lnTo>
                <a:lnTo>
                  <a:pt x="2182" y="90"/>
                </a:lnTo>
                <a:lnTo>
                  <a:pt x="2182" y="126"/>
                </a:lnTo>
                <a:lnTo>
                  <a:pt x="2193" y="126"/>
                </a:lnTo>
                <a:lnTo>
                  <a:pt x="2193" y="159"/>
                </a:lnTo>
                <a:lnTo>
                  <a:pt x="2203" y="159"/>
                </a:lnTo>
                <a:lnTo>
                  <a:pt x="2203" y="260"/>
                </a:lnTo>
                <a:lnTo>
                  <a:pt x="2214" y="260"/>
                </a:lnTo>
                <a:lnTo>
                  <a:pt x="2214" y="234"/>
                </a:lnTo>
                <a:lnTo>
                  <a:pt x="2236" y="234"/>
                </a:lnTo>
                <a:lnTo>
                  <a:pt x="2236" y="176"/>
                </a:lnTo>
                <a:lnTo>
                  <a:pt x="2255" y="176"/>
                </a:lnTo>
                <a:lnTo>
                  <a:pt x="2255" y="125"/>
                </a:lnTo>
                <a:lnTo>
                  <a:pt x="2263" y="125"/>
                </a:lnTo>
                <a:lnTo>
                  <a:pt x="2263" y="176"/>
                </a:lnTo>
                <a:lnTo>
                  <a:pt x="2281" y="176"/>
                </a:lnTo>
                <a:lnTo>
                  <a:pt x="2281" y="234"/>
                </a:lnTo>
                <a:lnTo>
                  <a:pt x="2301" y="23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4A0A9EA-1D72-4B03-B077-A762734DCADB}"/>
              </a:ext>
            </a:extLst>
          </p:cNvPr>
          <p:cNvGrpSpPr/>
          <p:nvPr userDrawn="1"/>
        </p:nvGrpSpPr>
        <p:grpSpPr>
          <a:xfrm>
            <a:off x="8203269" y="2925966"/>
            <a:ext cx="2361568" cy="2089069"/>
            <a:chOff x="8219218" y="1658816"/>
            <a:chExt cx="3816414" cy="3146214"/>
          </a:xfrm>
        </p:grpSpPr>
        <p:sp>
          <p:nvSpPr>
            <p:cNvPr id="17" name="Rectangle 117">
              <a:extLst>
                <a:ext uri="{FF2B5EF4-FFF2-40B4-BE49-F238E27FC236}">
                  <a16:creationId xmlns:a16="http://schemas.microsoft.com/office/drawing/2014/main" id="{152D6DEB-F313-4840-9689-F5E12007300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474472" y="2182741"/>
              <a:ext cx="2660" cy="266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Freeform 118">
              <a:extLst>
                <a:ext uri="{FF2B5EF4-FFF2-40B4-BE49-F238E27FC236}">
                  <a16:creationId xmlns:a16="http://schemas.microsoft.com/office/drawing/2014/main" id="{47EE5AC8-4E33-401B-A686-655AC85D8F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60164" y="2653477"/>
              <a:ext cx="2287188" cy="2029215"/>
            </a:xfrm>
            <a:custGeom>
              <a:avLst/>
              <a:gdLst>
                <a:gd name="T0" fmla="*/ 162 w 590"/>
                <a:gd name="T1" fmla="*/ 526 h 526"/>
                <a:gd name="T2" fmla="*/ 0 w 590"/>
                <a:gd name="T3" fmla="*/ 526 h 526"/>
                <a:gd name="T4" fmla="*/ 0 w 590"/>
                <a:gd name="T5" fmla="*/ 514 h 526"/>
                <a:gd name="T6" fmla="*/ 162 w 590"/>
                <a:gd name="T7" fmla="*/ 514 h 526"/>
                <a:gd name="T8" fmla="*/ 241 w 590"/>
                <a:gd name="T9" fmla="*/ 434 h 526"/>
                <a:gd name="T10" fmla="*/ 241 w 590"/>
                <a:gd name="T11" fmla="*/ 283 h 526"/>
                <a:gd name="T12" fmla="*/ 333 w 590"/>
                <a:gd name="T13" fmla="*/ 192 h 526"/>
                <a:gd name="T14" fmla="*/ 499 w 590"/>
                <a:gd name="T15" fmla="*/ 192 h 526"/>
                <a:gd name="T16" fmla="*/ 578 w 590"/>
                <a:gd name="T17" fmla="*/ 112 h 526"/>
                <a:gd name="T18" fmla="*/ 578 w 590"/>
                <a:gd name="T19" fmla="*/ 0 h 526"/>
                <a:gd name="T20" fmla="*/ 590 w 590"/>
                <a:gd name="T21" fmla="*/ 0 h 526"/>
                <a:gd name="T22" fmla="*/ 590 w 590"/>
                <a:gd name="T23" fmla="*/ 112 h 526"/>
                <a:gd name="T24" fmla="*/ 499 w 590"/>
                <a:gd name="T25" fmla="*/ 204 h 526"/>
                <a:gd name="T26" fmla="*/ 333 w 590"/>
                <a:gd name="T27" fmla="*/ 204 h 526"/>
                <a:gd name="T28" fmla="*/ 253 w 590"/>
                <a:gd name="T29" fmla="*/ 283 h 526"/>
                <a:gd name="T30" fmla="*/ 253 w 590"/>
                <a:gd name="T31" fmla="*/ 434 h 526"/>
                <a:gd name="T32" fmla="*/ 162 w 590"/>
                <a:gd name="T33" fmla="*/ 526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0" h="526">
                  <a:moveTo>
                    <a:pt x="162" y="526"/>
                  </a:moveTo>
                  <a:cubicBezTo>
                    <a:pt x="0" y="526"/>
                    <a:pt x="0" y="526"/>
                    <a:pt x="0" y="526"/>
                  </a:cubicBezTo>
                  <a:cubicBezTo>
                    <a:pt x="0" y="514"/>
                    <a:pt x="0" y="514"/>
                    <a:pt x="0" y="514"/>
                  </a:cubicBezTo>
                  <a:cubicBezTo>
                    <a:pt x="162" y="514"/>
                    <a:pt x="162" y="514"/>
                    <a:pt x="162" y="514"/>
                  </a:cubicBezTo>
                  <a:cubicBezTo>
                    <a:pt x="206" y="514"/>
                    <a:pt x="241" y="478"/>
                    <a:pt x="241" y="434"/>
                  </a:cubicBezTo>
                  <a:cubicBezTo>
                    <a:pt x="241" y="283"/>
                    <a:pt x="241" y="283"/>
                    <a:pt x="241" y="283"/>
                  </a:cubicBezTo>
                  <a:cubicBezTo>
                    <a:pt x="241" y="233"/>
                    <a:pt x="282" y="192"/>
                    <a:pt x="333" y="192"/>
                  </a:cubicBezTo>
                  <a:cubicBezTo>
                    <a:pt x="499" y="192"/>
                    <a:pt x="499" y="192"/>
                    <a:pt x="499" y="192"/>
                  </a:cubicBezTo>
                  <a:cubicBezTo>
                    <a:pt x="542" y="192"/>
                    <a:pt x="578" y="156"/>
                    <a:pt x="578" y="112"/>
                  </a:cubicBezTo>
                  <a:cubicBezTo>
                    <a:pt x="578" y="0"/>
                    <a:pt x="578" y="0"/>
                    <a:pt x="578" y="0"/>
                  </a:cubicBezTo>
                  <a:cubicBezTo>
                    <a:pt x="590" y="0"/>
                    <a:pt x="590" y="0"/>
                    <a:pt x="590" y="0"/>
                  </a:cubicBezTo>
                  <a:cubicBezTo>
                    <a:pt x="590" y="112"/>
                    <a:pt x="590" y="112"/>
                    <a:pt x="590" y="112"/>
                  </a:cubicBezTo>
                  <a:cubicBezTo>
                    <a:pt x="590" y="163"/>
                    <a:pt x="549" y="204"/>
                    <a:pt x="499" y="204"/>
                  </a:cubicBezTo>
                  <a:cubicBezTo>
                    <a:pt x="333" y="204"/>
                    <a:pt x="333" y="204"/>
                    <a:pt x="333" y="204"/>
                  </a:cubicBezTo>
                  <a:cubicBezTo>
                    <a:pt x="289" y="204"/>
                    <a:pt x="253" y="239"/>
                    <a:pt x="253" y="283"/>
                  </a:cubicBezTo>
                  <a:cubicBezTo>
                    <a:pt x="253" y="434"/>
                    <a:pt x="253" y="434"/>
                    <a:pt x="253" y="434"/>
                  </a:cubicBezTo>
                  <a:cubicBezTo>
                    <a:pt x="253" y="485"/>
                    <a:pt x="212" y="526"/>
                    <a:pt x="162" y="5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119">
              <a:extLst>
                <a:ext uri="{FF2B5EF4-FFF2-40B4-BE49-F238E27FC236}">
                  <a16:creationId xmlns:a16="http://schemas.microsoft.com/office/drawing/2014/main" id="{FA277C21-003B-4A3A-8D1B-1FE9E3B81F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13859" y="1658816"/>
              <a:ext cx="1821773" cy="1021256"/>
            </a:xfrm>
            <a:custGeom>
              <a:avLst/>
              <a:gdLst>
                <a:gd name="T0" fmla="*/ 194 w 470"/>
                <a:gd name="T1" fmla="*/ 52 h 265"/>
                <a:gd name="T2" fmla="*/ 283 w 470"/>
                <a:gd name="T3" fmla="*/ 0 h 265"/>
                <a:gd name="T4" fmla="*/ 386 w 470"/>
                <a:gd name="T5" fmla="*/ 101 h 265"/>
                <a:gd name="T6" fmla="*/ 387 w 470"/>
                <a:gd name="T7" fmla="*/ 101 h 265"/>
                <a:gd name="T8" fmla="*/ 470 w 470"/>
                <a:gd name="T9" fmla="*/ 183 h 265"/>
                <a:gd name="T10" fmla="*/ 387 w 470"/>
                <a:gd name="T11" fmla="*/ 265 h 265"/>
                <a:gd name="T12" fmla="*/ 66 w 470"/>
                <a:gd name="T13" fmla="*/ 265 h 265"/>
                <a:gd name="T14" fmla="*/ 0 w 470"/>
                <a:gd name="T15" fmla="*/ 200 h 265"/>
                <a:gd name="T16" fmla="*/ 64 w 470"/>
                <a:gd name="T17" fmla="*/ 134 h 265"/>
                <a:gd name="T18" fmla="*/ 63 w 470"/>
                <a:gd name="T19" fmla="*/ 118 h 265"/>
                <a:gd name="T20" fmla="*/ 145 w 470"/>
                <a:gd name="T21" fmla="*/ 35 h 265"/>
                <a:gd name="T22" fmla="*/ 194 w 470"/>
                <a:gd name="T23" fmla="*/ 52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0" h="265">
                  <a:moveTo>
                    <a:pt x="194" y="52"/>
                  </a:moveTo>
                  <a:cubicBezTo>
                    <a:pt x="212" y="21"/>
                    <a:pt x="245" y="0"/>
                    <a:pt x="283" y="0"/>
                  </a:cubicBezTo>
                  <a:cubicBezTo>
                    <a:pt x="340" y="0"/>
                    <a:pt x="385" y="45"/>
                    <a:pt x="386" y="101"/>
                  </a:cubicBezTo>
                  <a:cubicBezTo>
                    <a:pt x="387" y="101"/>
                    <a:pt x="387" y="101"/>
                    <a:pt x="387" y="101"/>
                  </a:cubicBezTo>
                  <a:cubicBezTo>
                    <a:pt x="433" y="101"/>
                    <a:pt x="470" y="138"/>
                    <a:pt x="470" y="183"/>
                  </a:cubicBezTo>
                  <a:cubicBezTo>
                    <a:pt x="470" y="229"/>
                    <a:pt x="433" y="265"/>
                    <a:pt x="387" y="265"/>
                  </a:cubicBezTo>
                  <a:cubicBezTo>
                    <a:pt x="66" y="265"/>
                    <a:pt x="66" y="265"/>
                    <a:pt x="66" y="265"/>
                  </a:cubicBezTo>
                  <a:cubicBezTo>
                    <a:pt x="30" y="265"/>
                    <a:pt x="0" y="236"/>
                    <a:pt x="0" y="200"/>
                  </a:cubicBezTo>
                  <a:cubicBezTo>
                    <a:pt x="0" y="164"/>
                    <a:pt x="29" y="135"/>
                    <a:pt x="64" y="134"/>
                  </a:cubicBezTo>
                  <a:cubicBezTo>
                    <a:pt x="63" y="129"/>
                    <a:pt x="63" y="123"/>
                    <a:pt x="63" y="118"/>
                  </a:cubicBezTo>
                  <a:cubicBezTo>
                    <a:pt x="63" y="72"/>
                    <a:pt x="99" y="35"/>
                    <a:pt x="145" y="35"/>
                  </a:cubicBezTo>
                  <a:cubicBezTo>
                    <a:pt x="163" y="35"/>
                    <a:pt x="180" y="41"/>
                    <a:pt x="194" y="5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Freeform 120">
              <a:extLst>
                <a:ext uri="{FF2B5EF4-FFF2-40B4-BE49-F238E27FC236}">
                  <a16:creationId xmlns:a16="http://schemas.microsoft.com/office/drawing/2014/main" id="{30DBB117-27A2-40E1-B084-487DC0D15B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77688" y="2076360"/>
              <a:ext cx="1757944" cy="603712"/>
            </a:xfrm>
            <a:custGeom>
              <a:avLst/>
              <a:gdLst>
                <a:gd name="T0" fmla="*/ 405 w 454"/>
                <a:gd name="T1" fmla="*/ 0 h 157"/>
                <a:gd name="T2" fmla="*/ 428 w 454"/>
                <a:gd name="T3" fmla="*/ 57 h 157"/>
                <a:gd name="T4" fmla="*/ 346 w 454"/>
                <a:gd name="T5" fmla="*/ 139 h 157"/>
                <a:gd name="T6" fmla="*/ 24 w 454"/>
                <a:gd name="T7" fmla="*/ 139 h 157"/>
                <a:gd name="T8" fmla="*/ 0 w 454"/>
                <a:gd name="T9" fmla="*/ 135 h 157"/>
                <a:gd name="T10" fmla="*/ 50 w 454"/>
                <a:gd name="T11" fmla="*/ 157 h 157"/>
                <a:gd name="T12" fmla="*/ 371 w 454"/>
                <a:gd name="T13" fmla="*/ 157 h 157"/>
                <a:gd name="T14" fmla="*/ 454 w 454"/>
                <a:gd name="T15" fmla="*/ 75 h 157"/>
                <a:gd name="T16" fmla="*/ 405 w 454"/>
                <a:gd name="T17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4" h="157">
                  <a:moveTo>
                    <a:pt x="405" y="0"/>
                  </a:moveTo>
                  <a:cubicBezTo>
                    <a:pt x="420" y="15"/>
                    <a:pt x="428" y="35"/>
                    <a:pt x="428" y="57"/>
                  </a:cubicBezTo>
                  <a:cubicBezTo>
                    <a:pt x="428" y="102"/>
                    <a:pt x="391" y="139"/>
                    <a:pt x="346" y="139"/>
                  </a:cubicBezTo>
                  <a:cubicBezTo>
                    <a:pt x="24" y="139"/>
                    <a:pt x="24" y="139"/>
                    <a:pt x="24" y="139"/>
                  </a:cubicBezTo>
                  <a:cubicBezTo>
                    <a:pt x="16" y="139"/>
                    <a:pt x="8" y="138"/>
                    <a:pt x="0" y="135"/>
                  </a:cubicBezTo>
                  <a:cubicBezTo>
                    <a:pt x="12" y="149"/>
                    <a:pt x="30" y="157"/>
                    <a:pt x="50" y="157"/>
                  </a:cubicBezTo>
                  <a:cubicBezTo>
                    <a:pt x="371" y="157"/>
                    <a:pt x="371" y="157"/>
                    <a:pt x="371" y="157"/>
                  </a:cubicBezTo>
                  <a:cubicBezTo>
                    <a:pt x="417" y="157"/>
                    <a:pt x="454" y="121"/>
                    <a:pt x="454" y="75"/>
                  </a:cubicBezTo>
                  <a:cubicBezTo>
                    <a:pt x="454" y="42"/>
                    <a:pt x="434" y="13"/>
                    <a:pt x="405" y="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Freeform 121">
              <a:extLst>
                <a:ext uri="{FF2B5EF4-FFF2-40B4-BE49-F238E27FC236}">
                  <a16:creationId xmlns:a16="http://schemas.microsoft.com/office/drawing/2014/main" id="{A979BB99-0B05-4B6E-BF6C-40B84C979F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19218" y="4560352"/>
              <a:ext cx="119679" cy="196804"/>
            </a:xfrm>
            <a:custGeom>
              <a:avLst/>
              <a:gdLst>
                <a:gd name="T0" fmla="*/ 22 w 31"/>
                <a:gd name="T1" fmla="*/ 0 h 51"/>
                <a:gd name="T2" fmla="*/ 0 w 31"/>
                <a:gd name="T3" fmla="*/ 0 h 51"/>
                <a:gd name="T4" fmla="*/ 0 w 31"/>
                <a:gd name="T5" fmla="*/ 51 h 51"/>
                <a:gd name="T6" fmla="*/ 22 w 31"/>
                <a:gd name="T7" fmla="*/ 51 h 51"/>
                <a:gd name="T8" fmla="*/ 31 w 31"/>
                <a:gd name="T9" fmla="*/ 43 h 51"/>
                <a:gd name="T10" fmla="*/ 31 w 31"/>
                <a:gd name="T11" fmla="*/ 9 h 51"/>
                <a:gd name="T12" fmla="*/ 22 w 31"/>
                <a:gd name="T13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51">
                  <a:moveTo>
                    <a:pt x="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7" y="51"/>
                    <a:pt x="31" y="48"/>
                    <a:pt x="31" y="43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4"/>
                    <a:pt x="27" y="0"/>
                    <a:pt x="2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Freeform 122">
              <a:extLst>
                <a:ext uri="{FF2B5EF4-FFF2-40B4-BE49-F238E27FC236}">
                  <a16:creationId xmlns:a16="http://schemas.microsoft.com/office/drawing/2014/main" id="{5CBBC5E3-D11E-4195-A716-BA2A2BB035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60164" y="4597585"/>
              <a:ext cx="101062" cy="119679"/>
            </a:xfrm>
            <a:custGeom>
              <a:avLst/>
              <a:gdLst>
                <a:gd name="T0" fmla="*/ 11 w 26"/>
                <a:gd name="T1" fmla="*/ 31 h 31"/>
                <a:gd name="T2" fmla="*/ 26 w 26"/>
                <a:gd name="T3" fmla="*/ 16 h 31"/>
                <a:gd name="T4" fmla="*/ 11 w 26"/>
                <a:gd name="T5" fmla="*/ 0 h 31"/>
                <a:gd name="T6" fmla="*/ 0 w 26"/>
                <a:gd name="T7" fmla="*/ 0 h 31"/>
                <a:gd name="T8" fmla="*/ 0 w 26"/>
                <a:gd name="T9" fmla="*/ 31 h 31"/>
                <a:gd name="T10" fmla="*/ 11 w 26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31">
                  <a:moveTo>
                    <a:pt x="11" y="31"/>
                  </a:moveTo>
                  <a:cubicBezTo>
                    <a:pt x="19" y="31"/>
                    <a:pt x="26" y="24"/>
                    <a:pt x="26" y="16"/>
                  </a:cubicBezTo>
                  <a:cubicBezTo>
                    <a:pt x="26" y="7"/>
                    <a:pt x="19" y="0"/>
                    <a:pt x="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0" y="31"/>
                    <a:pt x="0" y="31"/>
                  </a:cubicBezTo>
                  <a:lnTo>
                    <a:pt x="11" y="31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Freeform 123">
              <a:extLst>
                <a:ext uri="{FF2B5EF4-FFF2-40B4-BE49-F238E27FC236}">
                  <a16:creationId xmlns:a16="http://schemas.microsoft.com/office/drawing/2014/main" id="{662702DC-698E-454A-8ED3-DE28379639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7090" y="4509822"/>
              <a:ext cx="598393" cy="295208"/>
            </a:xfrm>
            <a:custGeom>
              <a:avLst/>
              <a:gdLst>
                <a:gd name="T0" fmla="*/ 154 w 154"/>
                <a:gd name="T1" fmla="*/ 23 h 77"/>
                <a:gd name="T2" fmla="*/ 121 w 154"/>
                <a:gd name="T3" fmla="*/ 4 h 77"/>
                <a:gd name="T4" fmla="*/ 105 w 154"/>
                <a:gd name="T5" fmla="*/ 0 h 77"/>
                <a:gd name="T6" fmla="*/ 8 w 154"/>
                <a:gd name="T7" fmla="*/ 0 h 77"/>
                <a:gd name="T8" fmla="*/ 0 w 154"/>
                <a:gd name="T9" fmla="*/ 9 h 77"/>
                <a:gd name="T10" fmla="*/ 0 w 154"/>
                <a:gd name="T11" fmla="*/ 68 h 77"/>
                <a:gd name="T12" fmla="*/ 8 w 154"/>
                <a:gd name="T13" fmla="*/ 77 h 77"/>
                <a:gd name="T14" fmla="*/ 105 w 154"/>
                <a:gd name="T15" fmla="*/ 77 h 77"/>
                <a:gd name="T16" fmla="*/ 121 w 154"/>
                <a:gd name="T17" fmla="*/ 73 h 77"/>
                <a:gd name="T18" fmla="*/ 154 w 154"/>
                <a:gd name="T19" fmla="*/ 54 h 77"/>
                <a:gd name="T20" fmla="*/ 154 w 154"/>
                <a:gd name="T21" fmla="*/ 23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4" h="77">
                  <a:moveTo>
                    <a:pt x="154" y="23"/>
                  </a:moveTo>
                  <a:cubicBezTo>
                    <a:pt x="121" y="4"/>
                    <a:pt x="121" y="4"/>
                    <a:pt x="121" y="4"/>
                  </a:cubicBezTo>
                  <a:cubicBezTo>
                    <a:pt x="117" y="2"/>
                    <a:pt x="110" y="0"/>
                    <a:pt x="10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73"/>
                    <a:pt x="4" y="77"/>
                    <a:pt x="8" y="77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110" y="77"/>
                    <a:pt x="117" y="75"/>
                    <a:pt x="121" y="73"/>
                  </a:cubicBezTo>
                  <a:cubicBezTo>
                    <a:pt x="154" y="54"/>
                    <a:pt x="154" y="54"/>
                    <a:pt x="154" y="54"/>
                  </a:cubicBezTo>
                  <a:lnTo>
                    <a:pt x="154" y="23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Freeform 124">
              <a:extLst>
                <a:ext uri="{FF2B5EF4-FFF2-40B4-BE49-F238E27FC236}">
                  <a16:creationId xmlns:a16="http://schemas.microsoft.com/office/drawing/2014/main" id="{2F26795F-DD2F-495C-B65F-D1743C314C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7090" y="4512480"/>
              <a:ext cx="598393" cy="292547"/>
            </a:xfrm>
            <a:custGeom>
              <a:avLst/>
              <a:gdLst>
                <a:gd name="T0" fmla="*/ 5 w 154"/>
                <a:gd name="T1" fmla="*/ 0 h 76"/>
                <a:gd name="T2" fmla="*/ 5 w 154"/>
                <a:gd name="T3" fmla="*/ 59 h 76"/>
                <a:gd name="T4" fmla="*/ 13 w 154"/>
                <a:gd name="T5" fmla="*/ 67 h 76"/>
                <a:gd name="T6" fmla="*/ 110 w 154"/>
                <a:gd name="T7" fmla="*/ 67 h 76"/>
                <a:gd name="T8" fmla="*/ 126 w 154"/>
                <a:gd name="T9" fmla="*/ 64 h 76"/>
                <a:gd name="T10" fmla="*/ 154 w 154"/>
                <a:gd name="T11" fmla="*/ 47 h 76"/>
                <a:gd name="T12" fmla="*/ 154 w 154"/>
                <a:gd name="T13" fmla="*/ 53 h 76"/>
                <a:gd name="T14" fmla="*/ 121 w 154"/>
                <a:gd name="T15" fmla="*/ 72 h 76"/>
                <a:gd name="T16" fmla="*/ 105 w 154"/>
                <a:gd name="T17" fmla="*/ 76 h 76"/>
                <a:gd name="T18" fmla="*/ 8 w 154"/>
                <a:gd name="T19" fmla="*/ 76 h 76"/>
                <a:gd name="T20" fmla="*/ 0 w 154"/>
                <a:gd name="T21" fmla="*/ 67 h 76"/>
                <a:gd name="T22" fmla="*/ 0 w 154"/>
                <a:gd name="T23" fmla="*/ 8 h 76"/>
                <a:gd name="T24" fmla="*/ 5 w 154"/>
                <a:gd name="T25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4" h="76">
                  <a:moveTo>
                    <a:pt x="5" y="0"/>
                  </a:moveTo>
                  <a:cubicBezTo>
                    <a:pt x="5" y="59"/>
                    <a:pt x="5" y="59"/>
                    <a:pt x="5" y="59"/>
                  </a:cubicBezTo>
                  <a:cubicBezTo>
                    <a:pt x="5" y="64"/>
                    <a:pt x="9" y="67"/>
                    <a:pt x="13" y="67"/>
                  </a:cubicBezTo>
                  <a:cubicBezTo>
                    <a:pt x="110" y="67"/>
                    <a:pt x="110" y="67"/>
                    <a:pt x="110" y="67"/>
                  </a:cubicBezTo>
                  <a:cubicBezTo>
                    <a:pt x="115" y="67"/>
                    <a:pt x="122" y="66"/>
                    <a:pt x="126" y="64"/>
                  </a:cubicBezTo>
                  <a:cubicBezTo>
                    <a:pt x="154" y="47"/>
                    <a:pt x="154" y="47"/>
                    <a:pt x="154" y="47"/>
                  </a:cubicBezTo>
                  <a:cubicBezTo>
                    <a:pt x="154" y="53"/>
                    <a:pt x="154" y="53"/>
                    <a:pt x="154" y="53"/>
                  </a:cubicBezTo>
                  <a:cubicBezTo>
                    <a:pt x="121" y="72"/>
                    <a:pt x="121" y="72"/>
                    <a:pt x="121" y="72"/>
                  </a:cubicBezTo>
                  <a:cubicBezTo>
                    <a:pt x="117" y="74"/>
                    <a:pt x="110" y="76"/>
                    <a:pt x="105" y="76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4" y="76"/>
                    <a:pt x="0" y="72"/>
                    <a:pt x="0" y="6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5"/>
                    <a:pt x="2" y="2"/>
                    <a:pt x="5" y="0"/>
                  </a:cubicBezTo>
                  <a:close/>
                </a:path>
              </a:pathLst>
            </a:custGeom>
            <a:solidFill>
              <a:srgbClr val="C86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Rectangle 125">
              <a:extLst>
                <a:ext uri="{FF2B5EF4-FFF2-40B4-BE49-F238E27FC236}">
                  <a16:creationId xmlns:a16="http://schemas.microsoft.com/office/drawing/2014/main" id="{0AFFE1CB-5B49-4478-9448-59BC06330D8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219218" y="4706626"/>
              <a:ext cx="47871" cy="50532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6" name="Freeform 126">
              <a:extLst>
                <a:ext uri="{FF2B5EF4-FFF2-40B4-BE49-F238E27FC236}">
                  <a16:creationId xmlns:a16="http://schemas.microsoft.com/office/drawing/2014/main" id="{90FEE50E-B757-4A7D-8439-3AD720E575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60164" y="4648117"/>
              <a:ext cx="101062" cy="69148"/>
            </a:xfrm>
            <a:custGeom>
              <a:avLst/>
              <a:gdLst>
                <a:gd name="T0" fmla="*/ 26 w 26"/>
                <a:gd name="T1" fmla="*/ 0 h 18"/>
                <a:gd name="T2" fmla="*/ 26 w 26"/>
                <a:gd name="T3" fmla="*/ 3 h 18"/>
                <a:gd name="T4" fmla="*/ 11 w 26"/>
                <a:gd name="T5" fmla="*/ 18 h 18"/>
                <a:gd name="T6" fmla="*/ 0 w 26"/>
                <a:gd name="T7" fmla="*/ 18 h 18"/>
                <a:gd name="T8" fmla="*/ 0 w 26"/>
                <a:gd name="T9" fmla="*/ 13 h 18"/>
                <a:gd name="T10" fmla="*/ 11 w 26"/>
                <a:gd name="T11" fmla="*/ 13 h 18"/>
                <a:gd name="T12" fmla="*/ 26 w 26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8">
                  <a:moveTo>
                    <a:pt x="26" y="0"/>
                  </a:moveTo>
                  <a:cubicBezTo>
                    <a:pt x="26" y="1"/>
                    <a:pt x="26" y="2"/>
                    <a:pt x="26" y="3"/>
                  </a:cubicBezTo>
                  <a:cubicBezTo>
                    <a:pt x="26" y="11"/>
                    <a:pt x="19" y="18"/>
                    <a:pt x="11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9" y="13"/>
                    <a:pt x="25" y="7"/>
                    <a:pt x="26" y="0"/>
                  </a:cubicBez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black">
          <a:xfrm>
            <a:off x="459102" y="470067"/>
            <a:ext cx="1419662" cy="304828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</p:spTree>
    <p:extLst>
      <p:ext uri="{BB962C8B-B14F-4D97-AF65-F5344CB8AC3E}">
        <p14:creationId xmlns:p14="http://schemas.microsoft.com/office/powerpoint/2010/main" val="3580864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black">
          <a:xfrm>
            <a:off x="459102" y="470067"/>
            <a:ext cx="1419662" cy="304828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</p:spTree>
    <p:extLst>
      <p:ext uri="{BB962C8B-B14F-4D97-AF65-F5344CB8AC3E}">
        <p14:creationId xmlns:p14="http://schemas.microsoft.com/office/powerpoint/2010/main" val="327381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B27273-82A0-4F03-B551-F05C0A270C9F}" type="datetimeFigureOut">
              <a:rPr lang="en-US" smtClean="0"/>
              <a:t>1/28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8363C5-1D77-4ABE-8C60-573DC6EF2A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904053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45328485"/>
      </p:ext>
    </p:extLst>
  </p:cSld>
  <p:clrMapOvr>
    <a:masterClrMapping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78533664"/>
      </p:ext>
    </p:extLst>
  </p:cSld>
  <p:clrMapOvr>
    <a:masterClrMapping/>
  </p:clrMapOvr>
  <p:transition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77532623"/>
      </p:ext>
    </p:extLst>
  </p:cSld>
  <p:clrMapOvr>
    <a:masterClrMapping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0801429"/>
      </p:ext>
    </p:extLst>
  </p:cSld>
  <p:clrMapOvr>
    <a:masterClrMapping/>
  </p:clrMapOvr>
  <p:transition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56875805"/>
      </p:ext>
    </p:extLst>
  </p:cSld>
  <p:clrMapOvr>
    <a:masterClrMapping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535445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19469281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417881011"/>
      </p:ext>
    </p:extLst>
  </p:cSld>
  <p:clrMapOvr>
    <a:masterClrMapping/>
  </p:clrMapOvr>
  <p:transition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841865064"/>
      </p:ext>
    </p:extLst>
  </p:cSld>
  <p:clrMapOvr>
    <a:masterClrMapping/>
  </p:clrMapOvr>
  <p:transition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3012559"/>
            <a:ext cx="5378548" cy="832882"/>
          </a:xfrm>
        </p:spPr>
        <p:txBody>
          <a:bodyPr anchor="ctr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06972317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917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No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269239" y="1187621"/>
            <a:ext cx="6274974" cy="2689656"/>
          </a:xfrm>
          <a:prstGeom prst="rect">
            <a:avLst/>
          </a:prstGeom>
          <a:solidFill>
            <a:schemeClr val="bg2">
              <a:alpha val="80000"/>
            </a:schemeClr>
          </a:solidFill>
          <a:ln w="3175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61" b="0" i="0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</a:endParaRPr>
          </a:p>
        </p:txBody>
      </p:sp>
      <p:sp>
        <p:nvSpPr>
          <p:cNvPr id="2" name="Rectangle 1"/>
          <p:cNvSpPr/>
          <p:nvPr userDrawn="1"/>
        </p:nvSpPr>
        <p:spPr bwMode="auto">
          <a:xfrm>
            <a:off x="269239" y="2077800"/>
            <a:ext cx="6274974" cy="269602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239" y="1208198"/>
            <a:ext cx="8368705" cy="1167217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84066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Event name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9239" y="2110562"/>
            <a:ext cx="8368707" cy="2236058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353" baseline="0">
                <a:gradFill>
                  <a:gsLst>
                    <a:gs pos="84066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48585" y="6133828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440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5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34350" y="0"/>
            <a:ext cx="6857650" cy="6858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21012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05566154"/>
      </p:ext>
    </p:extLst>
  </p:cSld>
  <p:clrMapOvr>
    <a:masterClrMapping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34873084"/>
      </p:ext>
    </p:extLst>
  </p:cSld>
  <p:clrMapOvr>
    <a:masterClrMapping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85807801"/>
      </p:ext>
    </p:extLst>
  </p:cSld>
  <p:clrMapOvr>
    <a:masterClrMapping/>
  </p:clrMapOvr>
  <p:transition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>
            <a:grpSpLocks noChangeAspect="1"/>
          </p:cNvGrpSpPr>
          <p:nvPr userDrawn="1"/>
        </p:nvGrpSpPr>
        <p:grpSpPr bwMode="black">
          <a:xfrm>
            <a:off x="459102" y="470067"/>
            <a:ext cx="1419662" cy="304828"/>
            <a:chOff x="457200" y="1643393"/>
            <a:chExt cx="4492753" cy="964540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7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sp>
        <p:nvSpPr>
          <p:cNvPr id="8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38750679"/>
      </p:ext>
    </p:extLst>
  </p:cSld>
  <p:clrMapOvr>
    <a:masterClrMapping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917527"/>
      </p:ext>
    </p:extLst>
  </p:cSld>
  <p:clrMapOvr>
    <a:masterClrMapping/>
  </p:clrMapOvr>
  <p:transition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, SUBHEAD,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53279" y="1900504"/>
            <a:ext cx="11500338" cy="1514902"/>
          </a:xfrm>
          <a:prstGeom prst="rect">
            <a:avLst/>
          </a:prstGeom>
        </p:spPr>
        <p:txBody>
          <a:bodyPr vert="horz"/>
          <a:lstStyle>
            <a:lvl1pPr marL="280121" indent="-280121">
              <a:lnSpc>
                <a:spcPct val="110000"/>
              </a:lnSpc>
              <a:buClr>
                <a:schemeClr val="tx1"/>
              </a:buClr>
              <a:buFont typeface="Arial"/>
              <a:buChar char="•"/>
              <a:defRPr sz="1372">
                <a:solidFill>
                  <a:schemeClr val="tx1"/>
                </a:solidFill>
              </a:defRPr>
            </a:lvl1pPr>
            <a:lvl2pPr marL="561741" indent="-280121">
              <a:lnSpc>
                <a:spcPct val="110000"/>
              </a:lnSpc>
              <a:buFont typeface="Lucida Grande"/>
              <a:buChar char="-"/>
              <a:defRPr sz="1372">
                <a:solidFill>
                  <a:schemeClr val="tx1"/>
                </a:solidFill>
              </a:defRPr>
            </a:lvl2pPr>
            <a:lvl3pPr marL="868484" indent="-280121">
              <a:lnSpc>
                <a:spcPct val="110000"/>
              </a:lnSpc>
              <a:buFont typeface="Courier New"/>
              <a:buChar char="o"/>
              <a:defRPr sz="1372">
                <a:solidFill>
                  <a:schemeClr val="tx1"/>
                </a:solidFill>
              </a:defRPr>
            </a:lvl3pPr>
            <a:lvl4pPr marL="1150104" indent="-280121">
              <a:lnSpc>
                <a:spcPct val="110000"/>
              </a:lnSpc>
              <a:buFont typeface="Courier New"/>
              <a:buChar char="o"/>
              <a:defRPr sz="1372">
                <a:solidFill>
                  <a:schemeClr val="tx1"/>
                </a:solidFill>
              </a:defRPr>
            </a:lvl4pPr>
            <a:lvl5pPr marL="1105327" indent="0">
              <a:buFont typeface="Wingdings" charset="2"/>
              <a:buNone/>
              <a:defRPr sz="1372">
                <a:solidFill>
                  <a:schemeClr val="tx1"/>
                </a:solidFill>
              </a:defRPr>
            </a:lvl5pPr>
          </a:lstStyle>
          <a:p>
            <a:pPr lvl="0"/>
            <a:r>
              <a:rPr lang="en-CA"/>
              <a:t>First level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  <a:endParaRPr lang="en-US"/>
          </a:p>
          <a:p>
            <a:pPr lvl="3"/>
            <a:endParaRPr lang="en-US"/>
          </a:p>
          <a:p>
            <a:pPr lvl="3"/>
            <a:endParaRPr lang="en-CA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45825" y="784483"/>
            <a:ext cx="5373880" cy="483402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157"/>
            </a:lvl1pPr>
          </a:lstStyle>
          <a:p>
            <a:pPr lvl="0"/>
            <a:r>
              <a:rPr lang="en-CA"/>
              <a:t>Click to edit Master text styles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45825" y="257796"/>
            <a:ext cx="12192000" cy="543008"/>
          </a:xfrm>
          <a:prstGeom prst="rect">
            <a:avLst/>
          </a:prstGeom>
        </p:spPr>
        <p:txBody>
          <a:bodyPr lIns="0">
            <a:normAutofit/>
          </a:bodyPr>
          <a:lstStyle>
            <a:lvl1pPr>
              <a:defRPr sz="3137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5839582"/>
      </p:ext>
    </p:extLst>
  </p:cSld>
  <p:clrMapOvr>
    <a:masterClrMapping/>
  </p:clrMapOvr>
  <p:transition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6176" y="1122363"/>
            <a:ext cx="11034445" cy="2387600"/>
          </a:xfrm>
        </p:spPr>
        <p:txBody>
          <a:bodyPr anchor="b"/>
          <a:lstStyle>
            <a:lvl1pPr algn="l">
              <a:defRPr sz="599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6176" y="3602038"/>
            <a:ext cx="11034445" cy="1655762"/>
          </a:xfrm>
        </p:spPr>
        <p:txBody>
          <a:bodyPr>
            <a:normAutofit/>
          </a:bodyPr>
          <a:lstStyle>
            <a:lvl1pPr marL="0" indent="0" algn="l">
              <a:buNone/>
              <a:defRPr sz="3600"/>
            </a:lvl1pPr>
            <a:lvl2pPr marL="457112" indent="0" algn="ctr">
              <a:buNone/>
              <a:defRPr sz="2000"/>
            </a:lvl2pPr>
            <a:lvl3pPr marL="914225" indent="0" algn="ctr">
              <a:buNone/>
              <a:defRPr sz="1800"/>
            </a:lvl3pPr>
            <a:lvl4pPr marL="1371337" indent="0" algn="ctr">
              <a:buNone/>
              <a:defRPr sz="1600"/>
            </a:lvl4pPr>
            <a:lvl5pPr marL="1828449" indent="0" algn="ctr">
              <a:buNone/>
              <a:defRPr sz="1600"/>
            </a:lvl5pPr>
            <a:lvl6pPr marL="2285561" indent="0" algn="ctr">
              <a:buNone/>
              <a:defRPr sz="1600"/>
            </a:lvl6pPr>
            <a:lvl7pPr marL="2742674" indent="0" algn="ctr">
              <a:buNone/>
              <a:defRPr sz="1600"/>
            </a:lvl7pPr>
            <a:lvl8pPr marL="3199785" indent="0" algn="ctr">
              <a:buNone/>
              <a:defRPr sz="1600"/>
            </a:lvl8pPr>
            <a:lvl9pPr marL="365689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8328220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4953" y="298255"/>
            <a:ext cx="4322760" cy="6275864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269302" y="1187644"/>
            <a:ext cx="9860610" cy="268963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7170265" cy="3407696"/>
          </a:xfrm>
          <a:noFill/>
        </p:spPr>
        <p:txBody>
          <a:bodyPr tIns="91440" bIns="91440" anchor="t" anchorCtr="0"/>
          <a:lstStyle>
            <a:lvl1pPr>
              <a:defRPr sz="7058" spc="-98" baseline="0">
                <a:gradFill>
                  <a:gsLst>
                    <a:gs pos="75912">
                      <a:schemeClr val="tx1"/>
                    </a:gs>
                    <a:gs pos="34307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4594052"/>
            <a:ext cx="7171399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75912">
                      <a:schemeClr val="tx1"/>
                    </a:gs>
                    <a:gs pos="34307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926310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796217"/>
          </a:xfrm>
          <a:noFill/>
        </p:spPr>
        <p:txBody>
          <a:bodyPr tIns="91440" bIns="91440" anchor="t" anchorCtr="0"/>
          <a:lstStyle>
            <a:lvl1pPr>
              <a:defRPr sz="8627" spc="-98" baseline="0">
                <a:gradFill>
                  <a:gsLst>
                    <a:gs pos="75912">
                      <a:schemeClr val="tx1"/>
                    </a:gs>
                    <a:gs pos="34307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099667126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577175433"/>
      </p:ext>
    </p:extLst>
  </p:cSld>
  <p:clrMapOvr>
    <a:masterClrMapping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0" y="1189176"/>
            <a:ext cx="11655840" cy="2018835"/>
          </a:xfrm>
        </p:spPr>
        <p:txBody>
          <a:bodyPr/>
          <a:lstStyle>
            <a:lvl1pPr marL="0" indent="0">
              <a:buNone/>
              <a:defRPr/>
            </a:lvl1pPr>
            <a:lvl2pPr marL="28012" indent="0">
              <a:buNone/>
              <a:defRPr sz="1961"/>
            </a:lvl2pPr>
            <a:lvl3pPr marL="219428" indent="0">
              <a:buNone/>
              <a:defRPr sz="1961"/>
            </a:lvl3pPr>
            <a:lvl4pPr marL="466868" indent="0">
              <a:buNone/>
              <a:defRPr sz="1765"/>
            </a:lvl4pPr>
            <a:lvl5pPr marL="725201" indent="0">
              <a:buNone/>
              <a:defRPr sz="176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04470041"/>
      </p:ext>
    </p:extLst>
  </p:cSld>
  <p:clrMapOvr>
    <a:masterClrMapping/>
  </p:clrMapOvr>
  <p:transition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184808"/>
          </a:xfrm>
        </p:spPr>
        <p:txBody>
          <a:bodyPr>
            <a:spAutoFit/>
          </a:bodyPr>
          <a:lstStyle>
            <a:lvl3pPr>
              <a:defRPr sz="2353"/>
            </a:lvl3pPr>
            <a:lvl4pPr>
              <a:defRPr sz="1961"/>
            </a:lvl4pPr>
            <a:lvl5pPr>
              <a:defRPr sz="196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78603466"/>
      </p:ext>
    </p:extLst>
  </p:cSld>
  <p:clrMapOvr>
    <a:masterClrMapping/>
  </p:clrMapOvr>
  <p:transition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48978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48978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0485378"/>
      </p:ext>
    </p:extLst>
  </p:cSld>
  <p:clrMapOvr>
    <a:masterClrMapping/>
  </p:clrMapOvr>
  <p:transition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8402546"/>
      </p:ext>
    </p:extLst>
  </p:cSld>
  <p:clrMapOvr>
    <a:masterClrMapping/>
  </p:clrMapOvr>
  <p:transition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6176" y="1974980"/>
            <a:ext cx="8871457" cy="2387600"/>
          </a:xfrm>
        </p:spPr>
        <p:txBody>
          <a:bodyPr anchor="ctr">
            <a:noAutofit/>
          </a:bodyPr>
          <a:lstStyle>
            <a:lvl1pPr algn="l">
              <a:defRPr sz="9598"/>
            </a:lvl1pPr>
          </a:lstStyle>
          <a:p>
            <a:r>
              <a:rPr lang="en-US"/>
              <a:t>Title of the talk goes he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6176" y="5115698"/>
            <a:ext cx="8871457" cy="1297459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00B0F0"/>
                </a:solidFill>
              </a:defRPr>
            </a:lvl1pPr>
            <a:lvl2pPr marL="457112" indent="0" algn="ctr">
              <a:buNone/>
              <a:defRPr sz="2000"/>
            </a:lvl2pPr>
            <a:lvl3pPr marL="914225" indent="0" algn="ctr">
              <a:buNone/>
              <a:defRPr sz="1800"/>
            </a:lvl3pPr>
            <a:lvl4pPr marL="1371337" indent="0" algn="ctr">
              <a:buNone/>
              <a:defRPr sz="1600"/>
            </a:lvl4pPr>
            <a:lvl5pPr marL="1828449" indent="0" algn="ctr">
              <a:buNone/>
              <a:defRPr sz="1600"/>
            </a:lvl5pPr>
            <a:lvl6pPr marL="2285561" indent="0" algn="ctr">
              <a:buNone/>
              <a:defRPr sz="1600"/>
            </a:lvl6pPr>
            <a:lvl7pPr marL="2742674" indent="0" algn="ctr">
              <a:buNone/>
              <a:defRPr sz="1600"/>
            </a:lvl7pPr>
            <a:lvl8pPr marL="3199785" indent="0" algn="ctr">
              <a:buNone/>
              <a:defRPr sz="1600"/>
            </a:lvl8pPr>
            <a:lvl9pPr marL="3656897" indent="0" algn="ctr">
              <a:buNone/>
              <a:defRPr sz="1600"/>
            </a:lvl9pPr>
          </a:lstStyle>
          <a:p>
            <a:r>
              <a:rPr lang="en-US"/>
              <a:t>Presenter Name</a:t>
            </a:r>
          </a:p>
          <a:p>
            <a:r>
              <a:rPr lang="en-US"/>
              <a:t>Presenter Title</a:t>
            </a:r>
          </a:p>
          <a:p>
            <a:r>
              <a:rPr lang="en-US"/>
              <a:t>04/02/2014</a:t>
            </a:r>
          </a:p>
        </p:txBody>
      </p:sp>
    </p:spTree>
    <p:extLst>
      <p:ext uri="{BB962C8B-B14F-4D97-AF65-F5344CB8AC3E}">
        <p14:creationId xmlns:p14="http://schemas.microsoft.com/office/powerpoint/2010/main" val="565156635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77582" y="1635896"/>
            <a:ext cx="2689274" cy="4931036"/>
          </a:xfrm>
        </p:spPr>
        <p:txBody>
          <a:bodyPr>
            <a:noAutofit/>
          </a:bodyPr>
          <a:lstStyle>
            <a:lvl1pPr marL="336145" indent="-336145">
              <a:buNone/>
              <a:defRPr kumimoji="0" lang="en-US" sz="2353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89615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to edit</a:t>
            </a:r>
            <a:br>
              <a:rPr lang="en-US"/>
            </a:br>
            <a:r>
              <a:rPr lang="en-US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039631"/>
      </p:ext>
    </p:extLst>
  </p:cSld>
  <p:clrMapOvr>
    <a:masterClrMapping/>
  </p:clrMapOvr>
  <p:transition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62781815"/>
      </p:ext>
    </p:extLst>
  </p:cSld>
  <p:clrMapOvr>
    <a:masterClrMapping/>
  </p:clrMapOvr>
  <p:transition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85863750"/>
      </p:ext>
    </p:extLst>
  </p:cSld>
  <p:clrMapOvr>
    <a:masterClrMapping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94668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389">
                      <a:schemeClr val="tx2"/>
                    </a:gs>
                    <a:gs pos="31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91" indent="0">
              <a:buNone/>
              <a:tabLst/>
              <a:defRPr sz="1961"/>
            </a:lvl3pPr>
            <a:lvl4pPr marL="451269" indent="0">
              <a:buNone/>
              <a:defRPr/>
            </a:lvl4pPr>
            <a:lvl5pPr marL="672236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9175"/>
            <a:ext cx="5378548" cy="194668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389">
                      <a:schemeClr val="tx2"/>
                    </a:gs>
                    <a:gs pos="31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91" indent="0">
              <a:buNone/>
              <a:tabLst/>
              <a:defRPr sz="1961"/>
            </a:lvl3pPr>
            <a:lvl4pPr marL="451269" indent="0">
              <a:buNone/>
              <a:defRPr/>
            </a:lvl4pPr>
            <a:lvl5pPr marL="672236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4145188"/>
      </p:ext>
    </p:extLst>
  </p:cSld>
  <p:clrMapOvr>
    <a:masterClrMapping/>
  </p:clrMapOvr>
  <p:transition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8"/>
            <a:ext cx="11653523" cy="2187971"/>
          </a:xfrm>
        </p:spPr>
        <p:txBody>
          <a:bodyPr>
            <a:spAutoFit/>
          </a:bodyPr>
          <a:lstStyle>
            <a:lvl1pPr>
              <a:buClr>
                <a:schemeClr val="tx2"/>
              </a:buClr>
              <a:defRPr sz="3921">
                <a:gradFill>
                  <a:gsLst>
                    <a:gs pos="7080">
                      <a:schemeClr val="tx2"/>
                    </a:gs>
                    <a:gs pos="36283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9197166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3924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0205" y="3083652"/>
            <a:ext cx="3227129" cy="692059"/>
          </a:xfrm>
          <a:prstGeom prst="rect">
            <a:avLst/>
          </a:prstGeom>
        </p:spPr>
      </p:pic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36209" y="2394244"/>
            <a:ext cx="4605934" cy="2064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39993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121606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20354">
                      <a:schemeClr val="tx2"/>
                    </a:gs>
                    <a:gs pos="40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79" indent="0">
              <a:buNone/>
              <a:defRPr/>
            </a:lvl3pPr>
            <a:lvl4pPr marL="448157" indent="0">
              <a:buNone/>
              <a:defRPr/>
            </a:lvl4pPr>
            <a:lvl5pPr marL="672236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87080375"/>
      </p:ext>
    </p:extLst>
  </p:cSld>
  <p:clrMapOvr>
    <a:masterClrMapping/>
  </p:clrMapOvr>
  <p:transition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2-color bullete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184808"/>
          </a:xfrm>
        </p:spPr>
        <p:txBody>
          <a:bodyPr>
            <a:spAutoFit/>
          </a:bodyPr>
          <a:lstStyle>
            <a:lvl1pPr>
              <a:buClr>
                <a:schemeClr val="tx2"/>
              </a:buClr>
              <a:defRPr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  <a:lvl3pPr>
              <a:defRPr sz="2353"/>
            </a:lvl3pPr>
            <a:lvl4pPr>
              <a:defRPr sz="1961"/>
            </a:lvl4pPr>
            <a:lvl5pPr>
              <a:defRPr sz="196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29316897"/>
      </p:ext>
    </p:extLst>
  </p:cSld>
  <p:clrMapOvr>
    <a:masterClrMapping/>
  </p:clrMapOvr>
  <p:transition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49" y="228600"/>
            <a:ext cx="11151917" cy="6093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49" y="1447800"/>
            <a:ext cx="11151917" cy="21848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67553909"/>
      </p:ext>
    </p:extLst>
  </p:cSld>
  <p:clrMapOvr>
    <a:masterClrMapping/>
  </p:clrMapOvr>
  <p:transition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27310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27310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1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50B57460-EC8C-496E-B825-E030E5EAD088}" type="datetimeFigureOut">
              <a:rPr lang="en-US" smtClean="0">
                <a:solidFill>
                  <a:srgbClr val="FFFFFF"/>
                </a:solidFill>
              </a:rPr>
              <a:pPr/>
              <a:t>1/28/21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C7CA368E-06D4-4D16-ACE0-0F724B54AFDF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653595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B75A0920-A5C0-44B4-805C-2A21395BDE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62126D9F-6948-4C13-80AA-BCE8907DA7B9}"/>
              </a:ext>
            </a:extLst>
          </p:cNvPr>
          <p:cNvSpPr txBox="1">
            <a:spLocks/>
          </p:cNvSpPr>
          <p:nvPr userDrawn="1"/>
        </p:nvSpPr>
        <p:spPr>
          <a:xfrm>
            <a:off x="588263" y="1871544"/>
            <a:ext cx="4167887" cy="166199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igital Transformation Academ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60A6FFF-25F2-41E2-8FA0-29D4571CCACB}"/>
              </a:ext>
            </a:extLst>
          </p:cNvPr>
          <p:cNvSpPr/>
          <p:nvPr userDrawn="1"/>
        </p:nvSpPr>
        <p:spPr bwMode="auto">
          <a:xfrm>
            <a:off x="584200" y="3962399"/>
            <a:ext cx="4171950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0" lvl="0" indent="0" defTabSz="932742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cs typeface="Segoe UI" panose="020B0502040204020203" pitchFamily="34" charset="0"/>
              </a:rPr>
              <a:t>Las Vegas, Nevada</a:t>
            </a:r>
          </a:p>
          <a:p>
            <a:pPr marR="0" lvl="0" indent="0" defTabSz="932742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cs typeface="Segoe UI" panose="020B0502040204020203" pitchFamily="34" charset="0"/>
              </a:rPr>
              <a:t>September 12–14, 2018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4DAB964-EC7A-4C2E-AAA9-D592E2BB03D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74655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alk-i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B75A0920-A5C0-44B4-805C-2A21395BDE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62126D9F-6948-4C13-80AA-BCE8907DA7B9}"/>
              </a:ext>
            </a:extLst>
          </p:cNvPr>
          <p:cNvSpPr txBox="1">
            <a:spLocks/>
          </p:cNvSpPr>
          <p:nvPr userDrawn="1"/>
        </p:nvSpPr>
        <p:spPr>
          <a:xfrm>
            <a:off x="588263" y="1871544"/>
            <a:ext cx="4167887" cy="166199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igital Transformation Academ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60A6FFF-25F2-41E2-8FA0-29D4571CCACB}"/>
              </a:ext>
            </a:extLst>
          </p:cNvPr>
          <p:cNvSpPr/>
          <p:nvPr userDrawn="1"/>
        </p:nvSpPr>
        <p:spPr bwMode="auto">
          <a:xfrm>
            <a:off x="584200" y="3962399"/>
            <a:ext cx="4171950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0" lvl="0" indent="0" defTabSz="932742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cs typeface="Segoe UI" panose="020B0502040204020203" pitchFamily="34" charset="0"/>
              </a:rPr>
              <a:t>Las Vegas, Nevada</a:t>
            </a:r>
          </a:p>
          <a:p>
            <a:pPr marR="0" lvl="0" indent="0" defTabSz="932742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cs typeface="Segoe UI" panose="020B0502040204020203" pitchFamily="34" charset="0"/>
              </a:rPr>
              <a:t>September 12–14, 2018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3AA5E8D-9CD3-49CC-93B1-2DC02EA8D0F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71910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0FD32619-3819-428A-8565-629596C914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35047469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1612749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  <a:lvl2pPr marL="228600" indent="0">
              <a:buNone/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2pPr>
            <a:lvl3pPr marL="457200" indent="0">
              <a:buNone/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3pPr>
            <a:lvl4pPr marL="685800" indent="0">
              <a:buNone/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4pPr>
            <a:lvl5pPr marL="914400" indent="0">
              <a:buNone/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67523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ulleted tex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240604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225045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alk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48213" y="470067"/>
            <a:ext cx="1421436" cy="30061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3984" y="484298"/>
            <a:ext cx="6995026" cy="1300000"/>
          </a:xfrm>
          <a:prstGeom prst="rect">
            <a:avLst/>
          </a:prstGeom>
        </p:spPr>
      </p:pic>
    </p:spTree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88">
          <p15:clr>
            <a:srgbClr val="C35EA4"/>
          </p15:clr>
        </p15:guide>
        <p15:guide id="2" pos="7546">
          <p15:clr>
            <a:srgbClr val="C35EA4"/>
          </p15:clr>
        </p15:guide>
        <p15:guide id="3" orient="horz" pos="302">
          <p15:clr>
            <a:srgbClr val="C35EA4"/>
          </p15:clr>
        </p15:guide>
        <p15:guide id="4" orient="horz" pos="4104">
          <p15:clr>
            <a:srgbClr val="C35EA4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2976197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417994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2888453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2075148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25650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1"/>
            <a:ext cx="4162425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59878346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5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31034850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</a:t>
            </a:r>
            <a:br>
              <a:rPr lang="en-US"/>
            </a:br>
            <a:r>
              <a:rPr lang="en-US"/>
              <a:t>with smaller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7981628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9824013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19366456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0765915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ANIMA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5"/>
          <p:cNvSpPr>
            <a:spLocks noChangeArrowheads="1"/>
          </p:cNvSpPr>
          <p:nvPr userDrawn="1"/>
        </p:nvSpPr>
        <p:spPr bwMode="auto">
          <a:xfrm>
            <a:off x="3113" y="4309988"/>
            <a:ext cx="12188887" cy="2551127"/>
          </a:xfrm>
          <a:prstGeom prst="rect">
            <a:avLst/>
          </a:prstGeom>
          <a:solidFill>
            <a:srgbClr val="4DA0E2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914367"/>
            <a:endParaRPr lang="en-US" sz="1765">
              <a:solidFill>
                <a:srgbClr val="FFFFFF"/>
              </a:solidFill>
            </a:endParaRP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auto">
          <a:xfrm>
            <a:off x="1" y="5729528"/>
            <a:ext cx="12188888" cy="1131586"/>
          </a:xfrm>
          <a:prstGeom prst="rect">
            <a:avLst/>
          </a:prstGeom>
          <a:solidFill>
            <a:srgbClr val="00188F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914367"/>
            <a:endParaRPr lang="en-US" sz="1765">
              <a:solidFill>
                <a:srgbClr val="FFFFFF"/>
              </a:solidFill>
            </a:endParaRPr>
          </a:p>
        </p:txBody>
      </p:sp>
      <p:sp>
        <p:nvSpPr>
          <p:cNvPr id="11" name="Rectangle 8"/>
          <p:cNvSpPr>
            <a:spLocks noChangeArrowheads="1"/>
          </p:cNvSpPr>
          <p:nvPr userDrawn="1"/>
        </p:nvSpPr>
        <p:spPr bwMode="auto">
          <a:xfrm>
            <a:off x="3113" y="3343392"/>
            <a:ext cx="12185777" cy="277059"/>
          </a:xfrm>
          <a:prstGeom prst="rect">
            <a:avLst/>
          </a:prstGeom>
          <a:solidFill>
            <a:srgbClr val="25B9E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914367"/>
            <a:endParaRPr lang="en-US" sz="1765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0" y="-312"/>
            <a:ext cx="12191377" cy="6858623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481915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1680485"/>
            <a:ext cx="9860610" cy="1801436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3113" y="4309988"/>
            <a:ext cx="12188887" cy="25511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914367"/>
            <a:endParaRPr lang="en-US" sz="1765">
              <a:solidFill>
                <a:srgbClr val="FFFFFF"/>
              </a:solidFill>
            </a:endParaRPr>
          </a:p>
        </p:txBody>
      </p:sp>
      <p:sp>
        <p:nvSpPr>
          <p:cNvPr id="14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315005" y="288560"/>
            <a:ext cx="3585699" cy="452654"/>
          </a:xfrm>
        </p:spPr>
        <p:txBody>
          <a:bodyPr/>
          <a:lstStyle>
            <a:lvl1pPr marL="0" indent="0" algn="r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Session Code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69303" y="5908814"/>
            <a:ext cx="3585699" cy="452654"/>
          </a:xfrm>
        </p:spPr>
        <p:txBody>
          <a:bodyPr/>
          <a:lstStyle>
            <a:lvl1pPr marL="0" indent="0" algn="l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Yammer hashtag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48213" y="470067"/>
            <a:ext cx="1421436" cy="300619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accel="24000" decel="76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6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3" presetClass="path" presetSubtype="0" accel="24000" decel="76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8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3" presetClass="path" presetSubtype="0" accel="24000" decel="7600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10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9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3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455 4.96142E-6 L -4.34261E-6 4.96142E-6 " pathEditMode="relative" rAng="0" ptsTypes="AA">
                                      <p:cBhvr>
                                        <p:cTn id="17" dur="9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6" presetClass="emph" presetSubtype="0" accel="100000" autoRev="1" fill="hold" grpId="2" nodeType="withEffect">
                                  <p:stCondLst>
                                    <p:cond delay="50"/>
                                  </p:stCondLst>
                                  <p:childTnLst>
                                    <p:animScale>
                                      <p:cBhvr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9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3" presetClass="path" presetSubtype="0" decel="10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0.01455 2.42851E-6 L -3.02783E-6 2.42851E-6 " pathEditMode="relative" rAng="0" ptsTypes="AA">
                                      <p:cBhvr>
                                        <p:cTn id="24" dur="9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6" presetClass="emph" presetSubtype="0" accel="100000" autoRev="1" fill="hold" grpId="2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26" dur="500" fill="hold"/>
                                        <p:tgtEl>
                                          <p:spTgt spid="5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9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3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31" dur="9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6" presetClass="emph" presetSubtype="0" accel="100000" autoRev="1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33" dur="500" fill="hold"/>
                                        <p:tgtEl>
                                          <p:spTgt spid="16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9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63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38" dur="9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6" presetClass="emph" presetSubtype="0" accel="100000" autoRev="1" fill="hold" grpId="2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40" dur="500" fill="hold"/>
                                        <p:tgtEl>
                                          <p:spTgt spid="14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9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2.13345E-6 L 1.62369E-6 2.13345E-6 " pathEditMode="relative" rAng="0" ptsTypes="AA">
                                      <p:cBhvr>
                                        <p:cTn id="45" dur="9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7" dur="500" fill="hold"/>
                                        <p:tgtEl>
                                          <p:spTgt spid="17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9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-2.09714E-6 L -4.54174E-6 -2.09714E-6 " pathEditMode="relative" rAng="0" ptsTypes="AA">
                                      <p:cBhvr>
                                        <p:cTn id="52" dur="9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53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4" dur="500" fill="hold"/>
                                        <p:tgtEl>
                                          <p:spTgt spid="15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0" grpId="0" animBg="1"/>
      <p:bldP spid="11" grpId="0" animBg="1"/>
      <p:bldP spid="13" grpId="0" animBg="1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8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>
        <p:tmplLst>
          <p:tmpl>
            <p:tnLst>
              <p:par>
                <p:cTn presetID="63" presetClass="path" presetSubtype="0" decel="100000" fill="hold" nodeType="withEffect">
                  <p:stCondLst>
                    <p:cond delay="800"/>
                  </p:stCondLst>
                  <p:childTnLst>
                    <p:animMotion origin="layout" path="M -0.01455 2.42851E-6 L -3.02783E-6 2.42851E-6 " pathEditMode="relative" rAng="0" ptsTypes="AA">
                      <p:cBhvr>
                        <p:cTn dur="95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728" y="0"/>
                    </p:animMotion>
                  </p:childTnLst>
                </p:cTn>
              </p:par>
            </p:tnLst>
          </p:tmpl>
        </p:tmplLst>
      </p:bldP>
      <p:bldP spid="5" grpId="2">
        <p:tmplLst>
          <p:tmpl>
            <p:tnLst>
              <p:par>
                <p:cTn presetID="6" presetClass="emph" presetSubtype="0" accel="100000" autoRev="1" fill="hold" nodeType="withEffect">
                  <p:stCondLst>
                    <p:cond delay="100"/>
                  </p:stCondLst>
                  <p:childTnLst>
                    <p:animScale>
                      <p:cBhvr>
                        <p:cTn dur="500" fill="hold"/>
                        <p:tgtEl>
                          <p:spTgt spid="5"/>
                        </p:tgtEl>
                      </p:cBhvr>
                      <p:by x="95000" y="95000"/>
                    </p:animScale>
                  </p:childTnLst>
                </p:cTn>
              </p:par>
            </p:tnLst>
          </p:tmpl>
        </p:tmplLst>
      </p:bldP>
      <p:bldP spid="9" grpId="0"/>
      <p:bldP spid="9" grpId="1"/>
      <p:bldP spid="9" grpId="2"/>
      <p:bldP spid="14" grpId="0"/>
      <p:bldP spid="14" grpId="1"/>
      <p:bldP spid="14" grpId="2"/>
      <p:bldP spid="17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1">
        <p:tmplLst>
          <p:tmpl>
            <p:tnLst>
              <p:par>
                <p:cTn presetID="63" presetClass="path" presetSubtype="0" decel="100000" fill="hold" nodeType="withEffect">
                  <p:stCondLst>
                    <p:cond delay="700"/>
                  </p:stCondLst>
                  <p:childTnLst>
                    <p:animMotion origin="layout" path="M -0.01455 2.13345E-6 L 1.62369E-6 2.13345E-6 " pathEditMode="relative" rAng="0" ptsTypes="AA">
                      <p:cBhvr>
                        <p:cTn dur="950" fill="hold"/>
                        <p:tgtEl>
                          <p:spTgt spid="17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728" y="0"/>
                    </p:animMotion>
                  </p:childTnLst>
                </p:cTn>
              </p:par>
            </p:tnLst>
          </p:tmpl>
        </p:tmplLst>
      </p:bldP>
      <p:bldP spid="17" grpId="2"/>
      <p:bldP spid="15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1">
        <p:tmplLst>
          <p:tmpl>
            <p:tnLst>
              <p:par>
                <p:cTn presetID="63" presetClass="path" presetSubtype="0" decel="100000" fill="hold" nodeType="withEffect">
                  <p:stCondLst>
                    <p:cond delay="700"/>
                  </p:stCondLst>
                  <p:childTnLst>
                    <p:animMotion origin="layout" path="M -0.01455 -2.09714E-6 L -4.54174E-6 -2.09714E-6 " pathEditMode="relative" rAng="0" ptsTypes="AA">
                      <p:cBhvr>
                        <p:cTn dur="950" fill="hold"/>
                        <p:tgtEl>
                          <p:spTgt spid="1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728" y="0"/>
                    </p:animMotion>
                  </p:childTnLst>
                </p:cTn>
              </p:par>
            </p:tnLst>
          </p:tmpl>
        </p:tmplLst>
      </p:bldP>
      <p:bldP spid="15" grpId="2"/>
    </p:bldLst>
  </p:timing>
  <p:extLst>
    <p:ext uri="{DCECCB84-F9BA-43D5-87BE-67443E8EF086}">
      <p15:sldGuideLst xmlns:p15="http://schemas.microsoft.com/office/powerpoint/2012/main">
        <p15:guide id="4" orient="horz" pos="4406">
          <p15:clr>
            <a:srgbClr val="C35EA4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891604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025699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35533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90928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33487995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DBC305C-A9C3-4278-AFC0-C99DFD80A6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93F0F27-6B90-4485-A3C5-1C1E05E189E8}"/>
              </a:ext>
            </a:extLst>
          </p:cNvPr>
          <p:cNvGrpSpPr/>
          <p:nvPr userDrawn="1"/>
        </p:nvGrpSpPr>
        <p:grpSpPr>
          <a:xfrm>
            <a:off x="436379" y="6431005"/>
            <a:ext cx="11326085" cy="94962"/>
            <a:chOff x="445128" y="6559056"/>
            <a:chExt cx="11553197" cy="96853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AE9C5276-7B68-429C-9DA6-E4F27E0CA047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79453" cy="968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F2F457BA-782B-49BA-97AD-00B8135A75A7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95613721"/>
      </p:ext>
    </p:extLst>
  </p:cSld>
  <p:clrMapOvr>
    <a:masterClrMapping/>
  </p:clrMapOvr>
  <p:transition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833804" y="6662835"/>
            <a:ext cx="104196" cy="906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lang="en-US" sz="654" smtClean="0">
                <a:gradFill>
                  <a:gsLst>
                    <a:gs pos="31624">
                      <a:srgbClr val="505050"/>
                    </a:gs>
                    <a:gs pos="45000">
                      <a:srgbClr val="505050"/>
                    </a:gs>
                  </a:gsLst>
                  <a:lin ang="5400000" scaled="0"/>
                </a:gradFill>
              </a:defRPr>
            </a:lvl1pPr>
          </a:lstStyle>
          <a:p>
            <a:pPr defTabSz="807385">
              <a:lnSpc>
                <a:spcPct val="90000"/>
              </a:lnSpc>
            </a:pPr>
            <a:fld id="{2BDEB1D2-51A7-4905-969F-F05A60425C66}" type="slidenum">
              <a:rPr lang="en-US" smtClean="0"/>
              <a:pPr defTabSz="807385">
                <a:lnSpc>
                  <a:spcPct val="90000"/>
                </a:lnSpc>
              </a:pPr>
              <a:t>‹#›</a:t>
            </a:fld>
            <a:endParaRPr lang="en-US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235857" y="210738"/>
            <a:ext cx="11720286" cy="32592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35229713"/>
      </p:ext>
    </p:extLst>
  </p:cSld>
  <p:clrMapOvr>
    <a:masterClrMapping/>
  </p:clrMapOvr>
  <p:transition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D02235-C08E-4AEA-8D61-FC3E7E13898F}" type="datetimeFigureOut">
              <a:rPr lang="en-US" smtClean="0"/>
              <a:t>1/28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C9A7EF-9311-444E-9915-F8574E1A5F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5554195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6" hidden="1"/>
          <p:cNvSpPr txBox="1">
            <a:spLocks/>
          </p:cNvSpPr>
          <p:nvPr userDrawn="1"/>
        </p:nvSpPr>
        <p:spPr>
          <a:xfrm>
            <a:off x="10529456" y="6553200"/>
            <a:ext cx="1663691" cy="3048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>
                <a:solidFill>
                  <a:srgbClr val="666666"/>
                </a:solidFill>
              </a:rPr>
              <a:t>MICROSOFT CONFIDENTIAL</a:t>
            </a:r>
          </a:p>
        </p:txBody>
      </p:sp>
      <p:sp>
        <p:nvSpPr>
          <p:cNvPr id="12" name="Title Placeholder 2">
            <a:extLst>
              <a:ext uri="{FF2B5EF4-FFF2-40B4-BE49-F238E27FC236}">
                <a16:creationId xmlns:a16="http://schemas.microsoft.com/office/drawing/2014/main" id="{E901D344-ED89-49CF-99A7-86594AEA4B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599" cy="59436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4400" b="1" i="0">
                <a:solidFill>
                  <a:schemeClr val="tx1"/>
                </a:solidFill>
                <a:latin typeface="Segoe Semibold" charset="0"/>
                <a:ea typeface="Segoe Semibold" charset="0"/>
                <a:cs typeface="Segoe Semibold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A99162F-3F7B-2242-A1B2-486A63B6C5DF}"/>
              </a:ext>
            </a:extLst>
          </p:cNvPr>
          <p:cNvSpPr>
            <a:spLocks noGrp="1"/>
          </p:cNvSpPr>
          <p:nvPr>
            <p:ph type="subTitle" idx="27"/>
          </p:nvPr>
        </p:nvSpPr>
        <p:spPr>
          <a:xfrm>
            <a:off x="457200" y="1051560"/>
            <a:ext cx="11277600" cy="685800"/>
          </a:xfrm>
        </p:spPr>
        <p:txBody>
          <a:bodyPr/>
          <a:lstStyle>
            <a:lvl1pPr marL="0" indent="0" algn="l">
              <a:buNone/>
              <a:defRPr sz="2400" b="0" i="0" spc="-6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FF4F531-1753-1544-8A42-F788362A04E3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8F2A2D2-DE9B-4819-9052-7451D1D54C8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866900"/>
            <a:ext cx="11277599" cy="4514047"/>
          </a:xfrm>
          <a:prstGeom prst="rect">
            <a:avLst/>
          </a:prstGeom>
        </p:spPr>
        <p:txBody>
          <a:bodyPr vert="horz" wrap="square" lIns="0" tIns="0" rIns="18288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01308788"/>
      </p:ext>
    </p:extLst>
  </p:cSld>
  <p:clrMapOvr>
    <a:masterClrMapping/>
  </p:clrMapOvr>
  <p:hf hdr="0"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2">
            <a:extLst>
              <a:ext uri="{FF2B5EF4-FFF2-40B4-BE49-F238E27FC236}">
                <a16:creationId xmlns:a16="http://schemas.microsoft.com/office/drawing/2014/main" id="{9AFD44FB-5EE2-4D3E-9C7F-A0CA74B39F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599" cy="59436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4400" b="1" i="0">
                <a:solidFill>
                  <a:schemeClr val="tx1"/>
                </a:solidFill>
                <a:latin typeface="Segoe Pro Semibold" charset="0"/>
                <a:ea typeface="Segoe Pro Semibold" charset="0"/>
                <a:cs typeface="Segoe Pro Semibold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AC21BB0E-11FF-4849-A437-1A08AE905469}"/>
              </a:ext>
            </a:extLst>
          </p:cNvPr>
          <p:cNvSpPr>
            <a:spLocks noGrp="1"/>
          </p:cNvSpPr>
          <p:nvPr>
            <p:ph type="subTitle" idx="27"/>
          </p:nvPr>
        </p:nvSpPr>
        <p:spPr>
          <a:xfrm>
            <a:off x="457200" y="1051560"/>
            <a:ext cx="11277600" cy="685800"/>
          </a:xfrm>
        </p:spPr>
        <p:txBody>
          <a:bodyPr/>
          <a:lstStyle>
            <a:lvl1pPr marL="0" indent="0" algn="l">
              <a:buNone/>
              <a:defRPr sz="2400" b="1" i="0" spc="-60" baseline="0">
                <a:latin typeface="Segoe UI Semibold" charset="0"/>
                <a:ea typeface="Segoe UI Semibold" charset="0"/>
                <a:cs typeface="Segoe UI Semi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E8743FE-41B9-984E-A69D-ECABFEB0E741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BE28BD72-8F4D-45F0-895D-618DDEA404C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866900"/>
            <a:ext cx="5638799" cy="4514047"/>
          </a:xfrm>
          <a:prstGeom prst="rect">
            <a:avLst/>
          </a:prstGeom>
        </p:spPr>
        <p:txBody>
          <a:bodyPr vert="horz" wrap="square" lIns="0" tIns="0" rIns="18288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B848D9E-E208-474E-B8F8-6B6EF468998A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6096000" y="1866900"/>
            <a:ext cx="5638799" cy="451404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210874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STA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437345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1635915"/>
            <a:ext cx="9860610" cy="1801436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3113" y="4309988"/>
            <a:ext cx="12188887" cy="25511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914367"/>
            <a:endParaRPr lang="en-US" sz="1765">
              <a:solidFill>
                <a:srgbClr val="FFFFFF"/>
              </a:solidFill>
            </a:endParaRPr>
          </a:p>
        </p:txBody>
      </p:sp>
      <p:sp>
        <p:nvSpPr>
          <p:cNvPr id="14" name="TextBox 7"/>
          <p:cNvSpPr txBox="1"/>
          <p:nvPr userDrawn="1"/>
        </p:nvSpPr>
        <p:spPr bwMode="white">
          <a:xfrm>
            <a:off x="4367360" y="6566898"/>
            <a:ext cx="3457280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336910" y="280362"/>
            <a:ext cx="3585699" cy="452654"/>
          </a:xfrm>
        </p:spPr>
        <p:txBody>
          <a:bodyPr/>
          <a:lstStyle>
            <a:lvl1pPr marL="0" indent="0" algn="r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Session Code</a:t>
            </a:r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74546" y="5927467"/>
            <a:ext cx="3585699" cy="452654"/>
          </a:xfrm>
        </p:spPr>
        <p:txBody>
          <a:bodyPr/>
          <a:lstStyle>
            <a:lvl1pPr marL="0" indent="0" algn="l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Yammer hashtag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48213" y="470067"/>
            <a:ext cx="1421436" cy="300619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 + Double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idx="1" hasCustomPrompt="1"/>
          </p:nvPr>
        </p:nvSpPr>
        <p:spPr>
          <a:xfrm>
            <a:off x="457200" y="1866900"/>
            <a:ext cx="5638799" cy="4514047"/>
          </a:xfrm>
          <a:prstGeom prst="rect">
            <a:avLst/>
          </a:prstGeom>
        </p:spPr>
        <p:txBody>
          <a:bodyPr vert="horz" wrap="square" lIns="0" tIns="0" rIns="18288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idx="26" hasCustomPrompt="1"/>
          </p:nvPr>
        </p:nvSpPr>
        <p:spPr>
          <a:xfrm>
            <a:off x="6096000" y="1866900"/>
            <a:ext cx="5638799" cy="451404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Title Placeholder 2">
            <a:extLst>
              <a:ext uri="{FF2B5EF4-FFF2-40B4-BE49-F238E27FC236}">
                <a16:creationId xmlns:a16="http://schemas.microsoft.com/office/drawing/2014/main" id="{9AFD44FB-5EE2-4D3E-9C7F-A0CA74B39F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599" cy="722853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5A5FC2E-6D98-CE43-9551-6AA69FEF734C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Shape 78">
            <a:extLst>
              <a:ext uri="{FF2B5EF4-FFF2-40B4-BE49-F238E27FC236}">
                <a16:creationId xmlns:a16="http://schemas.microsoft.com/office/drawing/2014/main" id="{DA021890-D16A-D649-AA1E-9ED7EFA69AF4}"/>
              </a:ext>
            </a:extLst>
          </p:cNvPr>
          <p:cNvSpPr txBox="1">
            <a:spLocks noGrp="1"/>
          </p:cNvSpPr>
          <p:nvPr>
            <p:ph type="body" idx="7" hasCustomPrompt="1"/>
          </p:nvPr>
        </p:nvSpPr>
        <p:spPr>
          <a:xfrm>
            <a:off x="6095999" y="1180053"/>
            <a:ext cx="5638798" cy="68684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b">
            <a:noAutofit/>
          </a:bodyPr>
          <a:lstStyle>
            <a:lvl1pPr algn="ctr">
              <a:defRPr lang="en-US" sz="2000" b="1" i="0" dirty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 algn="ctr" defTabSz="914367">
              <a:spcAft>
                <a:spcPts val="588"/>
              </a:spcAft>
            </a:pPr>
            <a:r>
              <a:rPr lang="en-US" dirty="0"/>
              <a:t>Column 2</a:t>
            </a:r>
          </a:p>
        </p:txBody>
      </p:sp>
      <p:sp>
        <p:nvSpPr>
          <p:cNvPr id="9" name="Shape 78">
            <a:extLst>
              <a:ext uri="{FF2B5EF4-FFF2-40B4-BE49-F238E27FC236}">
                <a16:creationId xmlns:a16="http://schemas.microsoft.com/office/drawing/2014/main" id="{596BDBB1-DFCE-5B44-8169-B1A6DE61560F}"/>
              </a:ext>
            </a:extLst>
          </p:cNvPr>
          <p:cNvSpPr txBox="1">
            <a:spLocks noGrp="1"/>
          </p:cNvSpPr>
          <p:nvPr>
            <p:ph type="body" idx="30" hasCustomPrompt="1"/>
          </p:nvPr>
        </p:nvSpPr>
        <p:spPr>
          <a:xfrm>
            <a:off x="457201" y="1183190"/>
            <a:ext cx="5638800" cy="682523"/>
          </a:xfrm>
          <a:prstGeom prst="rect">
            <a:avLst/>
          </a:prstGeom>
          <a:ln>
            <a:noFill/>
          </a:ln>
        </p:spPr>
        <p:txBody>
          <a:bodyPr vert="horz" wrap="square" lIns="0" tIns="0" rIns="182880" bIns="0" rtlCol="0" anchor="b">
            <a:noAutofit/>
          </a:bodyPr>
          <a:lstStyle>
            <a:lvl1pPr algn="ctr">
              <a:defRPr lang="en-US" sz="2000" b="1" i="0" dirty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 algn="ctr" defTabSz="914367">
              <a:spcAft>
                <a:spcPts val="588"/>
              </a:spcAft>
            </a:pPr>
            <a:r>
              <a:rPr lang="en-US" dirty="0"/>
              <a:t>Column 1</a:t>
            </a:r>
          </a:p>
        </p:txBody>
      </p:sp>
    </p:spTree>
    <p:extLst>
      <p:ext uri="{BB962C8B-B14F-4D97-AF65-F5344CB8AC3E}">
        <p14:creationId xmlns:p14="http://schemas.microsoft.com/office/powerpoint/2010/main" val="864427677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57201"/>
            <a:ext cx="11277599" cy="594360"/>
          </a:xfrm>
        </p:spPr>
        <p:txBody>
          <a:bodyPr>
            <a:normAutofit/>
          </a:bodyPr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7D5C19BA-6DD0-2341-932F-962FA328D5D7}"/>
              </a:ext>
            </a:extLst>
          </p:cNvPr>
          <p:cNvSpPr>
            <a:spLocks noGrp="1"/>
          </p:cNvSpPr>
          <p:nvPr>
            <p:ph type="subTitle" idx="27"/>
          </p:nvPr>
        </p:nvSpPr>
        <p:spPr>
          <a:xfrm>
            <a:off x="457200" y="1051560"/>
            <a:ext cx="11277600" cy="685800"/>
          </a:xfrm>
        </p:spPr>
        <p:txBody>
          <a:bodyPr/>
          <a:lstStyle>
            <a:lvl1pPr marL="0" indent="0" algn="l">
              <a:buNone/>
              <a:defRPr sz="2400" b="1" i="0" spc="-60" baseline="0">
                <a:latin typeface="Segoe UI Semibold" charset="0"/>
                <a:ea typeface="Segoe UI Semibold" charset="0"/>
                <a:cs typeface="Segoe UI Semi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9386A6-1B24-F24E-ACF1-EA03F8741407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511731"/>
      </p:ext>
    </p:extLst>
  </p:cSld>
  <p:clrMapOvr>
    <a:masterClrMapping/>
  </p:clrMapOvr>
  <p:transition>
    <p:fad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9386A6-1B24-F24E-ACF1-EA03F8741407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1880007"/>
      </p:ext>
    </p:extLst>
  </p:cSld>
  <p:clrMapOvr>
    <a:masterClrMapping/>
  </p:clrMapOvr>
  <p:transition>
    <p:fade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6AA340A-11B1-4D46-BE2D-4B2D31C5690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8230195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lante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F47F45D9-95A5-4648-AE3A-82DCC6FFC597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529528" y="0"/>
            <a:ext cx="7662472" cy="6858000"/>
          </a:xfrm>
          <a:custGeom>
            <a:avLst/>
            <a:gdLst>
              <a:gd name="connsiteX0" fmla="*/ 0 w 5638800"/>
              <a:gd name="connsiteY0" fmla="*/ 0 h 6858000"/>
              <a:gd name="connsiteX1" fmla="*/ 5638800 w 5638800"/>
              <a:gd name="connsiteY1" fmla="*/ 0 h 6858000"/>
              <a:gd name="connsiteX2" fmla="*/ 5638800 w 5638800"/>
              <a:gd name="connsiteY2" fmla="*/ 6858000 h 6858000"/>
              <a:gd name="connsiteX3" fmla="*/ 0 w 5638800"/>
              <a:gd name="connsiteY3" fmla="*/ 6858000 h 6858000"/>
              <a:gd name="connsiteX4" fmla="*/ 0 w 5638800"/>
              <a:gd name="connsiteY4" fmla="*/ 0 h 6858000"/>
              <a:gd name="connsiteX0" fmla="*/ 2023672 w 7662472"/>
              <a:gd name="connsiteY0" fmla="*/ 0 h 6858000"/>
              <a:gd name="connsiteX1" fmla="*/ 7662472 w 7662472"/>
              <a:gd name="connsiteY1" fmla="*/ 0 h 6858000"/>
              <a:gd name="connsiteX2" fmla="*/ 7662472 w 7662472"/>
              <a:gd name="connsiteY2" fmla="*/ 6858000 h 6858000"/>
              <a:gd name="connsiteX3" fmla="*/ 0 w 7662472"/>
              <a:gd name="connsiteY3" fmla="*/ 6843010 h 6858000"/>
              <a:gd name="connsiteX4" fmla="*/ 2023672 w 7662472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62472" h="6858000">
                <a:moveTo>
                  <a:pt x="2023672" y="0"/>
                </a:moveTo>
                <a:lnTo>
                  <a:pt x="7662472" y="0"/>
                </a:lnTo>
                <a:lnTo>
                  <a:pt x="7662472" y="6858000"/>
                </a:lnTo>
                <a:lnTo>
                  <a:pt x="0" y="6843010"/>
                </a:lnTo>
                <a:lnTo>
                  <a:pt x="2023672" y="0"/>
                </a:lnTo>
                <a:close/>
              </a:path>
            </a:pathLst>
          </a:custGeom>
          <a:noFill/>
          <a:ln>
            <a:solidFill>
              <a:srgbClr val="414241"/>
            </a:solidFill>
          </a:ln>
        </p:spPr>
        <p:txBody>
          <a:bodyPr anchor="ctr"/>
          <a:lstStyle>
            <a:lvl1pPr algn="ctr">
              <a:defRPr>
                <a:solidFill>
                  <a:srgbClr val="B4009E"/>
                </a:solidFill>
              </a:defRPr>
            </a:lvl1pPr>
          </a:lstStyle>
          <a:p>
            <a:r>
              <a:rPr lang="en-US" dirty="0"/>
              <a:t>Drag picture to placeholder </a:t>
            </a:r>
            <a:br>
              <a:rPr lang="en-US" dirty="0"/>
            </a:br>
            <a:r>
              <a:rPr lang="en-US" dirty="0"/>
              <a:t>or click icon to add</a:t>
            </a:r>
          </a:p>
        </p:txBody>
      </p:sp>
      <p:sp>
        <p:nvSpPr>
          <p:cNvPr id="4" name="Title Placeholder 2">
            <a:extLst>
              <a:ext uri="{FF2B5EF4-FFF2-40B4-BE49-F238E27FC236}">
                <a16:creationId xmlns:a16="http://schemas.microsoft.com/office/drawing/2014/main" id="{871EF881-5E89-4644-A1E8-CF48820561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457200"/>
            <a:ext cx="5638800" cy="14097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2BF09F98-AD56-4DD4-83C9-B72AC6215059}"/>
              </a:ext>
            </a:extLst>
          </p:cNvPr>
          <p:cNvSpPr txBox="1">
            <a:spLocks/>
          </p:cNvSpPr>
          <p:nvPr userDrawn="1"/>
        </p:nvSpPr>
        <p:spPr>
          <a:xfrm>
            <a:off x="1" y="6400032"/>
            <a:ext cx="528074" cy="266241"/>
          </a:xfrm>
          <a:prstGeom prst="rect">
            <a:avLst/>
          </a:prstGeom>
        </p:spPr>
        <p:txBody>
          <a:bodyPr vert="horz" lIns="91440" tIns="45720" rIns="182880" bIns="182880" rtlCol="0" anchor="t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9D7F84B-3C83-9746-917C-397D4BD96F6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BBD8D9-29AA-4D60-87D3-27E8B624235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2" y="1866900"/>
            <a:ext cx="5638798" cy="4514047"/>
          </a:xfrm>
          <a:prstGeom prst="rect">
            <a:avLst/>
          </a:prstGeom>
        </p:spPr>
        <p:txBody>
          <a:bodyPr vert="horz" wrap="square" lIns="0" tIns="0" rIns="18288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31299360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lante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6AA340A-11B1-4D46-BE2D-4B2D31C5690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FDD21F8-4159-4A66-BDF8-AFEDA3479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0" y="457200"/>
            <a:ext cx="5638800" cy="1409699"/>
          </a:xfrm>
          <a:prstGeom prst="rect">
            <a:avLst/>
          </a:prstGeom>
        </p:spPr>
        <p:txBody>
          <a:bodyPr lIns="274320" rIns="0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1FC412D9-CA04-44CF-B8DB-95E7E19204D5}"/>
              </a:ext>
            </a:extLst>
          </p:cNvPr>
          <p:cNvSpPr txBox="1">
            <a:spLocks/>
          </p:cNvSpPr>
          <p:nvPr userDrawn="1"/>
        </p:nvSpPr>
        <p:spPr>
          <a:xfrm>
            <a:off x="11010899" y="6442502"/>
            <a:ext cx="1180135" cy="415498"/>
          </a:xfrm>
          <a:prstGeom prst="rect">
            <a:avLst/>
          </a:prstGeom>
        </p:spPr>
        <p:txBody>
          <a:bodyPr vert="horz" lIns="91440" tIns="45720" rIns="182880" bIns="18288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29AFA16-AEC4-7D4A-82F3-BDAE8E49079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ECA683ED-48AE-4856-826D-F28B2D0ECF5C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6096000" y="1866900"/>
            <a:ext cx="5638799" cy="4514047"/>
          </a:xfrm>
          <a:prstGeom prst="rect">
            <a:avLst/>
          </a:prstGeom>
        </p:spPr>
        <p:txBody>
          <a:bodyPr vert="horz" wrap="square" lIns="27432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6E31588E-9179-43F4-987F-E4B7A61DB4F9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-3142" y="0"/>
            <a:ext cx="6806152" cy="6858000"/>
          </a:xfrm>
          <a:custGeom>
            <a:avLst/>
            <a:gdLst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5847905 w 5847905"/>
              <a:gd name="connsiteY2" fmla="*/ 6849376 h 6849376"/>
              <a:gd name="connsiteX3" fmla="*/ 0 w 5847905"/>
              <a:gd name="connsiteY3" fmla="*/ 6849376 h 6849376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703805 w 5847905"/>
              <a:gd name="connsiteY2" fmla="*/ 708068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5847905"/>
              <a:gd name="connsiteY0" fmla="*/ 7148223 h 7148223"/>
              <a:gd name="connsiteX1" fmla="*/ 0 w 5847905"/>
              <a:gd name="connsiteY1" fmla="*/ 298847 h 7148223"/>
              <a:gd name="connsiteX2" fmla="*/ 4967416 w 5847905"/>
              <a:gd name="connsiteY2" fmla="*/ 314937 h 7148223"/>
              <a:gd name="connsiteX3" fmla="*/ 5847905 w 5847905"/>
              <a:gd name="connsiteY3" fmla="*/ 7148223 h 7148223"/>
              <a:gd name="connsiteX4" fmla="*/ 0 w 5847905"/>
              <a:gd name="connsiteY4" fmla="*/ 7148223 h 7148223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967416 w 5847905"/>
              <a:gd name="connsiteY2" fmla="*/ 16090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967416 w 5847905"/>
              <a:gd name="connsiteY2" fmla="*/ 16090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967416 w 5847905"/>
              <a:gd name="connsiteY2" fmla="*/ 16090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871792 w 5847905"/>
              <a:gd name="connsiteY2" fmla="*/ 10113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871792 w 5847905"/>
              <a:gd name="connsiteY2" fmla="*/ 10113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871792 w 5847905"/>
              <a:gd name="connsiteY2" fmla="*/ 10113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871792 w 5847905"/>
              <a:gd name="connsiteY2" fmla="*/ 10113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895698 w 5847905"/>
              <a:gd name="connsiteY2" fmla="*/ 4137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7282258"/>
              <a:gd name="connsiteY0" fmla="*/ 6849376 h 6855353"/>
              <a:gd name="connsiteX1" fmla="*/ 0 w 7282258"/>
              <a:gd name="connsiteY1" fmla="*/ 0 h 6855353"/>
              <a:gd name="connsiteX2" fmla="*/ 4895698 w 7282258"/>
              <a:gd name="connsiteY2" fmla="*/ 4137 h 6855353"/>
              <a:gd name="connsiteX3" fmla="*/ 7282258 w 7282258"/>
              <a:gd name="connsiteY3" fmla="*/ 6855353 h 6855353"/>
              <a:gd name="connsiteX4" fmla="*/ 0 w 7282258"/>
              <a:gd name="connsiteY4" fmla="*/ 6849376 h 6855353"/>
              <a:gd name="connsiteX0" fmla="*/ 0 w 7276282"/>
              <a:gd name="connsiteY0" fmla="*/ 6849376 h 6849376"/>
              <a:gd name="connsiteX1" fmla="*/ 0 w 7276282"/>
              <a:gd name="connsiteY1" fmla="*/ 0 h 6849376"/>
              <a:gd name="connsiteX2" fmla="*/ 4895698 w 7276282"/>
              <a:gd name="connsiteY2" fmla="*/ 4137 h 6849376"/>
              <a:gd name="connsiteX3" fmla="*/ 7276282 w 7276282"/>
              <a:gd name="connsiteY3" fmla="*/ 6843400 h 6849376"/>
              <a:gd name="connsiteX4" fmla="*/ 0 w 7276282"/>
              <a:gd name="connsiteY4" fmla="*/ 6849376 h 6849376"/>
              <a:gd name="connsiteX0" fmla="*/ 0 w 7276282"/>
              <a:gd name="connsiteY0" fmla="*/ 6849376 h 6849376"/>
              <a:gd name="connsiteX1" fmla="*/ 0 w 7276282"/>
              <a:gd name="connsiteY1" fmla="*/ 0 h 6849376"/>
              <a:gd name="connsiteX2" fmla="*/ 4895698 w 7276282"/>
              <a:gd name="connsiteY2" fmla="*/ 4137 h 6849376"/>
              <a:gd name="connsiteX3" fmla="*/ 7276282 w 7276282"/>
              <a:gd name="connsiteY3" fmla="*/ 6849376 h 6849376"/>
              <a:gd name="connsiteX4" fmla="*/ 0 w 7276282"/>
              <a:gd name="connsiteY4" fmla="*/ 6849376 h 6849376"/>
              <a:gd name="connsiteX0" fmla="*/ 0 w 7264329"/>
              <a:gd name="connsiteY0" fmla="*/ 6849376 h 6861329"/>
              <a:gd name="connsiteX1" fmla="*/ 0 w 7264329"/>
              <a:gd name="connsiteY1" fmla="*/ 0 h 6861329"/>
              <a:gd name="connsiteX2" fmla="*/ 4895698 w 7264329"/>
              <a:gd name="connsiteY2" fmla="*/ 4137 h 6861329"/>
              <a:gd name="connsiteX3" fmla="*/ 7264329 w 7264329"/>
              <a:gd name="connsiteY3" fmla="*/ 6861329 h 6861329"/>
              <a:gd name="connsiteX4" fmla="*/ 0 w 7264329"/>
              <a:gd name="connsiteY4" fmla="*/ 6849376 h 6861329"/>
              <a:gd name="connsiteX0" fmla="*/ 0 w 7264329"/>
              <a:gd name="connsiteY0" fmla="*/ 6849376 h 6855352"/>
              <a:gd name="connsiteX1" fmla="*/ 0 w 7264329"/>
              <a:gd name="connsiteY1" fmla="*/ 0 h 6855352"/>
              <a:gd name="connsiteX2" fmla="*/ 4895698 w 7264329"/>
              <a:gd name="connsiteY2" fmla="*/ 4137 h 6855352"/>
              <a:gd name="connsiteX3" fmla="*/ 7264329 w 7264329"/>
              <a:gd name="connsiteY3" fmla="*/ 6855352 h 6855352"/>
              <a:gd name="connsiteX4" fmla="*/ 0 w 7264329"/>
              <a:gd name="connsiteY4" fmla="*/ 6849376 h 6855352"/>
              <a:gd name="connsiteX0" fmla="*/ 0 w 7264329"/>
              <a:gd name="connsiteY0" fmla="*/ 6849376 h 6849376"/>
              <a:gd name="connsiteX1" fmla="*/ 0 w 7264329"/>
              <a:gd name="connsiteY1" fmla="*/ 0 h 6849376"/>
              <a:gd name="connsiteX2" fmla="*/ 4895698 w 7264329"/>
              <a:gd name="connsiteY2" fmla="*/ 4137 h 6849376"/>
              <a:gd name="connsiteX3" fmla="*/ 7264329 w 7264329"/>
              <a:gd name="connsiteY3" fmla="*/ 6849376 h 6849376"/>
              <a:gd name="connsiteX4" fmla="*/ 0 w 7264329"/>
              <a:gd name="connsiteY4" fmla="*/ 6849376 h 6849376"/>
              <a:gd name="connsiteX0" fmla="*/ 0 w 7264329"/>
              <a:gd name="connsiteY0" fmla="*/ 6854666 h 6854666"/>
              <a:gd name="connsiteX1" fmla="*/ 0 w 7264329"/>
              <a:gd name="connsiteY1" fmla="*/ 5290 h 6854666"/>
              <a:gd name="connsiteX2" fmla="*/ 4895698 w 7264329"/>
              <a:gd name="connsiteY2" fmla="*/ 0 h 6854666"/>
              <a:gd name="connsiteX3" fmla="*/ 7264329 w 7264329"/>
              <a:gd name="connsiteY3" fmla="*/ 6854666 h 6854666"/>
              <a:gd name="connsiteX4" fmla="*/ 0 w 7264329"/>
              <a:gd name="connsiteY4" fmla="*/ 6854666 h 6854666"/>
              <a:gd name="connsiteX0" fmla="*/ 0 w 7264329"/>
              <a:gd name="connsiteY0" fmla="*/ 6851524 h 6851524"/>
              <a:gd name="connsiteX1" fmla="*/ 0 w 7264329"/>
              <a:gd name="connsiteY1" fmla="*/ 2148 h 6851524"/>
              <a:gd name="connsiteX2" fmla="*/ 4895698 w 7264329"/>
              <a:gd name="connsiteY2" fmla="*/ 0 h 6851524"/>
              <a:gd name="connsiteX3" fmla="*/ 7264329 w 7264329"/>
              <a:gd name="connsiteY3" fmla="*/ 6851524 h 6851524"/>
              <a:gd name="connsiteX4" fmla="*/ 0 w 7264329"/>
              <a:gd name="connsiteY4" fmla="*/ 6851524 h 6851524"/>
              <a:gd name="connsiteX0" fmla="*/ 3142 w 7267471"/>
              <a:gd name="connsiteY0" fmla="*/ 6852519 h 6852519"/>
              <a:gd name="connsiteX1" fmla="*/ 0 w 7267471"/>
              <a:gd name="connsiteY1" fmla="*/ 0 h 6852519"/>
              <a:gd name="connsiteX2" fmla="*/ 4898840 w 7267471"/>
              <a:gd name="connsiteY2" fmla="*/ 995 h 6852519"/>
              <a:gd name="connsiteX3" fmla="*/ 7267471 w 7267471"/>
              <a:gd name="connsiteY3" fmla="*/ 6852519 h 6852519"/>
              <a:gd name="connsiteX4" fmla="*/ 3142 w 7267471"/>
              <a:gd name="connsiteY4" fmla="*/ 6852519 h 6852519"/>
              <a:gd name="connsiteX0" fmla="*/ 3142 w 7267471"/>
              <a:gd name="connsiteY0" fmla="*/ 6852519 h 6852519"/>
              <a:gd name="connsiteX1" fmla="*/ 0 w 7267471"/>
              <a:gd name="connsiteY1" fmla="*/ 0 h 6852519"/>
              <a:gd name="connsiteX2" fmla="*/ 4898840 w 7267471"/>
              <a:gd name="connsiteY2" fmla="*/ 995 h 6852519"/>
              <a:gd name="connsiteX3" fmla="*/ 7267471 w 7267471"/>
              <a:gd name="connsiteY3" fmla="*/ 6852519 h 6852519"/>
              <a:gd name="connsiteX4" fmla="*/ 3142 w 7267471"/>
              <a:gd name="connsiteY4" fmla="*/ 6852519 h 6852519"/>
              <a:gd name="connsiteX0" fmla="*/ 3142 w 7267471"/>
              <a:gd name="connsiteY0" fmla="*/ 6852519 h 6852519"/>
              <a:gd name="connsiteX1" fmla="*/ 0 w 7267471"/>
              <a:gd name="connsiteY1" fmla="*/ 0 h 6852519"/>
              <a:gd name="connsiteX2" fmla="*/ 4886271 w 7267471"/>
              <a:gd name="connsiteY2" fmla="*/ 995 h 6852519"/>
              <a:gd name="connsiteX3" fmla="*/ 7267471 w 7267471"/>
              <a:gd name="connsiteY3" fmla="*/ 6852519 h 6852519"/>
              <a:gd name="connsiteX4" fmla="*/ 3142 w 7267471"/>
              <a:gd name="connsiteY4" fmla="*/ 6852519 h 6852519"/>
              <a:gd name="connsiteX0" fmla="*/ 3142 w 7267471"/>
              <a:gd name="connsiteY0" fmla="*/ 6854667 h 6854667"/>
              <a:gd name="connsiteX1" fmla="*/ 0 w 7267471"/>
              <a:gd name="connsiteY1" fmla="*/ 2148 h 6854667"/>
              <a:gd name="connsiteX2" fmla="*/ 4886271 w 7267471"/>
              <a:gd name="connsiteY2" fmla="*/ 0 h 6854667"/>
              <a:gd name="connsiteX3" fmla="*/ 7267471 w 7267471"/>
              <a:gd name="connsiteY3" fmla="*/ 6854667 h 6854667"/>
              <a:gd name="connsiteX4" fmla="*/ 3142 w 7267471"/>
              <a:gd name="connsiteY4" fmla="*/ 6854667 h 6854667"/>
              <a:gd name="connsiteX0" fmla="*/ 3142 w 7267471"/>
              <a:gd name="connsiteY0" fmla="*/ 6852519 h 6852519"/>
              <a:gd name="connsiteX1" fmla="*/ 0 w 7267471"/>
              <a:gd name="connsiteY1" fmla="*/ 0 h 6852519"/>
              <a:gd name="connsiteX2" fmla="*/ 4521768 w 7267471"/>
              <a:gd name="connsiteY2" fmla="*/ 995 h 6852519"/>
              <a:gd name="connsiteX3" fmla="*/ 7267471 w 7267471"/>
              <a:gd name="connsiteY3" fmla="*/ 6852519 h 6852519"/>
              <a:gd name="connsiteX4" fmla="*/ 3142 w 7267471"/>
              <a:gd name="connsiteY4" fmla="*/ 6852519 h 6852519"/>
              <a:gd name="connsiteX0" fmla="*/ 3142 w 7267471"/>
              <a:gd name="connsiteY0" fmla="*/ 6852519 h 6852519"/>
              <a:gd name="connsiteX1" fmla="*/ 0 w 7267471"/>
              <a:gd name="connsiteY1" fmla="*/ 0 h 6852519"/>
              <a:gd name="connsiteX2" fmla="*/ 4735952 w 7267471"/>
              <a:gd name="connsiteY2" fmla="*/ 995 h 6852519"/>
              <a:gd name="connsiteX3" fmla="*/ 7267471 w 7267471"/>
              <a:gd name="connsiteY3" fmla="*/ 6852519 h 6852519"/>
              <a:gd name="connsiteX4" fmla="*/ 3142 w 7267471"/>
              <a:gd name="connsiteY4" fmla="*/ 6852519 h 6852519"/>
              <a:gd name="connsiteX0" fmla="*/ 3142 w 6806152"/>
              <a:gd name="connsiteY0" fmla="*/ 6852519 h 6852519"/>
              <a:gd name="connsiteX1" fmla="*/ 0 w 6806152"/>
              <a:gd name="connsiteY1" fmla="*/ 0 h 6852519"/>
              <a:gd name="connsiteX2" fmla="*/ 4735952 w 6806152"/>
              <a:gd name="connsiteY2" fmla="*/ 995 h 6852519"/>
              <a:gd name="connsiteX3" fmla="*/ 6806152 w 6806152"/>
              <a:gd name="connsiteY3" fmla="*/ 6852519 h 6852519"/>
              <a:gd name="connsiteX4" fmla="*/ 3142 w 6806152"/>
              <a:gd name="connsiteY4" fmla="*/ 6852519 h 6852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6152" h="6852519">
                <a:moveTo>
                  <a:pt x="3142" y="6852519"/>
                </a:moveTo>
                <a:cubicBezTo>
                  <a:pt x="2095" y="4568346"/>
                  <a:pt x="1047" y="2284173"/>
                  <a:pt x="0" y="0"/>
                </a:cubicBezTo>
                <a:lnTo>
                  <a:pt x="4735952" y="995"/>
                </a:lnTo>
                <a:lnTo>
                  <a:pt x="6806152" y="6852519"/>
                </a:lnTo>
                <a:lnTo>
                  <a:pt x="3142" y="6852519"/>
                </a:lnTo>
                <a:close/>
              </a:path>
            </a:pathLst>
          </a:custGeom>
          <a:ln>
            <a:solidFill>
              <a:srgbClr val="414241"/>
            </a:solidFill>
          </a:ln>
        </p:spPr>
        <p:txBody>
          <a:bodyPr anchor="ctr"/>
          <a:lstStyle>
            <a:lvl1pPr algn="ctr">
              <a:defRPr>
                <a:solidFill>
                  <a:srgbClr val="B4009E"/>
                </a:solidFill>
              </a:defRPr>
            </a:lvl1pPr>
          </a:lstStyle>
          <a:p>
            <a:r>
              <a:rPr lang="en-US" dirty="0"/>
              <a:t>Click icon to</a:t>
            </a:r>
            <a:br>
              <a:rPr lang="en-US" dirty="0"/>
            </a:br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1155401006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+ slanted Image Lef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0" y="457200"/>
            <a:ext cx="5638800" cy="1409699"/>
          </a:xfrm>
          <a:prstGeom prst="rect">
            <a:avLst/>
          </a:prstGeom>
        </p:spPr>
        <p:txBody>
          <a:bodyPr lIns="274320" rIns="0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F0A937-5674-5E4D-BA15-88B347E17AE9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2D82040B-E8B0-4143-8A3F-EF4AA4D005D0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6096000" y="1866900"/>
            <a:ext cx="5638799" cy="4514047"/>
          </a:xfrm>
          <a:prstGeom prst="rect">
            <a:avLst/>
          </a:prstGeom>
        </p:spPr>
        <p:txBody>
          <a:bodyPr vert="horz" wrap="square" lIns="27432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5BBFF32C-2A15-44C5-B538-CFD1F92176C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-3142" y="0"/>
            <a:ext cx="6806152" cy="6858000"/>
          </a:xfrm>
          <a:custGeom>
            <a:avLst/>
            <a:gdLst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5847905 w 5847905"/>
              <a:gd name="connsiteY2" fmla="*/ 6849376 h 6849376"/>
              <a:gd name="connsiteX3" fmla="*/ 0 w 5847905"/>
              <a:gd name="connsiteY3" fmla="*/ 6849376 h 6849376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703805 w 5847905"/>
              <a:gd name="connsiteY2" fmla="*/ 708068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5847905"/>
              <a:gd name="connsiteY0" fmla="*/ 7148223 h 7148223"/>
              <a:gd name="connsiteX1" fmla="*/ 0 w 5847905"/>
              <a:gd name="connsiteY1" fmla="*/ 298847 h 7148223"/>
              <a:gd name="connsiteX2" fmla="*/ 4967416 w 5847905"/>
              <a:gd name="connsiteY2" fmla="*/ 314937 h 7148223"/>
              <a:gd name="connsiteX3" fmla="*/ 5847905 w 5847905"/>
              <a:gd name="connsiteY3" fmla="*/ 7148223 h 7148223"/>
              <a:gd name="connsiteX4" fmla="*/ 0 w 5847905"/>
              <a:gd name="connsiteY4" fmla="*/ 7148223 h 7148223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967416 w 5847905"/>
              <a:gd name="connsiteY2" fmla="*/ 16090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967416 w 5847905"/>
              <a:gd name="connsiteY2" fmla="*/ 16090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967416 w 5847905"/>
              <a:gd name="connsiteY2" fmla="*/ 16090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871792 w 5847905"/>
              <a:gd name="connsiteY2" fmla="*/ 10113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871792 w 5847905"/>
              <a:gd name="connsiteY2" fmla="*/ 10113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871792 w 5847905"/>
              <a:gd name="connsiteY2" fmla="*/ 10113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871792 w 5847905"/>
              <a:gd name="connsiteY2" fmla="*/ 10113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895698 w 5847905"/>
              <a:gd name="connsiteY2" fmla="*/ 4137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7282258"/>
              <a:gd name="connsiteY0" fmla="*/ 6849376 h 6855353"/>
              <a:gd name="connsiteX1" fmla="*/ 0 w 7282258"/>
              <a:gd name="connsiteY1" fmla="*/ 0 h 6855353"/>
              <a:gd name="connsiteX2" fmla="*/ 4895698 w 7282258"/>
              <a:gd name="connsiteY2" fmla="*/ 4137 h 6855353"/>
              <a:gd name="connsiteX3" fmla="*/ 7282258 w 7282258"/>
              <a:gd name="connsiteY3" fmla="*/ 6855353 h 6855353"/>
              <a:gd name="connsiteX4" fmla="*/ 0 w 7282258"/>
              <a:gd name="connsiteY4" fmla="*/ 6849376 h 6855353"/>
              <a:gd name="connsiteX0" fmla="*/ 0 w 7276282"/>
              <a:gd name="connsiteY0" fmla="*/ 6849376 h 6849376"/>
              <a:gd name="connsiteX1" fmla="*/ 0 w 7276282"/>
              <a:gd name="connsiteY1" fmla="*/ 0 h 6849376"/>
              <a:gd name="connsiteX2" fmla="*/ 4895698 w 7276282"/>
              <a:gd name="connsiteY2" fmla="*/ 4137 h 6849376"/>
              <a:gd name="connsiteX3" fmla="*/ 7276282 w 7276282"/>
              <a:gd name="connsiteY3" fmla="*/ 6843400 h 6849376"/>
              <a:gd name="connsiteX4" fmla="*/ 0 w 7276282"/>
              <a:gd name="connsiteY4" fmla="*/ 6849376 h 6849376"/>
              <a:gd name="connsiteX0" fmla="*/ 0 w 7276282"/>
              <a:gd name="connsiteY0" fmla="*/ 6849376 h 6849376"/>
              <a:gd name="connsiteX1" fmla="*/ 0 w 7276282"/>
              <a:gd name="connsiteY1" fmla="*/ 0 h 6849376"/>
              <a:gd name="connsiteX2" fmla="*/ 4895698 w 7276282"/>
              <a:gd name="connsiteY2" fmla="*/ 4137 h 6849376"/>
              <a:gd name="connsiteX3" fmla="*/ 7276282 w 7276282"/>
              <a:gd name="connsiteY3" fmla="*/ 6849376 h 6849376"/>
              <a:gd name="connsiteX4" fmla="*/ 0 w 7276282"/>
              <a:gd name="connsiteY4" fmla="*/ 6849376 h 6849376"/>
              <a:gd name="connsiteX0" fmla="*/ 0 w 7264329"/>
              <a:gd name="connsiteY0" fmla="*/ 6849376 h 6861329"/>
              <a:gd name="connsiteX1" fmla="*/ 0 w 7264329"/>
              <a:gd name="connsiteY1" fmla="*/ 0 h 6861329"/>
              <a:gd name="connsiteX2" fmla="*/ 4895698 w 7264329"/>
              <a:gd name="connsiteY2" fmla="*/ 4137 h 6861329"/>
              <a:gd name="connsiteX3" fmla="*/ 7264329 w 7264329"/>
              <a:gd name="connsiteY3" fmla="*/ 6861329 h 6861329"/>
              <a:gd name="connsiteX4" fmla="*/ 0 w 7264329"/>
              <a:gd name="connsiteY4" fmla="*/ 6849376 h 6861329"/>
              <a:gd name="connsiteX0" fmla="*/ 0 w 7264329"/>
              <a:gd name="connsiteY0" fmla="*/ 6849376 h 6855352"/>
              <a:gd name="connsiteX1" fmla="*/ 0 w 7264329"/>
              <a:gd name="connsiteY1" fmla="*/ 0 h 6855352"/>
              <a:gd name="connsiteX2" fmla="*/ 4895698 w 7264329"/>
              <a:gd name="connsiteY2" fmla="*/ 4137 h 6855352"/>
              <a:gd name="connsiteX3" fmla="*/ 7264329 w 7264329"/>
              <a:gd name="connsiteY3" fmla="*/ 6855352 h 6855352"/>
              <a:gd name="connsiteX4" fmla="*/ 0 w 7264329"/>
              <a:gd name="connsiteY4" fmla="*/ 6849376 h 6855352"/>
              <a:gd name="connsiteX0" fmla="*/ 0 w 7264329"/>
              <a:gd name="connsiteY0" fmla="*/ 6849376 h 6849376"/>
              <a:gd name="connsiteX1" fmla="*/ 0 w 7264329"/>
              <a:gd name="connsiteY1" fmla="*/ 0 h 6849376"/>
              <a:gd name="connsiteX2" fmla="*/ 4895698 w 7264329"/>
              <a:gd name="connsiteY2" fmla="*/ 4137 h 6849376"/>
              <a:gd name="connsiteX3" fmla="*/ 7264329 w 7264329"/>
              <a:gd name="connsiteY3" fmla="*/ 6849376 h 6849376"/>
              <a:gd name="connsiteX4" fmla="*/ 0 w 7264329"/>
              <a:gd name="connsiteY4" fmla="*/ 6849376 h 6849376"/>
              <a:gd name="connsiteX0" fmla="*/ 0 w 7264329"/>
              <a:gd name="connsiteY0" fmla="*/ 6854666 h 6854666"/>
              <a:gd name="connsiteX1" fmla="*/ 0 w 7264329"/>
              <a:gd name="connsiteY1" fmla="*/ 5290 h 6854666"/>
              <a:gd name="connsiteX2" fmla="*/ 4895698 w 7264329"/>
              <a:gd name="connsiteY2" fmla="*/ 0 h 6854666"/>
              <a:gd name="connsiteX3" fmla="*/ 7264329 w 7264329"/>
              <a:gd name="connsiteY3" fmla="*/ 6854666 h 6854666"/>
              <a:gd name="connsiteX4" fmla="*/ 0 w 7264329"/>
              <a:gd name="connsiteY4" fmla="*/ 6854666 h 6854666"/>
              <a:gd name="connsiteX0" fmla="*/ 0 w 7264329"/>
              <a:gd name="connsiteY0" fmla="*/ 6851524 h 6851524"/>
              <a:gd name="connsiteX1" fmla="*/ 0 w 7264329"/>
              <a:gd name="connsiteY1" fmla="*/ 2148 h 6851524"/>
              <a:gd name="connsiteX2" fmla="*/ 4895698 w 7264329"/>
              <a:gd name="connsiteY2" fmla="*/ 0 h 6851524"/>
              <a:gd name="connsiteX3" fmla="*/ 7264329 w 7264329"/>
              <a:gd name="connsiteY3" fmla="*/ 6851524 h 6851524"/>
              <a:gd name="connsiteX4" fmla="*/ 0 w 7264329"/>
              <a:gd name="connsiteY4" fmla="*/ 6851524 h 6851524"/>
              <a:gd name="connsiteX0" fmla="*/ 3142 w 7267471"/>
              <a:gd name="connsiteY0" fmla="*/ 6852519 h 6852519"/>
              <a:gd name="connsiteX1" fmla="*/ 0 w 7267471"/>
              <a:gd name="connsiteY1" fmla="*/ 0 h 6852519"/>
              <a:gd name="connsiteX2" fmla="*/ 4898840 w 7267471"/>
              <a:gd name="connsiteY2" fmla="*/ 995 h 6852519"/>
              <a:gd name="connsiteX3" fmla="*/ 7267471 w 7267471"/>
              <a:gd name="connsiteY3" fmla="*/ 6852519 h 6852519"/>
              <a:gd name="connsiteX4" fmla="*/ 3142 w 7267471"/>
              <a:gd name="connsiteY4" fmla="*/ 6852519 h 6852519"/>
              <a:gd name="connsiteX0" fmla="*/ 3142 w 7267471"/>
              <a:gd name="connsiteY0" fmla="*/ 6852519 h 6852519"/>
              <a:gd name="connsiteX1" fmla="*/ 0 w 7267471"/>
              <a:gd name="connsiteY1" fmla="*/ 0 h 6852519"/>
              <a:gd name="connsiteX2" fmla="*/ 4898840 w 7267471"/>
              <a:gd name="connsiteY2" fmla="*/ 995 h 6852519"/>
              <a:gd name="connsiteX3" fmla="*/ 7267471 w 7267471"/>
              <a:gd name="connsiteY3" fmla="*/ 6852519 h 6852519"/>
              <a:gd name="connsiteX4" fmla="*/ 3142 w 7267471"/>
              <a:gd name="connsiteY4" fmla="*/ 6852519 h 6852519"/>
              <a:gd name="connsiteX0" fmla="*/ 3142 w 7267471"/>
              <a:gd name="connsiteY0" fmla="*/ 6852519 h 6852519"/>
              <a:gd name="connsiteX1" fmla="*/ 0 w 7267471"/>
              <a:gd name="connsiteY1" fmla="*/ 0 h 6852519"/>
              <a:gd name="connsiteX2" fmla="*/ 4886271 w 7267471"/>
              <a:gd name="connsiteY2" fmla="*/ 995 h 6852519"/>
              <a:gd name="connsiteX3" fmla="*/ 7267471 w 7267471"/>
              <a:gd name="connsiteY3" fmla="*/ 6852519 h 6852519"/>
              <a:gd name="connsiteX4" fmla="*/ 3142 w 7267471"/>
              <a:gd name="connsiteY4" fmla="*/ 6852519 h 6852519"/>
              <a:gd name="connsiteX0" fmla="*/ 3142 w 7267471"/>
              <a:gd name="connsiteY0" fmla="*/ 6854667 h 6854667"/>
              <a:gd name="connsiteX1" fmla="*/ 0 w 7267471"/>
              <a:gd name="connsiteY1" fmla="*/ 2148 h 6854667"/>
              <a:gd name="connsiteX2" fmla="*/ 4886271 w 7267471"/>
              <a:gd name="connsiteY2" fmla="*/ 0 h 6854667"/>
              <a:gd name="connsiteX3" fmla="*/ 7267471 w 7267471"/>
              <a:gd name="connsiteY3" fmla="*/ 6854667 h 6854667"/>
              <a:gd name="connsiteX4" fmla="*/ 3142 w 7267471"/>
              <a:gd name="connsiteY4" fmla="*/ 6854667 h 6854667"/>
              <a:gd name="connsiteX0" fmla="*/ 3142 w 7267471"/>
              <a:gd name="connsiteY0" fmla="*/ 6852519 h 6852519"/>
              <a:gd name="connsiteX1" fmla="*/ 0 w 7267471"/>
              <a:gd name="connsiteY1" fmla="*/ 0 h 6852519"/>
              <a:gd name="connsiteX2" fmla="*/ 4521768 w 7267471"/>
              <a:gd name="connsiteY2" fmla="*/ 995 h 6852519"/>
              <a:gd name="connsiteX3" fmla="*/ 7267471 w 7267471"/>
              <a:gd name="connsiteY3" fmla="*/ 6852519 h 6852519"/>
              <a:gd name="connsiteX4" fmla="*/ 3142 w 7267471"/>
              <a:gd name="connsiteY4" fmla="*/ 6852519 h 6852519"/>
              <a:gd name="connsiteX0" fmla="*/ 3142 w 7267471"/>
              <a:gd name="connsiteY0" fmla="*/ 6852519 h 6852519"/>
              <a:gd name="connsiteX1" fmla="*/ 0 w 7267471"/>
              <a:gd name="connsiteY1" fmla="*/ 0 h 6852519"/>
              <a:gd name="connsiteX2" fmla="*/ 4735952 w 7267471"/>
              <a:gd name="connsiteY2" fmla="*/ 995 h 6852519"/>
              <a:gd name="connsiteX3" fmla="*/ 7267471 w 7267471"/>
              <a:gd name="connsiteY3" fmla="*/ 6852519 h 6852519"/>
              <a:gd name="connsiteX4" fmla="*/ 3142 w 7267471"/>
              <a:gd name="connsiteY4" fmla="*/ 6852519 h 6852519"/>
              <a:gd name="connsiteX0" fmla="*/ 3142 w 6806152"/>
              <a:gd name="connsiteY0" fmla="*/ 6852519 h 6852519"/>
              <a:gd name="connsiteX1" fmla="*/ 0 w 6806152"/>
              <a:gd name="connsiteY1" fmla="*/ 0 h 6852519"/>
              <a:gd name="connsiteX2" fmla="*/ 4735952 w 6806152"/>
              <a:gd name="connsiteY2" fmla="*/ 995 h 6852519"/>
              <a:gd name="connsiteX3" fmla="*/ 6806152 w 6806152"/>
              <a:gd name="connsiteY3" fmla="*/ 6852519 h 6852519"/>
              <a:gd name="connsiteX4" fmla="*/ 3142 w 6806152"/>
              <a:gd name="connsiteY4" fmla="*/ 6852519 h 6852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6152" h="6852519">
                <a:moveTo>
                  <a:pt x="3142" y="6852519"/>
                </a:moveTo>
                <a:cubicBezTo>
                  <a:pt x="2095" y="4568346"/>
                  <a:pt x="1047" y="2284173"/>
                  <a:pt x="0" y="0"/>
                </a:cubicBezTo>
                <a:lnTo>
                  <a:pt x="4735952" y="995"/>
                </a:lnTo>
                <a:lnTo>
                  <a:pt x="6806152" y="6852519"/>
                </a:lnTo>
                <a:lnTo>
                  <a:pt x="3142" y="6852519"/>
                </a:lnTo>
                <a:close/>
              </a:path>
            </a:pathLst>
          </a:custGeom>
          <a:ln>
            <a:solidFill>
              <a:srgbClr val="414241"/>
            </a:solidFill>
          </a:ln>
        </p:spPr>
        <p:txBody>
          <a:bodyPr anchor="ctr"/>
          <a:lstStyle>
            <a:lvl1pPr algn="ctr">
              <a:defRPr>
                <a:solidFill>
                  <a:srgbClr val="B4009E"/>
                </a:solidFill>
              </a:defRPr>
            </a:lvl1pPr>
          </a:lstStyle>
          <a:p>
            <a:r>
              <a:rPr lang="en-US" dirty="0"/>
              <a:t>Click icon to</a:t>
            </a:r>
            <a:br>
              <a:rPr lang="en-US" dirty="0"/>
            </a:br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637146883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6" hidden="1"/>
          <p:cNvSpPr txBox="1">
            <a:spLocks/>
          </p:cNvSpPr>
          <p:nvPr userDrawn="1"/>
        </p:nvSpPr>
        <p:spPr>
          <a:xfrm>
            <a:off x="10529456" y="6553200"/>
            <a:ext cx="1663691" cy="3048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>
                <a:solidFill>
                  <a:srgbClr val="666666"/>
                </a:solidFill>
              </a:rPr>
              <a:t>MICROSOFT CONFIDENTIA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idx="1" hasCustomPrompt="1"/>
          </p:nvPr>
        </p:nvSpPr>
        <p:spPr>
          <a:xfrm>
            <a:off x="457200" y="457200"/>
            <a:ext cx="11277599" cy="5638800"/>
          </a:xfrm>
          <a:prstGeom prst="rect">
            <a:avLst/>
          </a:prstGeom>
        </p:spPr>
        <p:txBody>
          <a:bodyPr vert="horz" lIns="0" tIns="0" rIns="0" bIns="91440" rtlCol="0" anchor="ctr" anchorCtr="0">
            <a:normAutofit/>
          </a:bodyPr>
          <a:lstStyle>
            <a:lvl1pPr>
              <a:lnSpc>
                <a:spcPct val="110000"/>
              </a:lnSpc>
              <a:spcAft>
                <a:spcPts val="1200"/>
              </a:spcAft>
              <a:defRPr sz="4400" b="1" i="0">
                <a:solidFill>
                  <a:schemeClr val="tx1"/>
                </a:solidFill>
                <a:latin typeface="Segoe Pro Semibold" charset="0"/>
                <a:ea typeface="Segoe Pro Semibold" charset="0"/>
                <a:cs typeface="Segoe Pro Semibold" charset="0"/>
              </a:defRPr>
            </a:lvl1pPr>
            <a:lvl2pPr>
              <a:lnSpc>
                <a:spcPct val="110000"/>
              </a:lnSpc>
              <a:defRPr sz="2400" b="0" i="0">
                <a:solidFill>
                  <a:schemeClr val="tx1"/>
                </a:solidFill>
                <a:latin typeface="Segoe Pro" charset="0"/>
                <a:ea typeface="Segoe Pro" charset="0"/>
                <a:cs typeface="Segoe Pro" charset="0"/>
              </a:defRPr>
            </a:lvl2pPr>
            <a:lvl3pPr>
              <a:lnSpc>
                <a:spcPct val="110000"/>
              </a:lnSpc>
              <a:defRPr sz="2000" b="0" i="0">
                <a:solidFill>
                  <a:schemeClr val="tx1"/>
                </a:solidFill>
                <a:latin typeface="Segoe Pro" charset="0"/>
                <a:ea typeface="Segoe Pro" charset="0"/>
                <a:cs typeface="Segoe Pro" charset="0"/>
              </a:defRPr>
            </a:lvl3pPr>
            <a:lvl4pPr>
              <a:defRPr>
                <a:solidFill>
                  <a:schemeClr val="bg2">
                    <a:lumMod val="60000"/>
                    <a:lumOff val="40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 Subhead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FF4F531-1753-1544-8A42-F788362A04E3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420453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F4D8D864-CFA6-477D-A4B4-FED8B0945667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6103952" y="3276600"/>
            <a:ext cx="5622897" cy="2819400"/>
          </a:xfrm>
          <a:prstGeom prst="rect">
            <a:avLst/>
          </a:prstGeom>
        </p:spPr>
        <p:txBody>
          <a:bodyPr vert="horz" wrap="square" lIns="0" tIns="0" rIns="18288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Footer Placeholder 6" hidden="1"/>
          <p:cNvSpPr txBox="1">
            <a:spLocks/>
          </p:cNvSpPr>
          <p:nvPr userDrawn="1"/>
        </p:nvSpPr>
        <p:spPr>
          <a:xfrm>
            <a:off x="10529456" y="6553200"/>
            <a:ext cx="1663691" cy="3048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>
                <a:solidFill>
                  <a:srgbClr val="666666"/>
                </a:solidFill>
              </a:rPr>
              <a:t>MICROSOFT CONFIDENTIAL</a:t>
            </a:r>
          </a:p>
        </p:txBody>
      </p:sp>
      <p:sp>
        <p:nvSpPr>
          <p:cNvPr id="12" name="Title Placeholder 2">
            <a:extLst>
              <a:ext uri="{FF2B5EF4-FFF2-40B4-BE49-F238E27FC236}">
                <a16:creationId xmlns:a16="http://schemas.microsoft.com/office/drawing/2014/main" id="{E901D344-ED89-49CF-99A7-86594AEA4B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11277599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4400" b="1" i="0">
                <a:solidFill>
                  <a:schemeClr val="tx1"/>
                </a:solidFill>
                <a:latin typeface="Segoe Semibold" charset="0"/>
                <a:ea typeface="Segoe Semibold" charset="0"/>
                <a:cs typeface="Segoe Semibold" charset="0"/>
              </a:defRPr>
            </a:lvl1pPr>
          </a:lstStyle>
          <a:p>
            <a:r>
              <a:rPr lang="en-US" dirty="0"/>
              <a:t>About me…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C1627637-B5D0-ED45-8DF8-0E533AAA00D8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10325099" y="1181100"/>
            <a:ext cx="1409700" cy="140970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400" b="0">
                <a:solidFill>
                  <a:srgbClr val="B4009E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52D16FD-C54E-954A-88CB-7F7F7287BF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096000" y="1181100"/>
            <a:ext cx="4212129" cy="1028700"/>
          </a:xfrm>
          <a:prstGeom prst="rect">
            <a:avLst/>
          </a:prstGeom>
        </p:spPr>
        <p:txBody>
          <a:bodyPr lIns="0" tIns="274320" rIns="182880" anchor="t" anchorCtr="0"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600" b="0" i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witter: @handle</a:t>
            </a:r>
          </a:p>
          <a:p>
            <a:pPr lvl="0"/>
            <a:r>
              <a:rPr lang="en-US" dirty="0"/>
              <a:t>Email: </a:t>
            </a:r>
            <a:r>
              <a:rPr lang="en-US" dirty="0" err="1"/>
              <a:t>email@Microsoft.com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91CB2BC-111D-F649-A0EE-51B2CD7DCF8C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45711B6-47A7-4CF6-BE34-3532BF3BA1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6133" y="1181100"/>
            <a:ext cx="5622897" cy="4914900"/>
          </a:xfrm>
          <a:prstGeom prst="rect">
            <a:avLst/>
          </a:prstGeom>
        </p:spPr>
        <p:txBody>
          <a:bodyPr vert="horz" wrap="square" lIns="0" tIns="0" rIns="18288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7047606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ept 3-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1524208" y="1505652"/>
            <a:ext cx="1409284" cy="1077020"/>
          </a:xfrm>
        </p:spPr>
        <p:txBody>
          <a:bodyPr anchor="ctr"/>
          <a:lstStyle>
            <a:lvl1pPr algn="ctr">
              <a:defRPr sz="1600" b="1" i="0">
                <a:solidFill>
                  <a:srgbClr val="B4009E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5391358" y="1513780"/>
            <a:ext cx="1409284" cy="1077020"/>
          </a:xfrm>
        </p:spPr>
        <p:txBody>
          <a:bodyPr anchor="ctr"/>
          <a:lstStyle>
            <a:lvl1pPr algn="ctr">
              <a:defRPr sz="1600" b="1" i="0">
                <a:solidFill>
                  <a:srgbClr val="B4009E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3" name="Picture Placeholder 5"/>
          <p:cNvSpPr>
            <a:spLocks noGrp="1"/>
          </p:cNvSpPr>
          <p:nvPr>
            <p:ph type="pic" sz="quarter" idx="29"/>
          </p:nvPr>
        </p:nvSpPr>
        <p:spPr>
          <a:xfrm>
            <a:off x="9285461" y="1488127"/>
            <a:ext cx="1409284" cy="1077020"/>
          </a:xfrm>
        </p:spPr>
        <p:txBody>
          <a:bodyPr anchor="ctr"/>
          <a:lstStyle>
            <a:lvl1pPr algn="ctr">
              <a:defRPr sz="1600" b="1" i="0">
                <a:solidFill>
                  <a:srgbClr val="B4009E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Shape 69">
            <a:extLst>
              <a:ext uri="{FF2B5EF4-FFF2-40B4-BE49-F238E27FC236}">
                <a16:creationId xmlns:a16="http://schemas.microsoft.com/office/drawing/2014/main" id="{50DF9F24-F2BD-4DEC-BF54-5080F302503F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4347972" y="3276600"/>
            <a:ext cx="3496057" cy="2095500"/>
          </a:xfrm>
          <a:prstGeom prst="rect">
            <a:avLst/>
          </a:prstGeom>
        </p:spPr>
        <p:txBody>
          <a:bodyPr vert="horz" wrap="square" lIns="67222" tIns="0" rIns="67222" bIns="0" rtlCol="0" anchor="t">
            <a:noAutofit/>
          </a:bodyPr>
          <a:lstStyle>
            <a:lvl1pPr algn="ctr">
              <a:defRPr sz="2000" b="0" dirty="0">
                <a:solidFill>
                  <a:schemeClr val="tx1"/>
                </a:solidFill>
                <a:latin typeface="+mn-lt"/>
                <a:ea typeface="Segoe UI" pitchFamily="34" charset="0"/>
                <a:cs typeface="Segoe UI Semibold" panose="020B0702040204020203" pitchFamily="34" charset="0"/>
              </a:defRPr>
            </a:lvl1pPr>
          </a:lstStyle>
          <a:p>
            <a:pPr lvl="0" algn="ctr" defTabSz="914367">
              <a:spcBef>
                <a:spcPts val="0"/>
              </a:spcBef>
              <a:spcAft>
                <a:spcPts val="1176"/>
              </a:spcAft>
              <a:buFont typeface="Arial"/>
            </a:pPr>
            <a:r>
              <a:rPr lang="en-US" dirty="0"/>
              <a:t>level one</a:t>
            </a:r>
          </a:p>
          <a:p>
            <a:pPr lvl="0" algn="ctr" defTabSz="914367">
              <a:spcBef>
                <a:spcPts val="0"/>
              </a:spcBef>
              <a:spcAft>
                <a:spcPts val="1176"/>
              </a:spcAft>
              <a:buFont typeface="Arial"/>
            </a:pPr>
            <a:r>
              <a:rPr lang="en-US" dirty="0"/>
              <a:t>level two</a:t>
            </a:r>
          </a:p>
        </p:txBody>
      </p:sp>
      <p:sp>
        <p:nvSpPr>
          <p:cNvPr id="25" name="Shape 69">
            <a:extLst>
              <a:ext uri="{FF2B5EF4-FFF2-40B4-BE49-F238E27FC236}">
                <a16:creationId xmlns:a16="http://schemas.microsoft.com/office/drawing/2014/main" id="{452ABE62-CCEE-407B-B879-4F04AA8A85B2}"/>
              </a:ext>
            </a:extLst>
          </p:cNvPr>
          <p:cNvSpPr txBox="1">
            <a:spLocks noGrp="1"/>
          </p:cNvSpPr>
          <p:nvPr>
            <p:ph type="body" idx="23" hasCustomPrompt="1"/>
          </p:nvPr>
        </p:nvSpPr>
        <p:spPr>
          <a:xfrm>
            <a:off x="8229600" y="3276600"/>
            <a:ext cx="3503300" cy="2095501"/>
          </a:xfrm>
          <a:prstGeom prst="rect">
            <a:avLst/>
          </a:prstGeom>
        </p:spPr>
        <p:txBody>
          <a:bodyPr vert="horz" wrap="square" lIns="67222" tIns="0" rIns="67222" bIns="0" rtlCol="0" anchor="t">
            <a:noAutofit/>
          </a:bodyPr>
          <a:lstStyle>
            <a:lvl1pPr algn="ctr">
              <a:defRPr sz="2000" b="0" dirty="0">
                <a:solidFill>
                  <a:schemeClr val="tx1"/>
                </a:solidFill>
                <a:latin typeface="+mn-lt"/>
                <a:ea typeface="Segoe UI" pitchFamily="34" charset="0"/>
                <a:cs typeface="Segoe UI Semibold" panose="020B0702040204020203" pitchFamily="34" charset="0"/>
              </a:defRPr>
            </a:lvl1pPr>
          </a:lstStyle>
          <a:p>
            <a:pPr lvl="0" algn="ctr" defTabSz="914367">
              <a:spcBef>
                <a:spcPts val="0"/>
              </a:spcBef>
              <a:spcAft>
                <a:spcPts val="1176"/>
              </a:spcAft>
              <a:buFont typeface="Arial"/>
            </a:pPr>
            <a:r>
              <a:rPr lang="en-US" dirty="0"/>
              <a:t>level one</a:t>
            </a:r>
          </a:p>
          <a:p>
            <a:pPr lvl="0" algn="ctr" defTabSz="914367">
              <a:spcBef>
                <a:spcPts val="0"/>
              </a:spcBef>
              <a:spcAft>
                <a:spcPts val="1176"/>
              </a:spcAft>
              <a:buFont typeface="Arial"/>
            </a:pPr>
            <a:r>
              <a:rPr lang="en-US" dirty="0"/>
              <a:t>level two</a:t>
            </a:r>
          </a:p>
        </p:txBody>
      </p:sp>
      <p:sp>
        <p:nvSpPr>
          <p:cNvPr id="26" name="Shape 78">
            <a:extLst>
              <a:ext uri="{FF2B5EF4-FFF2-40B4-BE49-F238E27FC236}">
                <a16:creationId xmlns:a16="http://schemas.microsoft.com/office/drawing/2014/main" id="{ED9E8697-A9C3-4FDC-9D6C-2B35F242E978}"/>
              </a:ext>
            </a:extLst>
          </p:cNvPr>
          <p:cNvSpPr txBox="1">
            <a:spLocks noGrp="1"/>
          </p:cNvSpPr>
          <p:nvPr>
            <p:ph type="body" idx="7" hasCustomPrompt="1"/>
          </p:nvPr>
        </p:nvSpPr>
        <p:spPr>
          <a:xfrm>
            <a:off x="4347972" y="2602431"/>
            <a:ext cx="3496057" cy="685800"/>
          </a:xfrm>
          <a:prstGeom prst="rect">
            <a:avLst/>
          </a:prstGeom>
          <a:ln>
            <a:noFill/>
          </a:ln>
        </p:spPr>
        <p:txBody>
          <a:bodyPr vert="horz" wrap="square" lIns="67222" tIns="67222" rIns="67222" bIns="67222" rtlCol="0" anchor="ctr">
            <a:noAutofit/>
          </a:bodyPr>
          <a:lstStyle>
            <a:lvl1pPr algn="ctr">
              <a:defRPr lang="en-US" sz="2000" b="1" i="0" dirty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 algn="ctr" defTabSz="914367">
              <a:spcAft>
                <a:spcPts val="588"/>
              </a:spcAft>
            </a:pPr>
            <a:r>
              <a:rPr lang="en-US" dirty="0"/>
              <a:t>Column 2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CF4B441F-C8E2-46EF-B6C0-23A6E8BDE1DB}"/>
              </a:ext>
            </a:extLst>
          </p:cNvPr>
          <p:cNvCxnSpPr>
            <a:cxnSpLocks/>
          </p:cNvCxnSpPr>
          <p:nvPr userDrawn="1"/>
        </p:nvCxnSpPr>
        <p:spPr>
          <a:xfrm flipV="1">
            <a:off x="457200" y="3282800"/>
            <a:ext cx="3543301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30" name="Shape 78">
            <a:extLst>
              <a:ext uri="{FF2B5EF4-FFF2-40B4-BE49-F238E27FC236}">
                <a16:creationId xmlns:a16="http://schemas.microsoft.com/office/drawing/2014/main" id="{F65B4093-2B95-4F31-BE02-FE267F2C7256}"/>
              </a:ext>
            </a:extLst>
          </p:cNvPr>
          <p:cNvSpPr txBox="1">
            <a:spLocks noGrp="1"/>
          </p:cNvSpPr>
          <p:nvPr>
            <p:ph type="body" idx="30" hasCustomPrompt="1"/>
          </p:nvPr>
        </p:nvSpPr>
        <p:spPr>
          <a:xfrm>
            <a:off x="457201" y="2602419"/>
            <a:ext cx="3543300" cy="689328"/>
          </a:xfrm>
          <a:prstGeom prst="rect">
            <a:avLst/>
          </a:prstGeom>
          <a:ln>
            <a:noFill/>
          </a:ln>
        </p:spPr>
        <p:txBody>
          <a:bodyPr vert="horz" wrap="square" lIns="67222" tIns="67222" rIns="67222" bIns="67222" rtlCol="0" anchor="ctr">
            <a:noAutofit/>
          </a:bodyPr>
          <a:lstStyle>
            <a:lvl1pPr algn="ctr">
              <a:defRPr lang="en-US" sz="2000" b="1" i="0" dirty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 algn="ctr" defTabSz="914367">
              <a:spcAft>
                <a:spcPts val="588"/>
              </a:spcAft>
            </a:pPr>
            <a:r>
              <a:rPr lang="en-US" dirty="0"/>
              <a:t>Column 1</a:t>
            </a:r>
          </a:p>
        </p:txBody>
      </p:sp>
      <p:sp>
        <p:nvSpPr>
          <p:cNvPr id="31" name="Shape 78">
            <a:extLst>
              <a:ext uri="{FF2B5EF4-FFF2-40B4-BE49-F238E27FC236}">
                <a16:creationId xmlns:a16="http://schemas.microsoft.com/office/drawing/2014/main" id="{BC5E1042-00D9-4CC5-A8F0-6D5351A81028}"/>
              </a:ext>
            </a:extLst>
          </p:cNvPr>
          <p:cNvSpPr txBox="1">
            <a:spLocks noGrp="1"/>
          </p:cNvSpPr>
          <p:nvPr>
            <p:ph type="body" idx="31" hasCustomPrompt="1"/>
          </p:nvPr>
        </p:nvSpPr>
        <p:spPr>
          <a:xfrm>
            <a:off x="8229600" y="2602431"/>
            <a:ext cx="3505200" cy="685800"/>
          </a:xfrm>
          <a:prstGeom prst="rect">
            <a:avLst/>
          </a:prstGeom>
          <a:ln>
            <a:noFill/>
          </a:ln>
        </p:spPr>
        <p:txBody>
          <a:bodyPr vert="horz" wrap="square" lIns="67222" tIns="67222" rIns="67222" bIns="67222" rtlCol="0" anchor="ctr">
            <a:noAutofit/>
          </a:bodyPr>
          <a:lstStyle>
            <a:lvl1pPr algn="ctr">
              <a:defRPr lang="en-US" sz="2000" b="1" i="0" dirty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 algn="ctr" defTabSz="914367">
              <a:spcAft>
                <a:spcPts val="588"/>
              </a:spcAft>
            </a:pPr>
            <a:r>
              <a:rPr lang="en-US" dirty="0"/>
              <a:t>Column 3</a:t>
            </a:r>
          </a:p>
        </p:txBody>
      </p:sp>
      <p:sp>
        <p:nvSpPr>
          <p:cNvPr id="32" name="Shape 69">
            <a:extLst>
              <a:ext uri="{FF2B5EF4-FFF2-40B4-BE49-F238E27FC236}">
                <a16:creationId xmlns:a16="http://schemas.microsoft.com/office/drawing/2014/main" id="{D0DB858D-C909-4D63-B4BA-450AB7BC6813}"/>
              </a:ext>
            </a:extLst>
          </p:cNvPr>
          <p:cNvSpPr txBox="1">
            <a:spLocks noGrp="1"/>
          </p:cNvSpPr>
          <p:nvPr>
            <p:ph type="body" idx="32" hasCustomPrompt="1"/>
          </p:nvPr>
        </p:nvSpPr>
        <p:spPr>
          <a:xfrm>
            <a:off x="457200" y="3276600"/>
            <a:ext cx="3543301" cy="2095501"/>
          </a:xfrm>
          <a:prstGeom prst="rect">
            <a:avLst/>
          </a:prstGeom>
        </p:spPr>
        <p:txBody>
          <a:bodyPr vert="horz" wrap="square" lIns="67222" tIns="0" rIns="67222" bIns="0" rtlCol="0" anchor="t">
            <a:noAutofit/>
          </a:bodyPr>
          <a:lstStyle>
            <a:lvl1pPr algn="ctr">
              <a:defRPr sz="2000" b="0" dirty="0">
                <a:solidFill>
                  <a:schemeClr val="tx1"/>
                </a:solidFill>
                <a:latin typeface="+mn-lt"/>
                <a:ea typeface="Segoe UI" pitchFamily="34" charset="0"/>
                <a:cs typeface="Segoe UI Semibold" panose="020B0702040204020203" pitchFamily="34" charset="0"/>
              </a:defRPr>
            </a:lvl1pPr>
          </a:lstStyle>
          <a:p>
            <a:pPr lvl="0" algn="ctr" defTabSz="914367">
              <a:spcBef>
                <a:spcPts val="0"/>
              </a:spcBef>
              <a:spcAft>
                <a:spcPts val="1176"/>
              </a:spcAft>
              <a:buFont typeface="Arial"/>
            </a:pPr>
            <a:r>
              <a:rPr lang="en-US" dirty="0"/>
              <a:t>level one</a:t>
            </a:r>
          </a:p>
          <a:p>
            <a:pPr lvl="0" algn="ctr" defTabSz="914367">
              <a:spcBef>
                <a:spcPts val="0"/>
              </a:spcBef>
              <a:spcAft>
                <a:spcPts val="1176"/>
              </a:spcAft>
              <a:buFont typeface="Arial"/>
            </a:pPr>
            <a:r>
              <a:rPr lang="en-US" dirty="0"/>
              <a:t>level two</a:t>
            </a:r>
          </a:p>
        </p:txBody>
      </p:sp>
      <p:sp>
        <p:nvSpPr>
          <p:cNvPr id="33" name="Title Placeholder 2">
            <a:extLst>
              <a:ext uri="{FF2B5EF4-FFF2-40B4-BE49-F238E27FC236}">
                <a16:creationId xmlns:a16="http://schemas.microsoft.com/office/drawing/2014/main" id="{2C1FE9BA-3B57-4CA6-8333-A470390E73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600" cy="7239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F4B441F-C8E2-46EF-B6C0-23A6E8BDE1DB}"/>
              </a:ext>
            </a:extLst>
          </p:cNvPr>
          <p:cNvCxnSpPr>
            <a:cxnSpLocks/>
          </p:cNvCxnSpPr>
          <p:nvPr userDrawn="1"/>
        </p:nvCxnSpPr>
        <p:spPr>
          <a:xfrm flipV="1">
            <a:off x="4324350" y="3282800"/>
            <a:ext cx="3543301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CF4B441F-C8E2-46EF-B6C0-23A6E8BDE1DB}"/>
              </a:ext>
            </a:extLst>
          </p:cNvPr>
          <p:cNvCxnSpPr>
            <a:cxnSpLocks/>
          </p:cNvCxnSpPr>
          <p:nvPr userDrawn="1"/>
        </p:nvCxnSpPr>
        <p:spPr>
          <a:xfrm>
            <a:off x="8229600" y="3282800"/>
            <a:ext cx="3518402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56B6142-BE00-C841-A15F-937FA7A70E4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624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fidentiali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ept 2-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1866901" y="1433156"/>
            <a:ext cx="2819400" cy="1634103"/>
          </a:xfrm>
        </p:spPr>
        <p:txBody>
          <a:bodyPr anchor="ctr"/>
          <a:lstStyle>
            <a:lvl1pPr algn="ctr">
              <a:defRPr sz="1600" b="1" i="0">
                <a:solidFill>
                  <a:srgbClr val="B4009E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29"/>
          </p:nvPr>
        </p:nvSpPr>
        <p:spPr>
          <a:xfrm>
            <a:off x="7505699" y="1433157"/>
            <a:ext cx="2819401" cy="1634102"/>
          </a:xfrm>
        </p:spPr>
        <p:txBody>
          <a:bodyPr anchor="ctr"/>
          <a:lstStyle>
            <a:lvl1pPr algn="ctr">
              <a:defRPr sz="1600" b="1" i="0">
                <a:solidFill>
                  <a:srgbClr val="B4009E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Shape 69">
            <a:extLst>
              <a:ext uri="{FF2B5EF4-FFF2-40B4-BE49-F238E27FC236}">
                <a16:creationId xmlns:a16="http://schemas.microsoft.com/office/drawing/2014/main" id="{DA909CD3-D031-4644-961E-3BAEF5FC557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6095998" y="3998873"/>
            <a:ext cx="5638801" cy="2097128"/>
          </a:xfrm>
          <a:prstGeom prst="rect">
            <a:avLst/>
          </a:prstGeom>
        </p:spPr>
        <p:txBody>
          <a:bodyPr vert="horz" wrap="square" lIns="91440" tIns="91440" rIns="91440" bIns="0" rtlCol="0" anchor="t">
            <a:noAutofit/>
          </a:bodyPr>
          <a:lstStyle>
            <a:lvl1pPr algn="ctr">
              <a:defRPr sz="20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 algn="ctr" defTabSz="914367">
              <a:spcBef>
                <a:spcPts val="0"/>
              </a:spcBef>
              <a:spcAft>
                <a:spcPts val="1176"/>
              </a:spcAft>
              <a:buFont typeface="Arial"/>
            </a:pPr>
            <a:r>
              <a:rPr lang="en-US" dirty="0"/>
              <a:t>level one</a:t>
            </a:r>
          </a:p>
          <a:p>
            <a:pPr lvl="0" algn="ctr" defTabSz="914367">
              <a:spcBef>
                <a:spcPts val="0"/>
              </a:spcBef>
              <a:spcAft>
                <a:spcPts val="1176"/>
              </a:spcAft>
              <a:buFont typeface="Arial"/>
            </a:pPr>
            <a:r>
              <a:rPr lang="en-US" dirty="0"/>
              <a:t>level two</a:t>
            </a:r>
          </a:p>
        </p:txBody>
      </p:sp>
      <p:sp>
        <p:nvSpPr>
          <p:cNvPr id="23" name="Shape 78">
            <a:extLst>
              <a:ext uri="{FF2B5EF4-FFF2-40B4-BE49-F238E27FC236}">
                <a16:creationId xmlns:a16="http://schemas.microsoft.com/office/drawing/2014/main" id="{86F28D81-7603-4E02-9F5E-B52509955F9D}"/>
              </a:ext>
            </a:extLst>
          </p:cNvPr>
          <p:cNvSpPr txBox="1">
            <a:spLocks noGrp="1"/>
          </p:cNvSpPr>
          <p:nvPr>
            <p:ph type="body" idx="7" hasCustomPrompt="1"/>
          </p:nvPr>
        </p:nvSpPr>
        <p:spPr>
          <a:xfrm>
            <a:off x="6095999" y="3276600"/>
            <a:ext cx="5638798" cy="723900"/>
          </a:xfrm>
          <a:prstGeom prst="rect">
            <a:avLst/>
          </a:prstGeom>
          <a:ln>
            <a:noFill/>
          </a:ln>
        </p:spPr>
        <p:txBody>
          <a:bodyPr vert="horz" wrap="square" lIns="67222" tIns="67222" rIns="67222" bIns="67222" rtlCol="0" anchor="ctr">
            <a:noAutofit/>
          </a:bodyPr>
          <a:lstStyle>
            <a:lvl1pPr algn="ctr">
              <a:defRPr lang="en-US" sz="2000" b="1" i="0" dirty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 algn="ctr" defTabSz="914367">
              <a:spcAft>
                <a:spcPts val="588"/>
              </a:spcAft>
            </a:pPr>
            <a:r>
              <a:rPr lang="en-US" dirty="0"/>
              <a:t>Column 2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3A68F424-EA1D-4D7C-A4B5-5D8BC32C7BFB}"/>
              </a:ext>
            </a:extLst>
          </p:cNvPr>
          <p:cNvCxnSpPr>
            <a:cxnSpLocks/>
          </p:cNvCxnSpPr>
          <p:nvPr userDrawn="1"/>
        </p:nvCxnSpPr>
        <p:spPr>
          <a:xfrm>
            <a:off x="1181100" y="3909418"/>
            <a:ext cx="42291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EA6FB7B6-28C9-4460-8677-F7C9633207B5}"/>
              </a:ext>
            </a:extLst>
          </p:cNvPr>
          <p:cNvCxnSpPr>
            <a:cxnSpLocks/>
          </p:cNvCxnSpPr>
          <p:nvPr userDrawn="1"/>
        </p:nvCxnSpPr>
        <p:spPr>
          <a:xfrm>
            <a:off x="6819900" y="3916700"/>
            <a:ext cx="41910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26" name="Shape 78">
            <a:extLst>
              <a:ext uri="{FF2B5EF4-FFF2-40B4-BE49-F238E27FC236}">
                <a16:creationId xmlns:a16="http://schemas.microsoft.com/office/drawing/2014/main" id="{6F67237B-0079-4730-BA0A-EFD67517C184}"/>
              </a:ext>
            </a:extLst>
          </p:cNvPr>
          <p:cNvSpPr txBox="1">
            <a:spLocks noGrp="1"/>
          </p:cNvSpPr>
          <p:nvPr>
            <p:ph type="body" idx="30" hasCustomPrompt="1"/>
          </p:nvPr>
        </p:nvSpPr>
        <p:spPr>
          <a:xfrm>
            <a:off x="457201" y="3279529"/>
            <a:ext cx="5638800" cy="719343"/>
          </a:xfrm>
          <a:prstGeom prst="rect">
            <a:avLst/>
          </a:prstGeom>
          <a:ln>
            <a:noFill/>
          </a:ln>
        </p:spPr>
        <p:txBody>
          <a:bodyPr vert="horz" wrap="square" lIns="67222" tIns="67222" rIns="67222" bIns="67222" rtlCol="0" anchor="ctr">
            <a:noAutofit/>
          </a:bodyPr>
          <a:lstStyle>
            <a:lvl1pPr algn="ctr">
              <a:defRPr lang="en-US" sz="2000" b="1" i="0" dirty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 algn="ctr" defTabSz="914367">
              <a:spcAft>
                <a:spcPts val="588"/>
              </a:spcAft>
            </a:pPr>
            <a:r>
              <a:rPr lang="en-US" dirty="0"/>
              <a:t>Column 1</a:t>
            </a:r>
          </a:p>
        </p:txBody>
      </p:sp>
      <p:sp>
        <p:nvSpPr>
          <p:cNvPr id="27" name="Shape 69">
            <a:extLst>
              <a:ext uri="{FF2B5EF4-FFF2-40B4-BE49-F238E27FC236}">
                <a16:creationId xmlns:a16="http://schemas.microsoft.com/office/drawing/2014/main" id="{AEED71C8-01E7-4E81-A0EB-0535EB83D4BE}"/>
              </a:ext>
            </a:extLst>
          </p:cNvPr>
          <p:cNvSpPr txBox="1">
            <a:spLocks noGrp="1"/>
          </p:cNvSpPr>
          <p:nvPr>
            <p:ph type="body" idx="32" hasCustomPrompt="1"/>
          </p:nvPr>
        </p:nvSpPr>
        <p:spPr>
          <a:xfrm>
            <a:off x="457200" y="3999831"/>
            <a:ext cx="5638799" cy="2096169"/>
          </a:xfrm>
          <a:prstGeom prst="rect">
            <a:avLst/>
          </a:prstGeom>
        </p:spPr>
        <p:txBody>
          <a:bodyPr vert="horz" wrap="square" lIns="91440" tIns="91440" rIns="91440" bIns="0" rtlCol="0" anchor="t">
            <a:noAutofit/>
          </a:bodyPr>
          <a:lstStyle>
            <a:lvl1pPr algn="ctr">
              <a:defRPr sz="20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 algn="ctr" defTabSz="914367">
              <a:spcBef>
                <a:spcPts val="0"/>
              </a:spcBef>
              <a:spcAft>
                <a:spcPts val="1176"/>
              </a:spcAft>
              <a:buFont typeface="Arial"/>
            </a:pPr>
            <a:r>
              <a:rPr lang="en-US" dirty="0"/>
              <a:t>level one</a:t>
            </a:r>
          </a:p>
          <a:p>
            <a:pPr lvl="0" algn="ctr" defTabSz="914367">
              <a:spcBef>
                <a:spcPts val="0"/>
              </a:spcBef>
              <a:spcAft>
                <a:spcPts val="1176"/>
              </a:spcAft>
              <a:buFont typeface="Arial"/>
            </a:pPr>
            <a:r>
              <a:rPr lang="en-US" dirty="0"/>
              <a:t>level two</a:t>
            </a:r>
          </a:p>
        </p:txBody>
      </p:sp>
      <p:sp>
        <p:nvSpPr>
          <p:cNvPr id="28" name="Title Placeholder 2">
            <a:extLst>
              <a:ext uri="{FF2B5EF4-FFF2-40B4-BE49-F238E27FC236}">
                <a16:creationId xmlns:a16="http://schemas.microsoft.com/office/drawing/2014/main" id="{8978FE4F-86FF-40F7-BEC9-11D7612E62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600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b="1" i="0">
                <a:solidFill>
                  <a:schemeClr val="tx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89B8D54-B0B9-6E4D-B7AE-B502B5822B43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9533797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idenc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6" hidden="1"/>
          <p:cNvSpPr txBox="1">
            <a:spLocks/>
          </p:cNvSpPr>
          <p:nvPr userDrawn="1"/>
        </p:nvSpPr>
        <p:spPr>
          <a:xfrm>
            <a:off x="10529456" y="6553200"/>
            <a:ext cx="1663691" cy="3048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>
                <a:solidFill>
                  <a:srgbClr val="666666"/>
                </a:solidFill>
              </a:rPr>
              <a:t>MICROSOFT CONFIDENTIA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457200" y="1051560"/>
            <a:ext cx="9867900" cy="669332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400" b="1" i="0">
                <a:solidFill>
                  <a:schemeClr val="tx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One-line summary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2" hasCustomPrompt="1"/>
          </p:nvPr>
        </p:nvSpPr>
        <p:spPr>
          <a:xfrm>
            <a:off x="7505700" y="4702768"/>
            <a:ext cx="4229100" cy="1698031"/>
          </a:xfrm>
          <a:prstGeom prst="rect">
            <a:avLst/>
          </a:prstGeom>
        </p:spPr>
        <p:txBody>
          <a:bodyPr vert="horz" lIns="137160" tIns="109728" rIns="137160" bIns="109728" rtlCol="0" anchor="t">
            <a:noAutofit/>
          </a:bodyPr>
          <a:lstStyle>
            <a:lvl1pPr>
              <a:defRPr kumimoji="0" lang="en-US" sz="2000" i="0" u="none" strike="noStrike" cap="none" spc="0" normalizeH="0" baseline="0" dirty="0">
                <a:ln>
                  <a:noFill/>
                </a:ln>
                <a:solidFill>
                  <a:schemeClr val="accent2"/>
                </a:solidFill>
                <a:uLnTx/>
                <a:uFillTx/>
                <a:latin typeface="Segoe UI Light"/>
                <a:cs typeface="+mn-cs"/>
              </a:defRPr>
            </a:lvl1pPr>
          </a:lstStyle>
          <a:p>
            <a:pPr marR="0" lvl="0" defTabSz="685800" fontAlgn="auto"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tabLst/>
            </a:pPr>
            <a:r>
              <a:rPr lang="en-US" dirty="0"/>
              <a:t>Killer quote or call-out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23" hasCustomPrompt="1"/>
          </p:nvPr>
        </p:nvSpPr>
        <p:spPr>
          <a:xfrm>
            <a:off x="7505700" y="1850433"/>
            <a:ext cx="4229100" cy="2835867"/>
          </a:xfrm>
        </p:spPr>
        <p:txBody>
          <a:bodyPr anchor="ctr"/>
          <a:lstStyle>
            <a:lvl1pPr algn="ctr">
              <a:defRPr>
                <a:solidFill>
                  <a:srgbClr val="B4009E"/>
                </a:solidFill>
              </a:defRPr>
            </a:lvl1pPr>
          </a:lstStyle>
          <a:p>
            <a:r>
              <a:rPr lang="en-US" dirty="0"/>
              <a:t>Screenshot of app</a:t>
            </a:r>
          </a:p>
        </p:txBody>
      </p:sp>
      <p:sp>
        <p:nvSpPr>
          <p:cNvPr id="11" name="Picture Placeholder 5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10325100" y="457200"/>
            <a:ext cx="1409700" cy="1409700"/>
          </a:xfrm>
        </p:spPr>
        <p:txBody>
          <a:bodyPr anchor="ctr"/>
          <a:lstStyle>
            <a:lvl1pPr algn="ctr">
              <a:defRPr sz="1600">
                <a:solidFill>
                  <a:srgbClr val="B4009E"/>
                </a:solidFill>
              </a:defRPr>
            </a:lvl1pPr>
          </a:lstStyle>
          <a:p>
            <a:r>
              <a:rPr lang="en-US" dirty="0"/>
              <a:t>App icon</a:t>
            </a:r>
          </a:p>
        </p:txBody>
      </p:sp>
      <p:sp>
        <p:nvSpPr>
          <p:cNvPr id="18" name="Title Placeholder 2">
            <a:extLst>
              <a:ext uri="{FF2B5EF4-FFF2-40B4-BE49-F238E27FC236}">
                <a16:creationId xmlns:a16="http://schemas.microsoft.com/office/drawing/2014/main" id="{CD07E1E7-510F-478E-A61F-831872E92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1"/>
            <a:ext cx="9867900" cy="59435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38D0870-56E3-CC4D-A4D2-14FCF7EBAD7D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5F529DB-55F5-443A-A153-4B9166B90D1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866899"/>
            <a:ext cx="6858000" cy="4533899"/>
          </a:xfrm>
          <a:prstGeom prst="rect">
            <a:avLst/>
          </a:prstGeom>
        </p:spPr>
        <p:txBody>
          <a:bodyPr vert="horz" wrap="square" lIns="0" tIns="0" rIns="18288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07276791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efit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69"/>
          <p:cNvSpPr txBox="1">
            <a:spLocks noGrp="1"/>
          </p:cNvSpPr>
          <p:nvPr>
            <p:ph type="body" idx="1" hasCustomPrompt="1"/>
          </p:nvPr>
        </p:nvSpPr>
        <p:spPr>
          <a:xfrm>
            <a:off x="6103281" y="4851708"/>
            <a:ext cx="5615580" cy="1564792"/>
          </a:xfrm>
          <a:prstGeom prst="rect">
            <a:avLst/>
          </a:prstGeom>
          <a:noFill/>
          <a:ln w="12700">
            <a:noFill/>
          </a:ln>
        </p:spPr>
        <p:txBody>
          <a:bodyPr vert="horz" lIns="182880" tIns="0" rIns="0" bIns="0" rtlCol="0">
            <a:normAutofit/>
          </a:bodyPr>
          <a:lstStyle>
            <a:lvl1pPr marL="0" indent="0">
              <a:defRPr sz="2000" b="0" dirty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Reason to believe</a:t>
            </a:r>
          </a:p>
          <a:p>
            <a:pPr lvl="0"/>
            <a:r>
              <a:rPr lang="en-US" dirty="0"/>
              <a:t>Reason to believe</a:t>
            </a:r>
          </a:p>
        </p:txBody>
      </p:sp>
      <p:sp>
        <p:nvSpPr>
          <p:cNvPr id="12" name="Shape 69"/>
          <p:cNvSpPr txBox="1">
            <a:spLocks noGrp="1"/>
          </p:cNvSpPr>
          <p:nvPr>
            <p:ph type="body" idx="23" hasCustomPrompt="1"/>
          </p:nvPr>
        </p:nvSpPr>
        <p:spPr>
          <a:xfrm>
            <a:off x="6103281" y="2757189"/>
            <a:ext cx="5615580" cy="1412875"/>
          </a:xfrm>
          <a:prstGeom prst="rect">
            <a:avLst/>
          </a:prstGeom>
          <a:noFill/>
          <a:ln w="12700">
            <a:noFill/>
          </a:ln>
        </p:spPr>
        <p:txBody>
          <a:bodyPr vert="horz" lIns="182880" tIns="0" rIns="0" bIns="0" rtlCol="0">
            <a:normAutofit/>
          </a:bodyPr>
          <a:lstStyle>
            <a:lvl1pPr>
              <a:defRPr sz="2000" b="0" dirty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Reason to believe</a:t>
            </a:r>
          </a:p>
          <a:p>
            <a:pPr lvl="0"/>
            <a:r>
              <a:rPr lang="en-US" dirty="0"/>
              <a:t>Reason to believe</a:t>
            </a:r>
            <a:endParaRPr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73103" y="1866901"/>
            <a:ext cx="5630178" cy="4229099"/>
          </a:xfrm>
        </p:spPr>
        <p:txBody>
          <a:bodyPr anchor="ctr"/>
          <a:lstStyle>
            <a:lvl1pPr algn="ctr">
              <a:defRPr>
                <a:solidFill>
                  <a:srgbClr val="B4009E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1AFB50-C9C6-4A7E-95B0-BCD4CC5AD4B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03281" y="1866900"/>
            <a:ext cx="5615582" cy="581257"/>
          </a:xfrm>
        </p:spPr>
        <p:txBody>
          <a:bodyPr lIns="182880" anchor="b"/>
          <a:lstStyle>
            <a:lvl1pPr>
              <a:defRPr sz="2000" b="1" i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/>
            <a:r>
              <a:rPr lang="en-US" dirty="0"/>
              <a:t>Benefit statement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50E2ADD4-807F-4A38-AA9A-901D0FD363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03281" y="3960546"/>
            <a:ext cx="5615582" cy="581257"/>
          </a:xfrm>
        </p:spPr>
        <p:txBody>
          <a:bodyPr lIns="182880" anchor="b"/>
          <a:lstStyle>
            <a:lvl1pPr>
              <a:defRPr sz="2000" b="1" i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/>
            <a:r>
              <a:rPr lang="en-US" dirty="0"/>
              <a:t>Benefit statement</a:t>
            </a:r>
          </a:p>
        </p:txBody>
      </p:sp>
      <p:sp>
        <p:nvSpPr>
          <p:cNvPr id="18" name="Title Placeholder 2">
            <a:extLst>
              <a:ext uri="{FF2B5EF4-FFF2-40B4-BE49-F238E27FC236}">
                <a16:creationId xmlns:a16="http://schemas.microsoft.com/office/drawing/2014/main" id="{59110E6B-B1B3-4C17-A980-291E240D04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600" cy="59435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b="1" i="0">
                <a:solidFill>
                  <a:schemeClr val="tx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CE85EB5-4D05-7249-837C-024FBED97309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34E78E25-AA27-2840-A6EC-9C7A33D92FEF}"/>
              </a:ext>
            </a:extLst>
          </p:cNvPr>
          <p:cNvSpPr>
            <a:spLocks noGrp="1"/>
          </p:cNvSpPr>
          <p:nvPr>
            <p:ph type="subTitle" idx="30"/>
          </p:nvPr>
        </p:nvSpPr>
        <p:spPr>
          <a:xfrm>
            <a:off x="457200" y="1051560"/>
            <a:ext cx="11277600" cy="685800"/>
          </a:xfrm>
        </p:spPr>
        <p:txBody>
          <a:bodyPr/>
          <a:lstStyle>
            <a:lvl1pPr marL="0" indent="0" algn="l">
              <a:buNone/>
              <a:defRPr sz="2400" b="1" i="0" spc="-60" baseline="0">
                <a:latin typeface="Segoe UI Semibold" charset="0"/>
                <a:ea typeface="Segoe UI Semibold" charset="0"/>
                <a:cs typeface="Segoe UI Semi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9562569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efit Compl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7871125" y="1873851"/>
            <a:ext cx="716949" cy="716949"/>
          </a:xfrm>
          <a:prstGeom prst="ellipse">
            <a:avLst/>
          </a:prstGeom>
          <a:effectLst/>
        </p:spPr>
        <p:txBody>
          <a:bodyPr vert="horz" lIns="0" tIns="0" rIns="0" bIns="0" rtlCol="0" anchor="ctr">
            <a:noAutofit/>
          </a:bodyPr>
          <a:lstStyle>
            <a:lvl1pPr>
              <a:defRPr lang="en-US" sz="600" dirty="0">
                <a:ln>
                  <a:noFill/>
                </a:ln>
                <a:solidFill>
                  <a:srgbClr val="B4009E"/>
                </a:solidFill>
              </a:defRPr>
            </a:lvl1pPr>
          </a:lstStyle>
          <a:p>
            <a:pPr marL="0" lvl="0" indent="0" algn="ctr">
              <a:spcBef>
                <a:spcPts val="0"/>
              </a:spcBef>
              <a:buNone/>
            </a:pPr>
            <a:r>
              <a:rPr lang="en-US"/>
              <a:t>Click icon to add picture</a:t>
            </a:r>
          </a:p>
        </p:txBody>
      </p:sp>
      <p:sp>
        <p:nvSpPr>
          <p:cNvPr id="20" name="Shape 69"/>
          <p:cNvSpPr txBox="1">
            <a:spLocks noGrp="1"/>
          </p:cNvSpPr>
          <p:nvPr>
            <p:ph type="body" idx="23" hasCustomPrompt="1"/>
          </p:nvPr>
        </p:nvSpPr>
        <p:spPr>
          <a:xfrm>
            <a:off x="473102" y="5529995"/>
            <a:ext cx="7032813" cy="812800"/>
          </a:xfrm>
          <a:prstGeom prst="rect">
            <a:avLst/>
          </a:prstGeom>
        </p:spPr>
        <p:txBody>
          <a:bodyPr vert="horz" lIns="0" tIns="0" rIns="274320" bIns="0" rtlCol="0">
            <a:normAutofit/>
          </a:bodyPr>
          <a:lstStyle>
            <a:lvl1pPr marL="230188" indent="-171450">
              <a:buClrTx/>
              <a:buSzPct val="100000"/>
              <a:buFont typeface="Arial" charset="0"/>
              <a:buChar char="•"/>
              <a:defRPr sz="14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Bullet level one</a:t>
            </a:r>
          </a:p>
          <a:p>
            <a:pPr lvl="0">
              <a:spcBef>
                <a:spcPts val="0"/>
              </a:spcBef>
            </a:pPr>
            <a:r>
              <a:rPr lang="en-US" dirty="0"/>
              <a:t>Bullet level two</a:t>
            </a:r>
            <a:endParaRPr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10325100" y="1866901"/>
            <a:ext cx="1422400" cy="1416650"/>
          </a:xfrm>
          <a:prstGeom prst="rect">
            <a:avLst/>
          </a:prstGeom>
          <a:noFill/>
          <a:ln>
            <a:noFill/>
          </a:ln>
        </p:spPr>
        <p:txBody>
          <a:bodyPr vert="horz" lIns="91402" tIns="0" rIns="91402" bIns="0" rtlCol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/>
              <a:buNone/>
              <a:defRPr lang="en-US" sz="1400" b="1" i="0" dirty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marL="0" lvl="0"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Click to edit subtitle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10325100" y="3283551"/>
            <a:ext cx="1422400" cy="1402749"/>
          </a:xfrm>
          <a:prstGeom prst="rect">
            <a:avLst/>
          </a:prstGeom>
          <a:noFill/>
          <a:ln>
            <a:noFill/>
          </a:ln>
        </p:spPr>
        <p:txBody>
          <a:bodyPr vert="horz" lIns="91402" tIns="0" rIns="91402" bIns="0" rtlCol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/>
              <a:buNone/>
              <a:defRPr lang="en-US" sz="1400" b="1" i="0" dirty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marL="0" lvl="0">
              <a:spcBef>
                <a:spcPts val="1000"/>
              </a:spcBef>
              <a:buClr>
                <a:schemeClr val="accent1"/>
              </a:buClr>
            </a:pPr>
            <a:r>
              <a:rPr lang="en-US"/>
              <a:t>Click to edit subtitle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10325100" y="4686300"/>
            <a:ext cx="1422400" cy="1409700"/>
          </a:xfrm>
          <a:prstGeom prst="rect">
            <a:avLst/>
          </a:prstGeom>
          <a:noFill/>
          <a:ln>
            <a:noFill/>
          </a:ln>
        </p:spPr>
        <p:txBody>
          <a:bodyPr vert="horz" lIns="91402" tIns="0" rIns="91402" bIns="0" rtlCol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/>
              <a:buNone/>
              <a:tabLst/>
              <a:defRPr lang="en-US" sz="1400" b="1" i="0" dirty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marL="0" lvl="0"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Click to edit subtitle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32"/>
          </p:nvPr>
        </p:nvSpPr>
        <p:spPr>
          <a:xfrm>
            <a:off x="9242725" y="1873851"/>
            <a:ext cx="716949" cy="716949"/>
          </a:xfrm>
          <a:prstGeom prst="ellipse">
            <a:avLst/>
          </a:prstGeom>
          <a:effectLst/>
        </p:spPr>
        <p:txBody>
          <a:bodyPr vert="horz" lIns="0" tIns="0" rIns="0" bIns="0" rtlCol="0" anchor="ctr">
            <a:noAutofit/>
          </a:bodyPr>
          <a:lstStyle>
            <a:lvl1pPr>
              <a:defRPr lang="en-US" sz="600" dirty="0">
                <a:ln>
                  <a:noFill/>
                </a:ln>
                <a:solidFill>
                  <a:srgbClr val="B4009E"/>
                </a:solidFill>
              </a:defRPr>
            </a:lvl1pPr>
          </a:lstStyle>
          <a:p>
            <a:pPr marL="0" lvl="0" indent="0" algn="ctr">
              <a:spcBef>
                <a:spcPts val="0"/>
              </a:spcBef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5" hasCustomPrompt="1"/>
          </p:nvPr>
        </p:nvSpPr>
        <p:spPr>
          <a:xfrm>
            <a:off x="7505700" y="2639727"/>
            <a:ext cx="1409700" cy="640953"/>
          </a:xfrm>
          <a:prstGeom prst="rect">
            <a:avLst/>
          </a:prstGeom>
          <a:noFill/>
          <a:ln>
            <a:noFill/>
          </a:ln>
        </p:spPr>
        <p:txBody>
          <a:bodyPr vert="horz" lIns="91402" tIns="0" rIns="91402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en-US" sz="1400" b="1" i="0" dirty="0">
                <a:solidFill>
                  <a:schemeClr val="tx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marL="0" lvl="0"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38" hasCustomPrompt="1"/>
          </p:nvPr>
        </p:nvSpPr>
        <p:spPr>
          <a:xfrm>
            <a:off x="8915401" y="2640072"/>
            <a:ext cx="1409700" cy="636528"/>
          </a:xfrm>
          <a:prstGeom prst="rect">
            <a:avLst/>
          </a:prstGeom>
          <a:noFill/>
          <a:ln>
            <a:noFill/>
          </a:ln>
        </p:spPr>
        <p:txBody>
          <a:bodyPr vert="horz" lIns="91402" tIns="0" rIns="91402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en-US" sz="1400" b="1" i="0" dirty="0">
                <a:solidFill>
                  <a:schemeClr val="tx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marL="0" lvl="0"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</a:t>
            </a:r>
          </a:p>
        </p:txBody>
      </p:sp>
      <p:sp>
        <p:nvSpPr>
          <p:cNvPr id="37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457201" y="1051560"/>
            <a:ext cx="11277600" cy="358859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 typeface="Arial" charset="0"/>
              <a:buNone/>
              <a:defRPr sz="2800" b="1" i="0">
                <a:solidFill>
                  <a:schemeClr val="tx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8" name="Shape 69"/>
          <p:cNvSpPr txBox="1">
            <a:spLocks noGrp="1"/>
          </p:cNvSpPr>
          <p:nvPr>
            <p:ph type="body" idx="44" hasCustomPrompt="1"/>
          </p:nvPr>
        </p:nvSpPr>
        <p:spPr>
          <a:xfrm>
            <a:off x="473102" y="2420863"/>
            <a:ext cx="7032705" cy="812800"/>
          </a:xfrm>
          <a:prstGeom prst="rect">
            <a:avLst/>
          </a:prstGeom>
        </p:spPr>
        <p:txBody>
          <a:bodyPr vert="horz" lIns="0" tIns="0" rIns="274320" bIns="0" rtlCol="0">
            <a:normAutofit/>
          </a:bodyPr>
          <a:lstStyle>
            <a:lvl1pPr marL="230188" indent="-176213">
              <a:buClrTx/>
              <a:buSzPct val="100000"/>
              <a:buFont typeface="Arial" charset="0"/>
              <a:buChar char="•"/>
              <a:defRPr sz="14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Bullet level one</a:t>
            </a:r>
          </a:p>
          <a:p>
            <a:pPr lvl="0">
              <a:spcBef>
                <a:spcPts val="0"/>
              </a:spcBef>
            </a:pPr>
            <a:r>
              <a:rPr lang="en-US" dirty="0"/>
              <a:t>Bullet level two</a:t>
            </a:r>
            <a:endParaRPr dirty="0"/>
          </a:p>
        </p:txBody>
      </p:sp>
      <p:sp>
        <p:nvSpPr>
          <p:cNvPr id="41" name="Shape 69"/>
          <p:cNvSpPr txBox="1">
            <a:spLocks noGrp="1"/>
          </p:cNvSpPr>
          <p:nvPr>
            <p:ph type="body" idx="47" hasCustomPrompt="1"/>
          </p:nvPr>
        </p:nvSpPr>
        <p:spPr>
          <a:xfrm>
            <a:off x="473102" y="3961029"/>
            <a:ext cx="7032705" cy="812800"/>
          </a:xfrm>
          <a:prstGeom prst="rect">
            <a:avLst/>
          </a:prstGeom>
        </p:spPr>
        <p:txBody>
          <a:bodyPr vert="horz" lIns="0" tIns="0" rIns="274320" bIns="0" rtlCol="0">
            <a:normAutofit/>
          </a:bodyPr>
          <a:lstStyle>
            <a:lvl1pPr marL="230188" indent="-171450">
              <a:buClrTx/>
              <a:buSzPct val="100000"/>
              <a:buFont typeface="Arial" charset="0"/>
              <a:buChar char="•"/>
              <a:defRPr sz="14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Bullet level one</a:t>
            </a:r>
          </a:p>
          <a:p>
            <a:pPr lvl="0">
              <a:spcBef>
                <a:spcPts val="0"/>
              </a:spcBef>
            </a:pPr>
            <a:r>
              <a:rPr lang="en-US" dirty="0"/>
              <a:t>Bullet level two</a:t>
            </a:r>
            <a:endParaRPr dirty="0"/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DBC2D7F7-6E7E-44B0-9137-6394EDEBD68B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73102" y="1756923"/>
            <a:ext cx="7032597" cy="361796"/>
          </a:xfrm>
        </p:spPr>
        <p:txBody>
          <a:bodyPr rIns="274320" anchor="b"/>
          <a:lstStyle>
            <a:lvl1pPr>
              <a:defRPr sz="2000" b="1" i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/>
            <a:r>
              <a:rPr lang="en-US" dirty="0"/>
              <a:t>Benefit statement</a:t>
            </a: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4A21BECF-1C2F-4A19-8137-0F48B9B6424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73102" y="3283551"/>
            <a:ext cx="7032597" cy="361796"/>
          </a:xfrm>
        </p:spPr>
        <p:txBody>
          <a:bodyPr rIns="274320" anchor="b"/>
          <a:lstStyle>
            <a:lvl1pPr>
              <a:defRPr sz="2000" b="1" i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/>
            <a:r>
              <a:rPr lang="en-US" dirty="0"/>
              <a:t>Benefit statement</a:t>
            </a: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0247880E-91C6-4030-A719-9DC584A4471E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73102" y="4850048"/>
            <a:ext cx="7032705" cy="361796"/>
          </a:xfrm>
        </p:spPr>
        <p:txBody>
          <a:bodyPr rIns="274320" anchor="b"/>
          <a:lstStyle>
            <a:lvl1pPr>
              <a:defRPr sz="2000" b="1" i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/>
            <a:r>
              <a:rPr lang="en-US"/>
              <a:t>Benefit statement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B52D364F-72A4-46BE-A18B-3517A057A5F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73102" y="2136783"/>
            <a:ext cx="7032597" cy="284078"/>
          </a:xfrm>
        </p:spPr>
        <p:txBody>
          <a:bodyPr rIns="274320" anchor="ctr"/>
          <a:lstStyle>
            <a:lvl1pPr>
              <a:defRPr sz="2000" b="1" i="0">
                <a:solidFill>
                  <a:schemeClr val="tx1"/>
                </a:solidFill>
                <a:latin typeface="Segoe Semibold" charset="0"/>
                <a:ea typeface="Segoe Semibold" charset="0"/>
                <a:cs typeface="Segoe Semibold" charset="0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1" name="Text Placeholder 3">
            <a:extLst>
              <a:ext uri="{FF2B5EF4-FFF2-40B4-BE49-F238E27FC236}">
                <a16:creationId xmlns:a16="http://schemas.microsoft.com/office/drawing/2014/main" id="{050C5830-E768-414C-8F74-6328F4AA19F6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473102" y="3666503"/>
            <a:ext cx="7032597" cy="284078"/>
          </a:xfrm>
        </p:spPr>
        <p:txBody>
          <a:bodyPr rIns="274320" anchor="ctr"/>
          <a:lstStyle>
            <a:lvl1pPr>
              <a:defRPr sz="2000" b="1" i="0">
                <a:solidFill>
                  <a:schemeClr val="tx1"/>
                </a:solidFill>
                <a:latin typeface="Segoe Semibold" charset="0"/>
                <a:ea typeface="Segoe Semibold" charset="0"/>
                <a:cs typeface="Segoe Semibold" charset="0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0F45D579-F485-4F2B-B066-B4F9B33DA8B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473102" y="5227116"/>
            <a:ext cx="7032705" cy="284078"/>
          </a:xfrm>
        </p:spPr>
        <p:txBody>
          <a:bodyPr rIns="274320" anchor="ctr"/>
          <a:lstStyle>
            <a:lvl1pPr>
              <a:defRPr sz="2000" b="1" i="0">
                <a:solidFill>
                  <a:schemeClr val="tx1"/>
                </a:solidFill>
                <a:latin typeface="Segoe Semibold" charset="0"/>
                <a:ea typeface="Segoe Semibold" charset="0"/>
                <a:cs typeface="Segoe Semibold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3" name="Title Placeholder 2">
            <a:extLst>
              <a:ext uri="{FF2B5EF4-FFF2-40B4-BE49-F238E27FC236}">
                <a16:creationId xmlns:a16="http://schemas.microsoft.com/office/drawing/2014/main" id="{35BB5920-8F82-4ED5-ABA9-3217C73AC0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102" y="457200"/>
            <a:ext cx="11261697" cy="59407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b="1" i="0">
                <a:solidFill>
                  <a:schemeClr val="tx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Picture Placeholder 13"/>
          <p:cNvSpPr>
            <a:spLocks noGrp="1"/>
          </p:cNvSpPr>
          <p:nvPr>
            <p:ph type="pic" sz="quarter" idx="57"/>
          </p:nvPr>
        </p:nvSpPr>
        <p:spPr>
          <a:xfrm>
            <a:off x="7871125" y="3283265"/>
            <a:ext cx="716949" cy="716949"/>
          </a:xfrm>
          <a:prstGeom prst="ellipse">
            <a:avLst/>
          </a:prstGeom>
          <a:effectLst/>
        </p:spPr>
        <p:txBody>
          <a:bodyPr vert="horz" lIns="0" tIns="0" rIns="0" bIns="0" rtlCol="0" anchor="ctr">
            <a:noAutofit/>
          </a:bodyPr>
          <a:lstStyle>
            <a:lvl1pPr>
              <a:defRPr lang="en-US" sz="600" dirty="0">
                <a:ln>
                  <a:noFill/>
                </a:ln>
                <a:solidFill>
                  <a:srgbClr val="B4009E"/>
                </a:solidFill>
              </a:defRPr>
            </a:lvl1pPr>
          </a:lstStyle>
          <a:p>
            <a:pPr marL="0" lvl="0" indent="0" algn="ctr">
              <a:spcBef>
                <a:spcPts val="0"/>
              </a:spcBef>
              <a:buNone/>
            </a:pPr>
            <a:r>
              <a:rPr lang="en-US"/>
              <a:t>Click icon to add picture</a:t>
            </a:r>
          </a:p>
        </p:txBody>
      </p:sp>
      <p:sp>
        <p:nvSpPr>
          <p:cNvPr id="42" name="Picture Placeholder 13"/>
          <p:cNvSpPr>
            <a:spLocks noGrp="1"/>
          </p:cNvSpPr>
          <p:nvPr>
            <p:ph type="pic" sz="quarter" idx="58"/>
          </p:nvPr>
        </p:nvSpPr>
        <p:spPr>
          <a:xfrm>
            <a:off x="9242725" y="3283265"/>
            <a:ext cx="716949" cy="716949"/>
          </a:xfrm>
          <a:prstGeom prst="ellipse">
            <a:avLst/>
          </a:prstGeom>
          <a:effectLst/>
        </p:spPr>
        <p:txBody>
          <a:bodyPr vert="horz" lIns="0" tIns="0" rIns="0" bIns="0" rtlCol="0" anchor="ctr">
            <a:noAutofit/>
          </a:bodyPr>
          <a:lstStyle>
            <a:lvl1pPr>
              <a:defRPr lang="en-US" sz="600" dirty="0">
                <a:ln>
                  <a:noFill/>
                </a:ln>
                <a:solidFill>
                  <a:srgbClr val="B4009E"/>
                </a:solidFill>
              </a:defRPr>
            </a:lvl1pPr>
          </a:lstStyle>
          <a:p>
            <a:pPr marL="0" lvl="0" indent="0" algn="ctr">
              <a:spcBef>
                <a:spcPts val="0"/>
              </a:spcBef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59" hasCustomPrompt="1"/>
          </p:nvPr>
        </p:nvSpPr>
        <p:spPr>
          <a:xfrm>
            <a:off x="7505700" y="4049141"/>
            <a:ext cx="1409700" cy="640953"/>
          </a:xfrm>
          <a:prstGeom prst="rect">
            <a:avLst/>
          </a:prstGeom>
          <a:noFill/>
          <a:ln>
            <a:noFill/>
          </a:ln>
        </p:spPr>
        <p:txBody>
          <a:bodyPr vert="horz" lIns="91402" tIns="0" rIns="91402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en-US" sz="1400" b="1" i="0" dirty="0">
                <a:solidFill>
                  <a:schemeClr val="tx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marL="0" lvl="0"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</a:t>
            </a:r>
          </a:p>
        </p:txBody>
      </p:sp>
      <p:sp>
        <p:nvSpPr>
          <p:cNvPr id="45" name="Text Placeholder 3"/>
          <p:cNvSpPr>
            <a:spLocks noGrp="1"/>
          </p:cNvSpPr>
          <p:nvPr>
            <p:ph type="body" sz="quarter" idx="60" hasCustomPrompt="1"/>
          </p:nvPr>
        </p:nvSpPr>
        <p:spPr>
          <a:xfrm>
            <a:off x="8915401" y="4049486"/>
            <a:ext cx="1409700" cy="636528"/>
          </a:xfrm>
          <a:prstGeom prst="rect">
            <a:avLst/>
          </a:prstGeom>
          <a:noFill/>
          <a:ln>
            <a:noFill/>
          </a:ln>
        </p:spPr>
        <p:txBody>
          <a:bodyPr vert="horz" lIns="91402" tIns="0" rIns="91402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en-US" sz="1400" b="1" i="0" dirty="0">
                <a:solidFill>
                  <a:schemeClr val="tx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marL="0" lvl="0"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</a:t>
            </a:r>
          </a:p>
        </p:txBody>
      </p:sp>
      <p:sp>
        <p:nvSpPr>
          <p:cNvPr id="54" name="Picture Placeholder 13"/>
          <p:cNvSpPr>
            <a:spLocks noGrp="1"/>
          </p:cNvSpPr>
          <p:nvPr>
            <p:ph type="pic" sz="quarter" idx="61"/>
          </p:nvPr>
        </p:nvSpPr>
        <p:spPr>
          <a:xfrm>
            <a:off x="7871125" y="4685803"/>
            <a:ext cx="716949" cy="716949"/>
          </a:xfrm>
          <a:prstGeom prst="ellipse">
            <a:avLst/>
          </a:prstGeom>
          <a:effectLst/>
        </p:spPr>
        <p:txBody>
          <a:bodyPr vert="horz" lIns="0" tIns="0" rIns="0" bIns="0" rtlCol="0" anchor="ctr">
            <a:noAutofit/>
          </a:bodyPr>
          <a:lstStyle>
            <a:lvl1pPr>
              <a:defRPr lang="en-US" sz="600" dirty="0">
                <a:ln>
                  <a:noFill/>
                </a:ln>
                <a:solidFill>
                  <a:srgbClr val="B4009E"/>
                </a:solidFill>
              </a:defRPr>
            </a:lvl1pPr>
          </a:lstStyle>
          <a:p>
            <a:pPr marL="0" lvl="0" indent="0" algn="ctr">
              <a:spcBef>
                <a:spcPts val="0"/>
              </a:spcBef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5" name="Picture Placeholder 13"/>
          <p:cNvSpPr>
            <a:spLocks noGrp="1"/>
          </p:cNvSpPr>
          <p:nvPr>
            <p:ph type="pic" sz="quarter" idx="62"/>
          </p:nvPr>
        </p:nvSpPr>
        <p:spPr>
          <a:xfrm>
            <a:off x="9242725" y="4685803"/>
            <a:ext cx="716949" cy="716949"/>
          </a:xfrm>
          <a:prstGeom prst="ellipse">
            <a:avLst/>
          </a:prstGeom>
          <a:effectLst/>
        </p:spPr>
        <p:txBody>
          <a:bodyPr vert="horz" lIns="0" tIns="0" rIns="0" bIns="0" rtlCol="0" anchor="ctr">
            <a:noAutofit/>
          </a:bodyPr>
          <a:lstStyle>
            <a:lvl1pPr>
              <a:defRPr lang="en-US" sz="600" dirty="0">
                <a:ln>
                  <a:noFill/>
                </a:ln>
                <a:solidFill>
                  <a:srgbClr val="B4009E"/>
                </a:solidFill>
              </a:defRPr>
            </a:lvl1pPr>
          </a:lstStyle>
          <a:p>
            <a:pPr marL="0" lvl="0" indent="0" algn="ctr">
              <a:spcBef>
                <a:spcPts val="0"/>
              </a:spcBef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6" name="Text Placeholder 3"/>
          <p:cNvSpPr>
            <a:spLocks noGrp="1"/>
          </p:cNvSpPr>
          <p:nvPr>
            <p:ph type="body" sz="quarter" idx="63" hasCustomPrompt="1"/>
          </p:nvPr>
        </p:nvSpPr>
        <p:spPr>
          <a:xfrm>
            <a:off x="7505700" y="5451679"/>
            <a:ext cx="1409700" cy="640953"/>
          </a:xfrm>
          <a:prstGeom prst="rect">
            <a:avLst/>
          </a:prstGeom>
          <a:noFill/>
          <a:ln>
            <a:noFill/>
          </a:ln>
        </p:spPr>
        <p:txBody>
          <a:bodyPr vert="horz" lIns="91402" tIns="0" rIns="91402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en-US" sz="1400" b="1" i="0" dirty="0">
                <a:solidFill>
                  <a:schemeClr val="tx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marL="0" lvl="0"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</a:t>
            </a:r>
          </a:p>
        </p:txBody>
      </p:sp>
      <p:sp>
        <p:nvSpPr>
          <p:cNvPr id="57" name="Text Placeholder 3"/>
          <p:cNvSpPr>
            <a:spLocks noGrp="1"/>
          </p:cNvSpPr>
          <p:nvPr>
            <p:ph type="body" sz="quarter" idx="64" hasCustomPrompt="1"/>
          </p:nvPr>
        </p:nvSpPr>
        <p:spPr>
          <a:xfrm>
            <a:off x="8915401" y="5452024"/>
            <a:ext cx="1409700" cy="636528"/>
          </a:xfrm>
          <a:prstGeom prst="rect">
            <a:avLst/>
          </a:prstGeom>
          <a:noFill/>
          <a:ln>
            <a:noFill/>
          </a:ln>
        </p:spPr>
        <p:txBody>
          <a:bodyPr vert="horz" lIns="91402" tIns="0" rIns="91402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en-US" sz="1400" b="1" i="0" dirty="0">
                <a:solidFill>
                  <a:schemeClr val="tx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marL="0" lvl="0"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D1012CF-3C73-0C45-ABD9-90FC1E3C69E2}"/>
              </a:ext>
            </a:extLst>
          </p:cNvPr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17601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de -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457200" y="1181100"/>
            <a:ext cx="11277599" cy="4914900"/>
          </a:xfrm>
          <a:solidFill>
            <a:schemeClr val="tx1"/>
          </a:solidFill>
        </p:spPr>
        <p:txBody>
          <a:bodyPr lIns="274320" tIns="182880" rIns="182880" bIns="182880"/>
          <a:lstStyle>
            <a:lvl1pPr>
              <a:lnSpc>
                <a:spcPct val="150000"/>
              </a:lnSpc>
              <a:spcBef>
                <a:spcPts val="0"/>
              </a:spcBef>
              <a:defRPr sz="1400" b="0">
                <a:solidFill>
                  <a:schemeClr val="tx2"/>
                </a:solidFill>
                <a:latin typeface="Consolas" panose="020B0609020204030204" pitchFamily="49" charset="0"/>
              </a:defRPr>
            </a:lvl1pPr>
          </a:lstStyle>
          <a:p>
            <a:pPr lvl="0"/>
            <a:r>
              <a:rPr lang="en-US" dirty="0"/>
              <a:t>Insert code here</a:t>
            </a:r>
          </a:p>
        </p:txBody>
      </p:sp>
      <p:sp>
        <p:nvSpPr>
          <p:cNvPr id="11" name="Title Placeholder 2">
            <a:extLst>
              <a:ext uri="{FF2B5EF4-FFF2-40B4-BE49-F238E27FC236}">
                <a16:creationId xmlns:a16="http://schemas.microsoft.com/office/drawing/2014/main" id="{6F8047C7-B1D6-4C30-BD8C-09D9A0947D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599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D619B9-0479-A445-88B6-B88DF671E8C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7779278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de - Wide with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457200" y="1181100"/>
            <a:ext cx="11277599" cy="4914900"/>
          </a:xfrm>
          <a:solidFill>
            <a:schemeClr val="tx2"/>
          </a:solidFill>
        </p:spPr>
        <p:txBody>
          <a:bodyPr lIns="274320" tIns="182880" rIns="182880" bIns="182880"/>
          <a:lstStyle>
            <a:lvl1pPr>
              <a:lnSpc>
                <a:spcPct val="150000"/>
              </a:lnSpc>
              <a:spcBef>
                <a:spcPts val="0"/>
              </a:spcBef>
              <a:defRPr sz="1400" b="0">
                <a:solidFill>
                  <a:schemeClr val="bg2"/>
                </a:solidFill>
                <a:latin typeface="Consolas" panose="020B0609020204030204" pitchFamily="49" charset="0"/>
              </a:defRPr>
            </a:lvl1pPr>
          </a:lstStyle>
          <a:p>
            <a:pPr lvl="0"/>
            <a:r>
              <a:rPr lang="en-US" dirty="0"/>
              <a:t>Insert code here</a:t>
            </a:r>
          </a:p>
        </p:txBody>
      </p:sp>
      <p:sp>
        <p:nvSpPr>
          <p:cNvPr id="11" name="Title Placeholder 2">
            <a:extLst>
              <a:ext uri="{FF2B5EF4-FFF2-40B4-BE49-F238E27FC236}">
                <a16:creationId xmlns:a16="http://schemas.microsoft.com/office/drawing/2014/main" id="{6F8047C7-B1D6-4C30-BD8C-09D9A0947D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599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D619B9-0479-A445-88B6-B88DF671E8C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4587725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de 2 column - W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4686301" y="1181100"/>
            <a:ext cx="7048500" cy="5219700"/>
          </a:xfrm>
          <a:solidFill>
            <a:schemeClr val="tx1"/>
          </a:solidFill>
        </p:spPr>
        <p:txBody>
          <a:bodyPr lIns="274320" tIns="182880" rIns="182880" bIns="182880"/>
          <a:lstStyle>
            <a:lvl1pPr>
              <a:lnSpc>
                <a:spcPct val="150000"/>
              </a:lnSpc>
              <a:spcBef>
                <a:spcPts val="0"/>
              </a:spcBef>
              <a:defRPr sz="1400" b="0">
                <a:solidFill>
                  <a:schemeClr val="tx2"/>
                </a:solidFill>
                <a:latin typeface="Consolas" panose="020B0609020204030204" pitchFamily="49" charset="0"/>
              </a:defRPr>
            </a:lvl1pPr>
          </a:lstStyle>
          <a:p>
            <a:pPr lvl="0"/>
            <a:r>
              <a:rPr lang="en-US" dirty="0"/>
              <a:t>Insert code here</a:t>
            </a:r>
          </a:p>
        </p:txBody>
      </p:sp>
      <p:sp>
        <p:nvSpPr>
          <p:cNvPr id="11" name="Title Placeholder 2">
            <a:extLst>
              <a:ext uri="{FF2B5EF4-FFF2-40B4-BE49-F238E27FC236}">
                <a16:creationId xmlns:a16="http://schemas.microsoft.com/office/drawing/2014/main" id="{39A2F253-0BFB-4DB7-AF71-1FBA26C372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599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20AD17-4CB5-AC4A-AAD4-A8939A1B59A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A7F6AB04-05A4-467A-B0AB-61D33FCA96F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181100"/>
            <a:ext cx="4229101" cy="5199847"/>
          </a:xfrm>
          <a:prstGeom prst="rect">
            <a:avLst/>
          </a:prstGeom>
        </p:spPr>
        <p:txBody>
          <a:bodyPr vert="horz" wrap="square" lIns="0" tIns="0" rIns="182880" bIns="0" rtlCol="0">
            <a:noAutofit/>
          </a:bodyPr>
          <a:lstStyle>
            <a:lvl1pPr>
              <a:defRPr sz="20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51398350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de 2 column - Wider with black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4686301" y="1181100"/>
            <a:ext cx="7048500" cy="5219700"/>
          </a:xfrm>
          <a:solidFill>
            <a:schemeClr val="tx2"/>
          </a:solidFill>
        </p:spPr>
        <p:txBody>
          <a:bodyPr lIns="274320" tIns="182880" rIns="182880" bIns="182880"/>
          <a:lstStyle>
            <a:lvl1pPr>
              <a:lnSpc>
                <a:spcPct val="150000"/>
              </a:lnSpc>
              <a:spcBef>
                <a:spcPts val="0"/>
              </a:spcBef>
              <a:defRPr sz="1400" b="0">
                <a:solidFill>
                  <a:schemeClr val="bg2"/>
                </a:solidFill>
                <a:latin typeface="Consolas" panose="020B0609020204030204" pitchFamily="49" charset="0"/>
              </a:defRPr>
            </a:lvl1pPr>
          </a:lstStyle>
          <a:p>
            <a:pPr lvl="0"/>
            <a:r>
              <a:rPr lang="en-US" dirty="0"/>
              <a:t>Insert code here</a:t>
            </a:r>
          </a:p>
        </p:txBody>
      </p:sp>
      <p:sp>
        <p:nvSpPr>
          <p:cNvPr id="11" name="Title Placeholder 2">
            <a:extLst>
              <a:ext uri="{FF2B5EF4-FFF2-40B4-BE49-F238E27FC236}">
                <a16:creationId xmlns:a16="http://schemas.microsoft.com/office/drawing/2014/main" id="{39A2F253-0BFB-4DB7-AF71-1FBA26C372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599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20AD17-4CB5-AC4A-AAD4-A8939A1B59A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A7F6AB04-05A4-467A-B0AB-61D33FCA96F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181100"/>
            <a:ext cx="4229101" cy="5199847"/>
          </a:xfrm>
          <a:prstGeom prst="rect">
            <a:avLst/>
          </a:prstGeom>
        </p:spPr>
        <p:txBody>
          <a:bodyPr vert="horz" wrap="square" lIns="0" tIns="0" rIns="182880" bIns="0" rtlCol="0">
            <a:noAutofit/>
          </a:bodyPr>
          <a:lstStyle>
            <a:lvl1pPr>
              <a:defRPr sz="20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586592418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-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6819900" y="457200"/>
            <a:ext cx="4914900" cy="5943600"/>
          </a:xfrm>
          <a:solidFill>
            <a:schemeClr val="tx1"/>
          </a:solidFill>
        </p:spPr>
        <p:txBody>
          <a:bodyPr lIns="274320" tIns="182880" rIns="182880" bIns="182880"/>
          <a:lstStyle>
            <a:lvl1pPr>
              <a:lnSpc>
                <a:spcPct val="150000"/>
              </a:lnSpc>
              <a:spcBef>
                <a:spcPts val="0"/>
              </a:spcBef>
              <a:defRPr sz="1400" b="0">
                <a:solidFill>
                  <a:schemeClr val="tx2"/>
                </a:solidFill>
                <a:latin typeface="Consolas" panose="020B0609020204030204" pitchFamily="49" charset="0"/>
              </a:defRPr>
            </a:lvl1pPr>
          </a:lstStyle>
          <a:p>
            <a:pPr lvl="0"/>
            <a:r>
              <a:rPr lang="en-US"/>
              <a:t>Insert code here</a:t>
            </a:r>
          </a:p>
        </p:txBody>
      </p:sp>
      <p:sp>
        <p:nvSpPr>
          <p:cNvPr id="7" name="Title Placeholder 2">
            <a:extLst>
              <a:ext uri="{FF2B5EF4-FFF2-40B4-BE49-F238E27FC236}">
                <a16:creationId xmlns:a16="http://schemas.microsoft.com/office/drawing/2014/main" id="{A725FBCD-B594-4CE0-B97E-6B199DCD52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457200"/>
            <a:ext cx="6362700" cy="1409700"/>
          </a:xfrm>
          <a:prstGeom prst="rect">
            <a:avLst/>
          </a:prstGeom>
        </p:spPr>
        <p:txBody>
          <a:bodyPr vert="horz" lIns="0" tIns="0" rIns="27432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C3DBD94-70C4-8646-BE45-F7612087AC47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61926A96-C004-4096-9D90-1712BB110B8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866900"/>
            <a:ext cx="6362700" cy="4514047"/>
          </a:xfrm>
          <a:prstGeom prst="rect">
            <a:avLst/>
          </a:prstGeom>
        </p:spPr>
        <p:txBody>
          <a:bodyPr vert="horz" wrap="square" lIns="0" tIns="0" rIns="182880" bIns="0" rtlCol="0">
            <a:noAutofit/>
          </a:bodyPr>
          <a:lstStyle>
            <a:lvl1pPr>
              <a:defRPr sz="20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240837835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de 1-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2">
            <a:extLst>
              <a:ext uri="{FF2B5EF4-FFF2-40B4-BE49-F238E27FC236}">
                <a16:creationId xmlns:a16="http://schemas.microsoft.com/office/drawing/2014/main" id="{5B877F86-C881-4D2F-8BB4-23EF0768FA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102" y="457200"/>
            <a:ext cx="11261698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CC1F6FB8-2D7E-4A43-B024-3207F79A47B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65151" y="1181100"/>
            <a:ext cx="11261697" cy="685800"/>
          </a:xfrm>
          <a:solidFill>
            <a:schemeClr val="tx1">
              <a:lumMod val="20000"/>
              <a:lumOff val="80000"/>
            </a:schemeClr>
          </a:solidFill>
        </p:spPr>
        <p:txBody>
          <a:bodyPr lIns="274320" tIns="182880" rIns="182880" bIns="182880" anchor="ctr"/>
          <a:lstStyle>
            <a:lvl1pPr>
              <a:lnSpc>
                <a:spcPct val="150000"/>
              </a:lnSpc>
              <a:spcBef>
                <a:spcPts val="0"/>
              </a:spcBef>
              <a:defRPr sz="1600" b="0">
                <a:solidFill>
                  <a:schemeClr val="tx2"/>
                </a:solidFill>
                <a:latin typeface="Consolas" panose="020B0609020204030204" pitchFamily="49" charset="0"/>
              </a:defRPr>
            </a:lvl1pPr>
          </a:lstStyle>
          <a:p>
            <a:pPr lvl="0"/>
            <a:r>
              <a:rPr lang="en-US"/>
              <a:t>Insert API call her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BBE5885-8B68-E34E-9178-AC74D284DDCF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957150A5-603E-45CB-90ED-88D5F012D78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1" y="1887751"/>
            <a:ext cx="11277600" cy="4208249"/>
          </a:xfrm>
          <a:prstGeom prst="rect">
            <a:avLst/>
          </a:prstGeom>
        </p:spPr>
        <p:txBody>
          <a:bodyPr vert="horz" wrap="square" lIns="0" tIns="182880" rIns="18288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577783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505050">
                        <a:alpha val="50000"/>
                      </a:srgbClr>
                    </a:gs>
                    <a:gs pos="86000">
                      <a:srgbClr val="505050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de 1-line + 2-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2">
            <a:extLst>
              <a:ext uri="{FF2B5EF4-FFF2-40B4-BE49-F238E27FC236}">
                <a16:creationId xmlns:a16="http://schemas.microsoft.com/office/drawing/2014/main" id="{5B877F86-C881-4D2F-8BB4-23EF0768FA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102" y="457200"/>
            <a:ext cx="11261698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CC1F6FB8-2D7E-4A43-B024-3207F79A47B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65151" y="1181100"/>
            <a:ext cx="11261697" cy="685800"/>
          </a:xfrm>
          <a:solidFill>
            <a:schemeClr val="tx1">
              <a:lumMod val="20000"/>
              <a:lumOff val="80000"/>
            </a:schemeClr>
          </a:solidFill>
        </p:spPr>
        <p:txBody>
          <a:bodyPr lIns="274320" tIns="182880" rIns="182880" bIns="182880" anchor="ctr"/>
          <a:lstStyle>
            <a:lvl1pPr>
              <a:lnSpc>
                <a:spcPct val="150000"/>
              </a:lnSpc>
              <a:spcBef>
                <a:spcPts val="0"/>
              </a:spcBef>
              <a:defRPr sz="1600" b="0">
                <a:solidFill>
                  <a:schemeClr val="tx2"/>
                </a:solidFill>
                <a:latin typeface="Consolas" panose="020B0609020204030204" pitchFamily="49" charset="0"/>
              </a:defRPr>
            </a:lvl1pPr>
          </a:lstStyle>
          <a:p>
            <a:pPr lvl="0"/>
            <a:r>
              <a:rPr lang="en-US"/>
              <a:t>Insert API call her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BBE5885-8B68-E34E-9178-AC74D284DDCF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6A3AC42-E7E4-4837-AD6D-7372F7227A4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3102" y="1866900"/>
            <a:ext cx="5622897" cy="4514047"/>
          </a:xfrm>
          <a:prstGeom prst="rect">
            <a:avLst/>
          </a:prstGeom>
        </p:spPr>
        <p:txBody>
          <a:bodyPr vert="horz" wrap="square" lIns="0" tIns="182880" rIns="18288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4F77650-FFA2-4226-8961-E8D673467F27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6096000" y="1866900"/>
            <a:ext cx="5638799" cy="4514047"/>
          </a:xfrm>
          <a:prstGeom prst="rect">
            <a:avLst/>
          </a:prstGeom>
        </p:spPr>
        <p:txBody>
          <a:bodyPr vert="horz" wrap="square" lIns="0" tIns="18288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758089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de 2-line + 2-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473103" y="1181100"/>
            <a:ext cx="11261697" cy="1039586"/>
          </a:xfrm>
          <a:solidFill>
            <a:schemeClr val="tx1">
              <a:lumMod val="20000"/>
              <a:lumOff val="80000"/>
            </a:schemeClr>
          </a:solidFill>
        </p:spPr>
        <p:txBody>
          <a:bodyPr lIns="274320" tIns="182880" rIns="182880" bIns="182880" anchor="ctr"/>
          <a:lstStyle>
            <a:lvl1pPr>
              <a:lnSpc>
                <a:spcPct val="150000"/>
              </a:lnSpc>
              <a:spcBef>
                <a:spcPts val="0"/>
              </a:spcBef>
              <a:defRPr sz="1600" b="0">
                <a:solidFill>
                  <a:schemeClr val="tx2"/>
                </a:solidFill>
                <a:latin typeface="Consolas" panose="020B0609020204030204" pitchFamily="49" charset="0"/>
              </a:defRPr>
            </a:lvl1pPr>
          </a:lstStyle>
          <a:p>
            <a:pPr lvl="0"/>
            <a:r>
              <a:rPr lang="en-US" dirty="0"/>
              <a:t>Insert API call here</a:t>
            </a:r>
          </a:p>
        </p:txBody>
      </p:sp>
      <p:sp>
        <p:nvSpPr>
          <p:cNvPr id="15" name="Shape 69"/>
          <p:cNvSpPr txBox="1">
            <a:spLocks noGrp="1"/>
          </p:cNvSpPr>
          <p:nvPr>
            <p:ph type="body" idx="1" hasCustomPrompt="1"/>
          </p:nvPr>
        </p:nvSpPr>
        <p:spPr>
          <a:xfrm>
            <a:off x="457200" y="3274985"/>
            <a:ext cx="5638800" cy="2819401"/>
          </a:xfrm>
          <a:prstGeom prst="rect">
            <a:avLst/>
          </a:prstGeom>
          <a:noFill/>
          <a:ln w="12700">
            <a:noFill/>
          </a:ln>
        </p:spPr>
        <p:txBody>
          <a:bodyPr vert="horz" lIns="182880" tIns="179261" rIns="182880" bIns="45702" rtlCol="0">
            <a:normAutofit/>
          </a:bodyPr>
          <a:lstStyle>
            <a:lvl1pPr>
              <a:defRPr sz="20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228600" indent="-182880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 dirty="0"/>
              <a:t>Bullet level one</a:t>
            </a:r>
          </a:p>
          <a:p>
            <a:pPr lvl="1"/>
            <a:r>
              <a:rPr lang="en-US" dirty="0"/>
              <a:t>Bullet level two</a:t>
            </a:r>
            <a:endParaRPr dirty="0"/>
          </a:p>
        </p:txBody>
      </p:sp>
      <p:sp>
        <p:nvSpPr>
          <p:cNvPr id="14" name="Title Placeholder 2">
            <a:extLst>
              <a:ext uri="{FF2B5EF4-FFF2-40B4-BE49-F238E27FC236}">
                <a16:creationId xmlns:a16="http://schemas.microsoft.com/office/drawing/2014/main" id="{9BE0A8BE-2DE1-4F0B-A55F-DCADF0E5CE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102" y="457200"/>
            <a:ext cx="11261697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hape 69">
            <a:extLst>
              <a:ext uri="{FF2B5EF4-FFF2-40B4-BE49-F238E27FC236}">
                <a16:creationId xmlns:a16="http://schemas.microsoft.com/office/drawing/2014/main" id="{428E945F-C6CF-114F-9853-8A907768C6C9}"/>
              </a:ext>
            </a:extLst>
          </p:cNvPr>
          <p:cNvSpPr txBox="1">
            <a:spLocks noGrp="1"/>
          </p:cNvSpPr>
          <p:nvPr>
            <p:ph type="body" idx="30" hasCustomPrompt="1"/>
          </p:nvPr>
        </p:nvSpPr>
        <p:spPr>
          <a:xfrm>
            <a:off x="457200" y="2613661"/>
            <a:ext cx="5638800" cy="662560"/>
          </a:xfrm>
          <a:prstGeom prst="rect">
            <a:avLst/>
          </a:prstGeom>
          <a:noFill/>
          <a:ln w="12700">
            <a:noFill/>
          </a:ln>
        </p:spPr>
        <p:txBody>
          <a:bodyPr vert="horz" lIns="182880" tIns="0" rIns="182880" bIns="0" rtlCol="0" anchor="ctr" anchorCtr="0">
            <a:noAutofit/>
          </a:bodyPr>
          <a:lstStyle>
            <a:lvl1pPr algn="ctr">
              <a:defRPr sz="2000" b="1" i="0" dirty="0">
                <a:solidFill>
                  <a:schemeClr val="accent2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text</a:t>
            </a:r>
            <a:endParaRPr dirty="0"/>
          </a:p>
        </p:txBody>
      </p:sp>
      <p:sp>
        <p:nvSpPr>
          <p:cNvPr id="18" name="Shape 69">
            <a:extLst>
              <a:ext uri="{FF2B5EF4-FFF2-40B4-BE49-F238E27FC236}">
                <a16:creationId xmlns:a16="http://schemas.microsoft.com/office/drawing/2014/main" id="{7E329BEC-C2D0-C143-A502-5AB72E37BFE3}"/>
              </a:ext>
            </a:extLst>
          </p:cNvPr>
          <p:cNvSpPr txBox="1">
            <a:spLocks noGrp="1"/>
          </p:cNvSpPr>
          <p:nvPr>
            <p:ph type="body" idx="31" hasCustomPrompt="1"/>
          </p:nvPr>
        </p:nvSpPr>
        <p:spPr>
          <a:xfrm>
            <a:off x="6096001" y="2612046"/>
            <a:ext cx="5638798" cy="662939"/>
          </a:xfrm>
          <a:prstGeom prst="rect">
            <a:avLst/>
          </a:prstGeom>
          <a:noFill/>
          <a:ln w="12700">
            <a:noFill/>
          </a:ln>
        </p:spPr>
        <p:txBody>
          <a:bodyPr vert="horz" lIns="182880" tIns="0" rIns="182880" bIns="0" rtlCol="0" anchor="ctr" anchorCtr="0">
            <a:noAutofit/>
          </a:bodyPr>
          <a:lstStyle>
            <a:lvl1pPr algn="ctr">
              <a:defRPr sz="2000" b="1" i="0" dirty="0">
                <a:solidFill>
                  <a:schemeClr val="accent2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DDD05D2-30AD-CE4A-A02B-114257D5F8C5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Shape 69">
            <a:extLst>
              <a:ext uri="{FF2B5EF4-FFF2-40B4-BE49-F238E27FC236}">
                <a16:creationId xmlns:a16="http://schemas.microsoft.com/office/drawing/2014/main" id="{78CCEAB4-4301-9D4F-98B7-3C7144E5A3D5}"/>
              </a:ext>
            </a:extLst>
          </p:cNvPr>
          <p:cNvSpPr txBox="1">
            <a:spLocks noGrp="1"/>
          </p:cNvSpPr>
          <p:nvPr>
            <p:ph type="body" idx="33" hasCustomPrompt="1"/>
          </p:nvPr>
        </p:nvSpPr>
        <p:spPr>
          <a:xfrm>
            <a:off x="6096000" y="3274985"/>
            <a:ext cx="5638799" cy="2819401"/>
          </a:xfrm>
          <a:prstGeom prst="rect">
            <a:avLst/>
          </a:prstGeom>
          <a:noFill/>
          <a:ln w="12700">
            <a:noFill/>
          </a:ln>
        </p:spPr>
        <p:txBody>
          <a:bodyPr vert="horz" lIns="182880" tIns="179261" rIns="182880" bIns="45702" rtlCol="0">
            <a:normAutofit/>
          </a:bodyPr>
          <a:lstStyle>
            <a:lvl1pPr>
              <a:defRPr sz="20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228600" indent="-182880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 dirty="0"/>
              <a:t>Bullet level one</a:t>
            </a:r>
          </a:p>
          <a:p>
            <a:pPr lvl="1"/>
            <a:r>
              <a:rPr lang="en-US" dirty="0"/>
              <a:t>Bullet level two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2365888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de 3-line + 2-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473103" y="1181100"/>
            <a:ext cx="11261697" cy="1409700"/>
          </a:xfrm>
          <a:solidFill>
            <a:schemeClr val="tx1">
              <a:lumMod val="20000"/>
              <a:lumOff val="80000"/>
            </a:schemeClr>
          </a:solidFill>
        </p:spPr>
        <p:txBody>
          <a:bodyPr lIns="274320" tIns="182880" rIns="182880" bIns="182880" anchor="ctr"/>
          <a:lstStyle>
            <a:lvl1pPr>
              <a:lnSpc>
                <a:spcPct val="150000"/>
              </a:lnSpc>
              <a:spcBef>
                <a:spcPts val="0"/>
              </a:spcBef>
              <a:defRPr sz="1600" b="0">
                <a:solidFill>
                  <a:schemeClr val="tx2"/>
                </a:solidFill>
                <a:latin typeface="Consolas" panose="020B0609020204030204" pitchFamily="49" charset="0"/>
              </a:defRPr>
            </a:lvl1pPr>
          </a:lstStyle>
          <a:p>
            <a:pPr lvl="0"/>
            <a:r>
              <a:rPr lang="en-US"/>
              <a:t>Insert API call here</a:t>
            </a:r>
          </a:p>
        </p:txBody>
      </p:sp>
      <p:sp>
        <p:nvSpPr>
          <p:cNvPr id="13" name="Title Placeholder 2">
            <a:extLst>
              <a:ext uri="{FF2B5EF4-FFF2-40B4-BE49-F238E27FC236}">
                <a16:creationId xmlns:a16="http://schemas.microsoft.com/office/drawing/2014/main" id="{73E1BA87-D25C-4F80-86CD-39C9FF7CD8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102" y="457200"/>
            <a:ext cx="11261697" cy="72313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hape 69">
            <a:extLst>
              <a:ext uri="{FF2B5EF4-FFF2-40B4-BE49-F238E27FC236}">
                <a16:creationId xmlns:a16="http://schemas.microsoft.com/office/drawing/2014/main" id="{BA65E103-69D9-5D45-B5F7-D01042ED1368}"/>
              </a:ext>
            </a:extLst>
          </p:cNvPr>
          <p:cNvSpPr txBox="1">
            <a:spLocks noGrp="1"/>
          </p:cNvSpPr>
          <p:nvPr>
            <p:ph type="body" idx="30" hasCustomPrompt="1"/>
          </p:nvPr>
        </p:nvSpPr>
        <p:spPr>
          <a:xfrm>
            <a:off x="457200" y="2613661"/>
            <a:ext cx="5638800" cy="1387660"/>
          </a:xfrm>
          <a:prstGeom prst="rect">
            <a:avLst/>
          </a:prstGeom>
          <a:noFill/>
          <a:ln w="12700">
            <a:noFill/>
          </a:ln>
        </p:spPr>
        <p:txBody>
          <a:bodyPr vert="horz" lIns="182880" tIns="0" rIns="182880" bIns="0" rtlCol="0" anchor="ctr" anchorCtr="0">
            <a:noAutofit/>
          </a:bodyPr>
          <a:lstStyle>
            <a:lvl1pPr algn="ctr">
              <a:defRPr sz="2000" b="1" i="0" dirty="0">
                <a:solidFill>
                  <a:schemeClr val="accent2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text</a:t>
            </a:r>
            <a:endParaRPr dirty="0"/>
          </a:p>
        </p:txBody>
      </p:sp>
      <p:sp>
        <p:nvSpPr>
          <p:cNvPr id="16" name="Shape 69">
            <a:extLst>
              <a:ext uri="{FF2B5EF4-FFF2-40B4-BE49-F238E27FC236}">
                <a16:creationId xmlns:a16="http://schemas.microsoft.com/office/drawing/2014/main" id="{3AAC50CE-DE03-A34A-8A83-25D7519888FE}"/>
              </a:ext>
            </a:extLst>
          </p:cNvPr>
          <p:cNvSpPr txBox="1">
            <a:spLocks noGrp="1"/>
          </p:cNvSpPr>
          <p:nvPr>
            <p:ph type="body" idx="31" hasCustomPrompt="1"/>
          </p:nvPr>
        </p:nvSpPr>
        <p:spPr>
          <a:xfrm>
            <a:off x="6096001" y="2612046"/>
            <a:ext cx="5638798" cy="1388454"/>
          </a:xfrm>
          <a:prstGeom prst="rect">
            <a:avLst/>
          </a:prstGeom>
          <a:noFill/>
          <a:ln w="12700">
            <a:noFill/>
          </a:ln>
        </p:spPr>
        <p:txBody>
          <a:bodyPr vert="horz" lIns="182880" tIns="0" rIns="182880" bIns="0" rtlCol="0" anchor="ctr" anchorCtr="0">
            <a:noAutofit/>
          </a:bodyPr>
          <a:lstStyle>
            <a:lvl1pPr algn="ctr">
              <a:defRPr sz="2000" b="1" i="0" dirty="0">
                <a:solidFill>
                  <a:schemeClr val="accent2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AE5AB7D-B686-4C4C-ACED-3F0D7A4F7378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Shape 69">
            <a:extLst>
              <a:ext uri="{FF2B5EF4-FFF2-40B4-BE49-F238E27FC236}">
                <a16:creationId xmlns:a16="http://schemas.microsoft.com/office/drawing/2014/main" id="{8EE58690-5E7F-C345-9E54-40916B1A6C53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457200" y="4000500"/>
            <a:ext cx="5638800" cy="2093886"/>
          </a:xfrm>
          <a:prstGeom prst="rect">
            <a:avLst/>
          </a:prstGeom>
          <a:noFill/>
          <a:ln w="12700">
            <a:noFill/>
          </a:ln>
        </p:spPr>
        <p:txBody>
          <a:bodyPr vert="horz" lIns="182880" tIns="179261" rIns="182880" bIns="45702" rtlCol="0">
            <a:normAutofit/>
          </a:bodyPr>
          <a:lstStyle>
            <a:lvl1pPr>
              <a:defRPr sz="20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228600" indent="-182880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 dirty="0"/>
              <a:t>Bullet level one</a:t>
            </a:r>
          </a:p>
          <a:p>
            <a:pPr lvl="1"/>
            <a:r>
              <a:rPr lang="en-US" dirty="0"/>
              <a:t>Bullet level two</a:t>
            </a:r>
            <a:endParaRPr dirty="0"/>
          </a:p>
        </p:txBody>
      </p:sp>
      <p:sp>
        <p:nvSpPr>
          <p:cNvPr id="21" name="Shape 69">
            <a:extLst>
              <a:ext uri="{FF2B5EF4-FFF2-40B4-BE49-F238E27FC236}">
                <a16:creationId xmlns:a16="http://schemas.microsoft.com/office/drawing/2014/main" id="{FD8EFF2A-00F8-1C47-B16D-242D1997A4AB}"/>
              </a:ext>
            </a:extLst>
          </p:cNvPr>
          <p:cNvSpPr txBox="1">
            <a:spLocks noGrp="1"/>
          </p:cNvSpPr>
          <p:nvPr>
            <p:ph type="body" idx="33" hasCustomPrompt="1"/>
          </p:nvPr>
        </p:nvSpPr>
        <p:spPr>
          <a:xfrm>
            <a:off x="6096000" y="4000500"/>
            <a:ext cx="5638799" cy="2093886"/>
          </a:xfrm>
          <a:prstGeom prst="rect">
            <a:avLst/>
          </a:prstGeom>
          <a:noFill/>
          <a:ln w="12700">
            <a:noFill/>
          </a:ln>
        </p:spPr>
        <p:txBody>
          <a:bodyPr vert="horz" lIns="182880" tIns="179261" rIns="182880" bIns="45702" rtlCol="0">
            <a:normAutofit/>
          </a:bodyPr>
          <a:lstStyle>
            <a:lvl1pPr>
              <a:defRPr sz="20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228600" indent="-182880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 dirty="0"/>
              <a:t>Bullet level one</a:t>
            </a:r>
          </a:p>
          <a:p>
            <a:pPr lvl="1"/>
            <a:r>
              <a:rPr lang="en-US" dirty="0"/>
              <a:t>Bullet level two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54274178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de 1-line + Benefi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6" hasCustomPrompt="1"/>
          </p:nvPr>
        </p:nvSpPr>
        <p:spPr>
          <a:xfrm>
            <a:off x="6102108" y="1866900"/>
            <a:ext cx="5623114" cy="716433"/>
          </a:xfrm>
          <a:prstGeom prst="rect">
            <a:avLst/>
          </a:prstGeom>
        </p:spPr>
        <p:txBody>
          <a:bodyPr lIns="0" bIns="45720" anchor="b" anchorCtr="0">
            <a:noAutofit/>
          </a:bodyPr>
          <a:lstStyle>
            <a:lvl1pPr>
              <a:lnSpc>
                <a:spcPct val="100000"/>
              </a:lnSpc>
              <a:defRPr sz="2000" b="1" i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  <a:lvl2pPr marL="0" indent="0"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Shape 69"/>
          <p:cNvSpPr txBox="1">
            <a:spLocks noGrp="1"/>
          </p:cNvSpPr>
          <p:nvPr>
            <p:ph type="body" idx="44" hasCustomPrompt="1"/>
          </p:nvPr>
        </p:nvSpPr>
        <p:spPr>
          <a:xfrm>
            <a:off x="6102108" y="2590800"/>
            <a:ext cx="5624740" cy="6858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93675" indent="-133350">
              <a:lnSpc>
                <a:spcPct val="100000"/>
              </a:lnSpc>
              <a:buClrTx/>
              <a:buSzPct val="100000"/>
              <a:buFont typeface="Arial" charset="0"/>
              <a:buChar char="•"/>
              <a:defRPr sz="14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365760" indent="-182880">
              <a:buSzPct val="100000"/>
              <a:buFont typeface="Arial" panose="020B0604020202020204" pitchFamily="34" charset="0"/>
              <a:buChar char="•"/>
              <a:tabLst/>
              <a:defRPr sz="1400"/>
            </a:lvl2pPr>
          </a:lstStyle>
          <a:p>
            <a:pPr lvl="0">
              <a:spcBef>
                <a:spcPts val="0"/>
              </a:spcBef>
            </a:pPr>
            <a:r>
              <a:rPr lang="en-US" dirty="0"/>
              <a:t>Bullet level one</a:t>
            </a:r>
          </a:p>
          <a:p>
            <a:pPr lvl="1">
              <a:spcBef>
                <a:spcPts val="0"/>
              </a:spcBef>
            </a:pPr>
            <a:r>
              <a:rPr lang="en-US" dirty="0"/>
              <a:t>Bullet level two</a:t>
            </a:r>
            <a:endParaRPr dirty="0"/>
          </a:p>
        </p:txBody>
      </p:sp>
      <p:sp>
        <p:nvSpPr>
          <p:cNvPr id="15" name="Title Placeholder 2">
            <a:extLst>
              <a:ext uri="{FF2B5EF4-FFF2-40B4-BE49-F238E27FC236}">
                <a16:creationId xmlns:a16="http://schemas.microsoft.com/office/drawing/2014/main" id="{5B877F86-C881-4D2F-8BB4-23EF0768FA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102" y="457200"/>
            <a:ext cx="11261698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CC1F6FB8-2D7E-4A43-B024-3207F79A47B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65151" y="1181100"/>
            <a:ext cx="11261697" cy="685800"/>
          </a:xfrm>
          <a:solidFill>
            <a:schemeClr val="tx1">
              <a:lumMod val="20000"/>
              <a:lumOff val="80000"/>
            </a:schemeClr>
          </a:solidFill>
        </p:spPr>
        <p:txBody>
          <a:bodyPr lIns="274320" tIns="182880" rIns="182880" bIns="182880" anchor="ctr"/>
          <a:lstStyle>
            <a:lvl1pPr>
              <a:lnSpc>
                <a:spcPct val="150000"/>
              </a:lnSpc>
              <a:spcBef>
                <a:spcPts val="0"/>
              </a:spcBef>
              <a:defRPr sz="1600" b="0">
                <a:solidFill>
                  <a:schemeClr val="tx2"/>
                </a:solidFill>
                <a:latin typeface="Consolas" panose="020B0609020204030204" pitchFamily="49" charset="0"/>
              </a:defRPr>
            </a:lvl1pPr>
          </a:lstStyle>
          <a:p>
            <a:pPr lvl="0"/>
            <a:r>
              <a:rPr lang="en-US"/>
              <a:t>Insert API call her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BBE5885-8B68-E34E-9178-AC74D284DDCF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521DF2AB-6814-A044-92C3-4909B9B4BF2A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02108" y="3276600"/>
            <a:ext cx="5623114" cy="716433"/>
          </a:xfrm>
          <a:prstGeom prst="rect">
            <a:avLst/>
          </a:prstGeom>
        </p:spPr>
        <p:txBody>
          <a:bodyPr lIns="0" bIns="45720" anchor="b" anchorCtr="0">
            <a:noAutofit/>
          </a:bodyPr>
          <a:lstStyle>
            <a:lvl1pPr>
              <a:lnSpc>
                <a:spcPct val="100000"/>
              </a:lnSpc>
              <a:defRPr sz="2000" b="1" i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  <a:lvl2pPr marL="0" indent="0"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Shape 69">
            <a:extLst>
              <a:ext uri="{FF2B5EF4-FFF2-40B4-BE49-F238E27FC236}">
                <a16:creationId xmlns:a16="http://schemas.microsoft.com/office/drawing/2014/main" id="{D115A798-134E-9F4A-8926-D90F1F1E0789}"/>
              </a:ext>
            </a:extLst>
          </p:cNvPr>
          <p:cNvSpPr txBox="1">
            <a:spLocks noGrp="1"/>
          </p:cNvSpPr>
          <p:nvPr>
            <p:ph type="body" idx="49" hasCustomPrompt="1"/>
          </p:nvPr>
        </p:nvSpPr>
        <p:spPr>
          <a:xfrm>
            <a:off x="6102108" y="4000500"/>
            <a:ext cx="5624740" cy="67833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93675" indent="-133350">
              <a:lnSpc>
                <a:spcPct val="100000"/>
              </a:lnSpc>
              <a:buClrTx/>
              <a:buSzPct val="100000"/>
              <a:buFont typeface="Arial" charset="0"/>
              <a:buChar char="•"/>
              <a:defRPr sz="14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365760" indent="-182880">
              <a:buSzPct val="100000"/>
              <a:buFont typeface="Arial" panose="020B0604020202020204" pitchFamily="34" charset="0"/>
              <a:buChar char="•"/>
              <a:tabLst/>
              <a:defRPr sz="1400"/>
            </a:lvl2pPr>
          </a:lstStyle>
          <a:p>
            <a:pPr lvl="0">
              <a:spcBef>
                <a:spcPts val="0"/>
              </a:spcBef>
            </a:pPr>
            <a:r>
              <a:rPr lang="en-US" dirty="0"/>
              <a:t>Bullet level one</a:t>
            </a:r>
          </a:p>
          <a:p>
            <a:pPr lvl="1">
              <a:spcBef>
                <a:spcPts val="0"/>
              </a:spcBef>
            </a:pPr>
            <a:r>
              <a:rPr lang="en-US" dirty="0"/>
              <a:t>Bullet level two</a:t>
            </a:r>
            <a:endParaRPr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9DE6605-90A7-CC4B-B3A0-0B82C572B9D9}"/>
              </a:ext>
            </a:extLst>
          </p:cNvPr>
          <p:cNvSpPr>
            <a:spLocks noGrp="1"/>
          </p:cNvSpPr>
          <p:nvPr>
            <p:ph sz="quarter" idx="50" hasCustomPrompt="1"/>
          </p:nvPr>
        </p:nvSpPr>
        <p:spPr>
          <a:xfrm>
            <a:off x="6096000" y="4678833"/>
            <a:ext cx="5623114" cy="693267"/>
          </a:xfrm>
          <a:prstGeom prst="rect">
            <a:avLst/>
          </a:prstGeom>
        </p:spPr>
        <p:txBody>
          <a:bodyPr lIns="0" bIns="45720" anchor="b" anchorCtr="0">
            <a:noAutofit/>
          </a:bodyPr>
          <a:lstStyle>
            <a:lvl1pPr>
              <a:lnSpc>
                <a:spcPct val="100000"/>
              </a:lnSpc>
              <a:defRPr sz="2000" b="1" i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  <a:lvl2pPr marL="0" indent="0"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Shape 69">
            <a:extLst>
              <a:ext uri="{FF2B5EF4-FFF2-40B4-BE49-F238E27FC236}">
                <a16:creationId xmlns:a16="http://schemas.microsoft.com/office/drawing/2014/main" id="{3EEC4BDE-E6C0-654A-B50A-49A221B458B8}"/>
              </a:ext>
            </a:extLst>
          </p:cNvPr>
          <p:cNvSpPr txBox="1">
            <a:spLocks noGrp="1"/>
          </p:cNvSpPr>
          <p:nvPr>
            <p:ph type="body" idx="51" hasCustomPrompt="1"/>
          </p:nvPr>
        </p:nvSpPr>
        <p:spPr>
          <a:xfrm>
            <a:off x="6096000" y="5372101"/>
            <a:ext cx="5624740" cy="7239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93675" indent="-133350">
              <a:lnSpc>
                <a:spcPct val="100000"/>
              </a:lnSpc>
              <a:buClrTx/>
              <a:buSzPct val="100000"/>
              <a:buFont typeface="Arial" charset="0"/>
              <a:buChar char="•"/>
              <a:defRPr sz="14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365760" indent="-182880">
              <a:buSzPct val="100000"/>
              <a:buFont typeface="Arial" panose="020B0604020202020204" pitchFamily="34" charset="0"/>
              <a:buChar char="•"/>
              <a:tabLst/>
              <a:defRPr sz="1400"/>
            </a:lvl2pPr>
          </a:lstStyle>
          <a:p>
            <a:pPr lvl="0">
              <a:spcBef>
                <a:spcPts val="0"/>
              </a:spcBef>
            </a:pPr>
            <a:r>
              <a:rPr lang="en-US" dirty="0"/>
              <a:t>Bullet level one</a:t>
            </a:r>
          </a:p>
          <a:p>
            <a:pPr lvl="1">
              <a:spcBef>
                <a:spcPts val="0"/>
              </a:spcBef>
            </a:pPr>
            <a:r>
              <a:rPr lang="en-US" dirty="0"/>
              <a:t>Bullet level two</a:t>
            </a:r>
            <a:endParaRPr dirty="0"/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85C63F4F-9B1D-48B9-B01E-A10B1592D270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473103" y="1905000"/>
            <a:ext cx="5630178" cy="4191000"/>
          </a:xfrm>
        </p:spPr>
        <p:txBody>
          <a:bodyPr anchor="ctr"/>
          <a:lstStyle>
            <a:lvl1pPr algn="ctr">
              <a:defRPr>
                <a:solidFill>
                  <a:srgbClr val="B4009E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10257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C Screen +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17678" y="1433031"/>
            <a:ext cx="5700644" cy="5429877"/>
          </a:xfrm>
          <a:prstGeom prst="rect">
            <a:avLst/>
          </a:prstGeom>
        </p:spPr>
      </p:pic>
      <p:sp>
        <p:nvSpPr>
          <p:cNvPr id="5" name="Picture Placeholder 4"/>
          <p:cNvSpPr>
            <a:spLocks noGrp="1"/>
          </p:cNvSpPr>
          <p:nvPr>
            <p:ph type="pic" sz="quarter" idx="27"/>
          </p:nvPr>
        </p:nvSpPr>
        <p:spPr>
          <a:xfrm>
            <a:off x="6809222" y="1839351"/>
            <a:ext cx="5409100" cy="5007646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rgbClr val="B4009E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itle Placeholder 2">
            <a:extLst>
              <a:ext uri="{FF2B5EF4-FFF2-40B4-BE49-F238E27FC236}">
                <a16:creationId xmlns:a16="http://schemas.microsoft.com/office/drawing/2014/main" id="{4ED96F2B-B9BA-4E98-B1E2-09D18F6A59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103" y="457200"/>
            <a:ext cx="10972800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236E7C6A-A303-4FDB-B6B8-5D88290F27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442502"/>
            <a:ext cx="528074" cy="266241"/>
          </a:xfrm>
          <a:prstGeom prst="rect">
            <a:avLst/>
          </a:prstGeom>
        </p:spPr>
        <p:txBody>
          <a:bodyPr anchor="t"/>
          <a:lstStyle>
            <a:lvl1pPr algn="r">
              <a:defRPr sz="1200">
                <a:solidFill>
                  <a:schemeClr val="accent6"/>
                </a:solidFill>
              </a:defRPr>
            </a:lvl1pPr>
          </a:lstStyle>
          <a:p>
            <a:fld id="{B9D7F84B-3C83-9746-917C-397D4BD96F6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674C8F2-F047-4FCF-8943-2578FE19FEF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3102" y="1839352"/>
            <a:ext cx="5622897" cy="4541596"/>
          </a:xfrm>
          <a:prstGeom prst="rect">
            <a:avLst/>
          </a:prstGeom>
        </p:spPr>
        <p:txBody>
          <a:bodyPr vert="horz" wrap="square" lIns="0" tIns="0" rIns="18288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899901650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C Screen +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457" y="1414770"/>
            <a:ext cx="5817866" cy="5443229"/>
          </a:xfrm>
          <a:prstGeom prst="rect">
            <a:avLst/>
          </a:prstGeom>
        </p:spPr>
      </p:pic>
      <p:sp>
        <p:nvSpPr>
          <p:cNvPr id="5" name="Picture Placeholder 4"/>
          <p:cNvSpPr>
            <a:spLocks noGrp="1"/>
          </p:cNvSpPr>
          <p:nvPr>
            <p:ph type="pic" sz="quarter" idx="27"/>
          </p:nvPr>
        </p:nvSpPr>
        <p:spPr>
          <a:xfrm>
            <a:off x="0" y="1827037"/>
            <a:ext cx="5422401" cy="5019960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rgbClr val="B4009E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itle Placeholder 2">
            <a:extLst>
              <a:ext uri="{FF2B5EF4-FFF2-40B4-BE49-F238E27FC236}">
                <a16:creationId xmlns:a16="http://schemas.microsoft.com/office/drawing/2014/main" id="{A148A8CD-2643-4A3A-8ACB-8D5DC84BC0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103" y="457200"/>
            <a:ext cx="10972800" cy="8001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EC9A58A-9A2E-054F-968B-0EAFEE732C6B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CDD260C-CCCD-467E-AF20-0BCBF4300AC7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6096000" y="1839352"/>
            <a:ext cx="5638799" cy="454159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4939507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C Screen + Conce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24553" y="1439579"/>
            <a:ext cx="5693769" cy="5423329"/>
          </a:xfrm>
          <a:prstGeom prst="rect">
            <a:avLst/>
          </a:prstGeom>
        </p:spPr>
      </p:pic>
      <p:sp>
        <p:nvSpPr>
          <p:cNvPr id="5" name="Picture Placeholder 4"/>
          <p:cNvSpPr>
            <a:spLocks noGrp="1"/>
          </p:cNvSpPr>
          <p:nvPr>
            <p:ph type="pic" sz="quarter" idx="27"/>
          </p:nvPr>
        </p:nvSpPr>
        <p:spPr>
          <a:xfrm>
            <a:off x="6819900" y="1849235"/>
            <a:ext cx="5398422" cy="4997761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rgbClr val="B4009E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FC5D7497-43E0-43D6-8854-1B74C949DE07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1882801" y="1183713"/>
            <a:ext cx="2803500" cy="2092885"/>
          </a:xfrm>
        </p:spPr>
        <p:txBody>
          <a:bodyPr anchor="ctr"/>
          <a:lstStyle>
            <a:lvl1pPr algn="ctr">
              <a:defRPr sz="1600" b="1" i="0">
                <a:solidFill>
                  <a:srgbClr val="B4009E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83E5DE2-86E4-48F3-A62D-D5DF9BDF85B0}"/>
              </a:ext>
            </a:extLst>
          </p:cNvPr>
          <p:cNvCxnSpPr>
            <a:cxnSpLocks/>
          </p:cNvCxnSpPr>
          <p:nvPr userDrawn="1"/>
        </p:nvCxnSpPr>
        <p:spPr>
          <a:xfrm>
            <a:off x="473102" y="3894138"/>
            <a:ext cx="5622898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19" name="Shape 78">
            <a:extLst>
              <a:ext uri="{FF2B5EF4-FFF2-40B4-BE49-F238E27FC236}">
                <a16:creationId xmlns:a16="http://schemas.microsoft.com/office/drawing/2014/main" id="{71C8E277-7D4C-447B-AFAB-D7CF24D9E342}"/>
              </a:ext>
            </a:extLst>
          </p:cNvPr>
          <p:cNvSpPr txBox="1">
            <a:spLocks noGrp="1"/>
          </p:cNvSpPr>
          <p:nvPr>
            <p:ph type="body" idx="30" hasCustomPrompt="1"/>
          </p:nvPr>
        </p:nvSpPr>
        <p:spPr>
          <a:xfrm>
            <a:off x="473102" y="3276599"/>
            <a:ext cx="5622898" cy="720506"/>
          </a:xfrm>
          <a:prstGeom prst="rect">
            <a:avLst/>
          </a:prstGeom>
          <a:ln>
            <a:noFill/>
          </a:ln>
        </p:spPr>
        <p:txBody>
          <a:bodyPr vert="horz" wrap="square" lIns="67222" tIns="67222" rIns="67222" bIns="67222" rtlCol="0" anchor="ctr">
            <a:noAutofit/>
          </a:bodyPr>
          <a:lstStyle>
            <a:lvl1pPr algn="ctr">
              <a:defRPr lang="en-US" sz="2000" b="1" i="0" dirty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 algn="ctr" defTabSz="914367">
              <a:spcAft>
                <a:spcPts val="588"/>
              </a:spcAft>
            </a:pPr>
            <a:r>
              <a:rPr lang="en-US" dirty="0"/>
              <a:t>Column 1</a:t>
            </a:r>
          </a:p>
        </p:txBody>
      </p:sp>
      <p:sp>
        <p:nvSpPr>
          <p:cNvPr id="20" name="Shape 69">
            <a:extLst>
              <a:ext uri="{FF2B5EF4-FFF2-40B4-BE49-F238E27FC236}">
                <a16:creationId xmlns:a16="http://schemas.microsoft.com/office/drawing/2014/main" id="{70591C03-C195-4562-B18E-1D79C2C9AE21}"/>
              </a:ext>
            </a:extLst>
          </p:cNvPr>
          <p:cNvSpPr txBox="1">
            <a:spLocks noGrp="1"/>
          </p:cNvSpPr>
          <p:nvPr>
            <p:ph type="body" idx="32" hasCustomPrompt="1"/>
          </p:nvPr>
        </p:nvSpPr>
        <p:spPr>
          <a:xfrm>
            <a:off x="473102" y="3997105"/>
            <a:ext cx="5622898" cy="2325956"/>
          </a:xfrm>
          <a:prstGeom prst="rect">
            <a:avLst/>
          </a:prstGeom>
        </p:spPr>
        <p:txBody>
          <a:bodyPr vert="horz" wrap="square" lIns="67222" tIns="0" rIns="67222" bIns="0" rtlCol="0" anchor="t">
            <a:noAutofit/>
          </a:bodyPr>
          <a:lstStyle>
            <a:lvl1pPr algn="ctr">
              <a:defRPr sz="20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 algn="ctr" defTabSz="914367">
              <a:spcBef>
                <a:spcPts val="0"/>
              </a:spcBef>
              <a:spcAft>
                <a:spcPts val="1176"/>
              </a:spcAft>
              <a:buFont typeface="Arial"/>
            </a:pPr>
            <a:r>
              <a:rPr lang="en-US" dirty="0"/>
              <a:t>level one</a:t>
            </a:r>
          </a:p>
          <a:p>
            <a:pPr lvl="0" algn="ctr" defTabSz="914367">
              <a:spcBef>
                <a:spcPts val="0"/>
              </a:spcBef>
              <a:spcAft>
                <a:spcPts val="1176"/>
              </a:spcAft>
              <a:buFont typeface="Arial"/>
            </a:pPr>
            <a:r>
              <a:rPr lang="en-US" dirty="0"/>
              <a:t>level two</a:t>
            </a:r>
          </a:p>
        </p:txBody>
      </p:sp>
      <p:sp>
        <p:nvSpPr>
          <p:cNvPr id="21" name="Title Placeholder 2">
            <a:extLst>
              <a:ext uri="{FF2B5EF4-FFF2-40B4-BE49-F238E27FC236}">
                <a16:creationId xmlns:a16="http://schemas.microsoft.com/office/drawing/2014/main" id="{266178FF-475A-4E85-B10B-BB484DCB94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599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79B7A28B-DF7F-46F2-924F-B96EF909C3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442502"/>
            <a:ext cx="528074" cy="390311"/>
          </a:xfrm>
          <a:prstGeom prst="rect">
            <a:avLst/>
          </a:prstGeom>
        </p:spPr>
        <p:txBody>
          <a:bodyPr anchor="t"/>
          <a:lstStyle>
            <a:lvl1pPr algn="r">
              <a:defRPr sz="1200">
                <a:solidFill>
                  <a:schemeClr val="accent6"/>
                </a:solidFill>
              </a:defRPr>
            </a:lvl1pPr>
          </a:lstStyle>
          <a:p>
            <a:fld id="{B9D7F84B-3C83-9746-917C-397D4BD96F6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8223829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idden slide">
    <p:bg>
      <p:bgPr>
        <a:solidFill>
          <a:schemeClr val="bg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C7B6D2C-4312-4967-BAAC-9D48AEB848A3}"/>
              </a:ext>
            </a:extLst>
          </p:cNvPr>
          <p:cNvSpPr/>
          <p:nvPr userDrawn="1"/>
        </p:nvSpPr>
        <p:spPr>
          <a:xfrm>
            <a:off x="0" y="6246796"/>
            <a:ext cx="12192000" cy="611204"/>
          </a:xfrm>
          <a:prstGeom prst="rect">
            <a:avLst/>
          </a:prstGeom>
          <a:solidFill>
            <a:srgbClr val="92D050">
              <a:alpha val="7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969540-D041-46CC-B2E2-E906601221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9534536-D30D-44F8-BCC3-003C1D55AB01}"/>
              </a:ext>
            </a:extLst>
          </p:cNvPr>
          <p:cNvSpPr txBox="1"/>
          <p:nvPr userDrawn="1"/>
        </p:nvSpPr>
        <p:spPr>
          <a:xfrm>
            <a:off x="105878" y="6306176"/>
            <a:ext cx="4032985" cy="492443"/>
          </a:xfrm>
          <a:prstGeom prst="rect">
            <a:avLst/>
          </a:prstGeom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US" sz="3200">
                <a:solidFill>
                  <a:srgbClr val="000000"/>
                </a:solidFill>
              </a:rPr>
              <a:t>Hidden Slid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71AD671C-BBA0-4AB5-91D7-E4F245ACA47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73102" y="1257300"/>
            <a:ext cx="11261697" cy="4980888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Segoe Semibold" charset="0"/>
                <a:ea typeface="Segoe Semibold" charset="0"/>
                <a:cs typeface="Segoe Semibold" charset="0"/>
              </a:defRPr>
            </a:lvl1pPr>
            <a:lvl2pPr>
              <a:defRPr sz="2000" b="0" i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2pPr>
            <a:lvl3pPr>
              <a:defRPr sz="1800" b="0" i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3pPr>
            <a:lvl4pPr>
              <a:defRPr sz="1600" b="0" i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4pPr>
            <a:lvl5pPr>
              <a:defRPr sz="1400" b="0" i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E4AE94F-5DCA-ED49-8E82-3CDE4E86917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010899" y="6442502"/>
            <a:ext cx="1180135" cy="41549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29AFA16-AEC4-7D4A-82F3-BDAE8E49079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3573469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343940" y="6517209"/>
            <a:ext cx="2844904" cy="2731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05EA2D-13DB-4BA1-9DA1-8ED54A2EECC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6097873"/>
      </p:ext>
    </p:extLst>
  </p:cSld>
  <p:clrMapOvr>
    <a:masterClrMapping/>
  </p:clrMapOvr>
  <p:transition>
    <p:fad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idx="4294967295"/>
          </p:nvPr>
        </p:nvSpPr>
        <p:spPr>
          <a:xfrm>
            <a:off x="217715" y="201706"/>
            <a:ext cx="10232571" cy="326372"/>
          </a:xfrm>
        </p:spPr>
        <p:txBody>
          <a:bodyPr/>
          <a:lstStyle/>
          <a:p>
            <a:r>
              <a:rPr lang="en-US" sz="2118">
                <a:solidFill>
                  <a:schemeClr val="tx1"/>
                </a:solidFill>
              </a:rPr>
              <a:t>Click to edit Master title style</a:t>
            </a:r>
            <a:endParaRPr lang="en-US" sz="2118" dirty="0">
              <a:solidFill>
                <a:schemeClr val="tx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1422743" y="6611470"/>
            <a:ext cx="616857" cy="30681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882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  <a:lvl2pPr marL="263350" indent="0">
              <a:buNone/>
              <a:defRPr/>
            </a:lvl2pPr>
            <a:lvl3pPr marL="438915" indent="0">
              <a:buNone/>
              <a:defRPr/>
            </a:lvl3pPr>
            <a:lvl4pPr marL="614482" indent="0">
              <a:buNone/>
              <a:defRPr/>
            </a:lvl4pPr>
            <a:lvl5pPr marL="790047" indent="0">
              <a:buNone/>
              <a:defRPr/>
            </a:lvl5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352002187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B27273-82A0-4F03-B551-F05C0A270C9F}" type="datetimeFigureOut">
              <a:rPr lang="en-US" smtClean="0"/>
              <a:t>1/28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8363C5-1D77-4ABE-8C60-573DC6EF2A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754474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505050">
                        <a:alpha val="50000"/>
                      </a:srgbClr>
                    </a:gs>
                    <a:gs pos="86000">
                      <a:srgbClr val="505050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828760038"/>
      </p:ext>
    </p:extLst>
  </p:cSld>
  <p:clrMapOvr>
    <a:masterClrMapping/>
  </p:clrMapOvr>
  <p:transition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hape 12"/>
          <p:cNvSpPr/>
          <p:nvPr userDrawn="1"/>
        </p:nvSpPr>
        <p:spPr>
          <a:xfrm>
            <a:off x="112053" y="109829"/>
            <a:ext cx="11960112" cy="6606529"/>
          </a:xfrm>
          <a:prstGeom prst="rect">
            <a:avLst/>
          </a:prstGeom>
          <a:solidFill>
            <a:srgbClr val="22313C"/>
          </a:solidFill>
          <a:ln>
            <a:noFill/>
          </a:ln>
        </p:spPr>
        <p:txBody>
          <a:bodyPr lIns="89617" tIns="44797" rIns="89617" bIns="44797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Clr>
                <a:schemeClr val="dk1"/>
              </a:buClr>
              <a:buFont typeface="Arial"/>
              <a:buNone/>
            </a:pPr>
            <a:endParaRPr sz="1765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3" name="Shape 365"/>
          <p:cNvPicPr preferRelativeResize="0">
            <a:picLocks/>
          </p:cNvPicPr>
          <p:nvPr userDrawn="1"/>
        </p:nvPicPr>
        <p:blipFill rotWithShape="1">
          <a:blip r:embed="rId2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9836" y="-82494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tangle 1"/>
          <p:cNvSpPr/>
          <p:nvPr userDrawn="1"/>
        </p:nvSpPr>
        <p:spPr bwMode="auto">
          <a:xfrm>
            <a:off x="266064" y="2084190"/>
            <a:ext cx="6723187" cy="358620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47" tIns="143400" rIns="179247" bIns="1434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1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1" y="2084186"/>
            <a:ext cx="6723187" cy="1793104"/>
          </a:xfrm>
          <a:noFill/>
          <a:ln>
            <a:noFill/>
          </a:ln>
        </p:spPr>
        <p:txBody>
          <a:bodyPr lIns="146275" tIns="91422" rIns="146275" bIns="91422" anchor="t" anchorCtr="0"/>
          <a:lstStyle>
            <a:lvl1pPr>
              <a:defRPr sz="5294" spc="-97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73"/>
            <a:ext cx="6723187" cy="1789991"/>
          </a:xfrm>
        </p:spPr>
        <p:txBody>
          <a:bodyPr tIns="109704" bIns="109704">
            <a:noAutofit/>
          </a:bodyPr>
          <a:lstStyle>
            <a:lvl1pPr marL="0" indent="0">
              <a:spcBef>
                <a:spcPts val="0"/>
              </a:spcBef>
              <a:buNone/>
              <a:defRPr sz="3039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343941" y="6193368"/>
            <a:ext cx="1664788" cy="358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2243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9"/>
            <a:ext cx="11653523" cy="2015804"/>
          </a:xfrm>
        </p:spPr>
        <p:txBody>
          <a:bodyPr>
            <a:spAutoFit/>
          </a:bodyPr>
          <a:lstStyle>
            <a:lvl1pPr>
              <a:buClr>
                <a:srgbClr val="008774"/>
              </a:buClr>
              <a:defRPr sz="3627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877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2893538"/>
      </p:ext>
    </p:extLst>
  </p:cSld>
  <p:clrMapOvr>
    <a:masterClrMapping/>
  </p:clrMapOvr>
  <p:transition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333558"/>
            <a:ext cx="11653523" cy="2129777"/>
          </a:xfrm>
        </p:spPr>
        <p:txBody>
          <a:bodyPr>
            <a:spAutoFit/>
          </a:bodyPr>
          <a:lstStyle>
            <a:lvl1pPr>
              <a:defRPr sz="2800" b="0"/>
            </a:lvl1pPr>
            <a:lvl2pPr>
              <a:defRPr sz="2600" b="0">
                <a:latin typeface="+mj-lt"/>
              </a:defRPr>
            </a:lvl2pPr>
            <a:lvl3pPr>
              <a:defRPr sz="2400">
                <a:latin typeface="+mj-lt"/>
              </a:defRPr>
            </a:lvl3pPr>
            <a:lvl4pPr>
              <a:defRPr sz="22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 b="1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7132513"/>
      </p:ext>
    </p:extLst>
  </p:cSld>
  <p:clrMapOvr>
    <a:masterClrMapping/>
  </p:clrMapOvr>
  <p:transition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3" y="1189176"/>
            <a:ext cx="5378548" cy="194941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62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1" indent="0">
              <a:buNone/>
              <a:tabLst/>
              <a:defRPr sz="1961"/>
            </a:lvl3pPr>
            <a:lvl4pPr marL="451212" indent="0">
              <a:buNone/>
              <a:defRPr/>
            </a:lvl4pPr>
            <a:lvl5pPr marL="67215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7" y="1189176"/>
            <a:ext cx="5378548" cy="194941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62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1" indent="0">
              <a:buNone/>
              <a:tabLst/>
              <a:defRPr sz="1961"/>
            </a:lvl3pPr>
            <a:lvl4pPr marL="451212" indent="0">
              <a:buNone/>
              <a:defRPr/>
            </a:lvl4pPr>
            <a:lvl5pPr marL="67215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17720696"/>
      </p:ext>
    </p:extLst>
  </p:cSld>
  <p:clrMapOvr>
    <a:masterClrMapping/>
  </p:clrMapOvr>
  <p:transition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3" y="1189176"/>
            <a:ext cx="5378548" cy="194941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627"/>
            </a:lvl1pPr>
            <a:lvl2pPr marL="0" indent="0">
              <a:buNone/>
              <a:defRPr sz="1961"/>
            </a:lvl2pPr>
            <a:lvl3pPr marL="227161" indent="0">
              <a:buNone/>
              <a:tabLst/>
              <a:defRPr sz="1961"/>
            </a:lvl3pPr>
            <a:lvl4pPr marL="451212" indent="0">
              <a:buNone/>
              <a:defRPr/>
            </a:lvl4pPr>
            <a:lvl5pPr marL="67215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7" y="1189176"/>
            <a:ext cx="5378548" cy="194941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627"/>
            </a:lvl1pPr>
            <a:lvl2pPr marL="0" indent="0">
              <a:buNone/>
              <a:defRPr sz="1961"/>
            </a:lvl2pPr>
            <a:lvl3pPr marL="227161" indent="0">
              <a:buNone/>
              <a:tabLst/>
              <a:defRPr sz="1961"/>
            </a:lvl3pPr>
            <a:lvl4pPr marL="451212" indent="0">
              <a:buNone/>
              <a:defRPr/>
            </a:lvl4pPr>
            <a:lvl5pPr marL="67215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64238046"/>
      </p:ext>
    </p:extLst>
  </p:cSld>
  <p:clrMapOvr>
    <a:masterClrMapping/>
  </p:clrMapOvr>
  <p:transition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3" y="1189176"/>
            <a:ext cx="5378548" cy="1934327"/>
          </a:xfrm>
        </p:spPr>
        <p:txBody>
          <a:bodyPr wrap="square">
            <a:spAutoFit/>
          </a:bodyPr>
          <a:lstStyle>
            <a:lvl1pPr marL="281619" indent="-281619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03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595" indent="-228553">
              <a:defRPr sz="2353"/>
            </a:lvl2pPr>
            <a:lvl3pPr marL="685662" indent="-165067">
              <a:tabLst/>
              <a:defRPr sz="1961"/>
            </a:lvl3pPr>
            <a:lvl4pPr marL="863426" indent="-177765">
              <a:defRPr/>
            </a:lvl4pPr>
            <a:lvl5pPr marL="1028493" indent="-165067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7" y="1189176"/>
            <a:ext cx="5378548" cy="1934327"/>
          </a:xfrm>
        </p:spPr>
        <p:txBody>
          <a:bodyPr wrap="square">
            <a:spAutoFit/>
          </a:bodyPr>
          <a:lstStyle>
            <a:lvl1pPr marL="281619" indent="-281619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03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595" indent="-228553">
              <a:defRPr sz="2353"/>
            </a:lvl2pPr>
            <a:lvl3pPr marL="685662" indent="-165067">
              <a:tabLst/>
              <a:defRPr sz="1961"/>
            </a:lvl3pPr>
            <a:lvl4pPr marL="863426" indent="-177765">
              <a:defRPr/>
            </a:lvl4pPr>
            <a:lvl5pPr marL="1028493" indent="-165067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9180635"/>
      </p:ext>
    </p:extLst>
  </p:cSld>
  <p:clrMapOvr>
    <a:masterClrMapping/>
  </p:clrMapOvr>
  <p:transition>
    <p:fade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3" y="1189176"/>
            <a:ext cx="5378548" cy="1934327"/>
          </a:xfrm>
        </p:spPr>
        <p:txBody>
          <a:bodyPr wrap="square">
            <a:spAutoFit/>
          </a:bodyPr>
          <a:lstStyle>
            <a:lvl1pPr marL="281619" indent="-281619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039"/>
            </a:lvl1pPr>
            <a:lvl2pPr marL="520595" indent="-228553">
              <a:defRPr sz="2353"/>
            </a:lvl2pPr>
            <a:lvl3pPr marL="685662" indent="-165067">
              <a:tabLst/>
              <a:defRPr sz="1961"/>
            </a:lvl3pPr>
            <a:lvl4pPr marL="863426" indent="-177765">
              <a:defRPr/>
            </a:lvl4pPr>
            <a:lvl5pPr marL="1028493" indent="-165067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7" y="1189176"/>
            <a:ext cx="5378548" cy="1934327"/>
          </a:xfrm>
        </p:spPr>
        <p:txBody>
          <a:bodyPr wrap="square">
            <a:spAutoFit/>
          </a:bodyPr>
          <a:lstStyle>
            <a:lvl1pPr marL="281619" indent="-281619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039"/>
            </a:lvl1pPr>
            <a:lvl2pPr marL="520595" indent="-228553">
              <a:defRPr sz="2353"/>
            </a:lvl2pPr>
            <a:lvl3pPr marL="685662" indent="-165067">
              <a:tabLst/>
              <a:defRPr sz="1961"/>
            </a:lvl3pPr>
            <a:lvl4pPr marL="863426" indent="-177765">
              <a:defRPr/>
            </a:lvl4pPr>
            <a:lvl5pPr marL="1028493" indent="-165067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61613392"/>
      </p:ext>
    </p:extLst>
  </p:cSld>
  <p:clrMapOvr>
    <a:masterClrMapping/>
  </p:clrMapOvr>
  <p:transition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52495482"/>
      </p:ext>
    </p:extLst>
  </p:cSld>
  <p:clrMapOvr>
    <a:masterClrMapping/>
  </p:clrMapOvr>
  <p:transition>
    <p:fade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8"/>
            <a:ext cx="9859116" cy="2697988"/>
          </a:xfrm>
          <a:noFill/>
        </p:spPr>
        <p:txBody>
          <a:bodyPr tIns="91422" bIns="91422" anchor="t" anchorCtr="0"/>
          <a:lstStyle>
            <a:lvl1pPr>
              <a:defRPr sz="7058" spc="-97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2" y="3877280"/>
            <a:ext cx="9860673" cy="1793881"/>
          </a:xfrm>
          <a:noFill/>
        </p:spPr>
        <p:txBody>
          <a:bodyPr lIns="182841" tIns="146275" rIns="182841" bIns="146275">
            <a:noAutofit/>
          </a:bodyPr>
          <a:lstStyle>
            <a:lvl1pPr marL="0" indent="0">
              <a:spcBef>
                <a:spcPts val="0"/>
              </a:spcBef>
              <a:buNone/>
              <a:defRPr sz="362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831429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505050">
                        <a:alpha val="50000"/>
                      </a:srgbClr>
                    </a:gs>
                    <a:gs pos="86000">
                      <a:srgbClr val="505050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8"/>
            <a:ext cx="9859116" cy="2697988"/>
          </a:xfrm>
          <a:noFill/>
        </p:spPr>
        <p:txBody>
          <a:bodyPr tIns="91422" bIns="91422" anchor="t" anchorCtr="0"/>
          <a:lstStyle>
            <a:lvl1pPr>
              <a:defRPr lang="en-US" sz="7058" b="0" kern="1200" cap="none" spc="-97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1133919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5"/>
            <a:ext cx="11653523" cy="1176886"/>
          </a:xfrm>
          <a:noFill/>
        </p:spPr>
        <p:txBody>
          <a:bodyPr tIns="91422" bIns="91422" anchor="t" anchorCtr="0">
            <a:spAutoFit/>
          </a:bodyPr>
          <a:lstStyle>
            <a:lvl1pPr>
              <a:defRPr sz="7058" spc="-97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27641320"/>
      </p:ext>
    </p:extLst>
  </p:cSld>
  <p:clrMapOvr>
    <a:masterClrMapping/>
  </p:clrMapOvr>
  <p:transition>
    <p:fade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5"/>
            <a:ext cx="11653523" cy="1176886"/>
          </a:xfrm>
          <a:noFill/>
        </p:spPr>
        <p:txBody>
          <a:bodyPr tIns="91422" bIns="91422" anchor="t" anchorCtr="0">
            <a:spAutoFit/>
          </a:bodyPr>
          <a:lstStyle>
            <a:lvl1pPr>
              <a:defRPr sz="7058" spc="-97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857596223"/>
      </p:ext>
    </p:extLst>
  </p:cSld>
  <p:clrMapOvr>
    <a:masterClrMapping/>
  </p:clrMapOvr>
  <p:transition>
    <p:fade/>
  </p:transition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Accent Colo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5"/>
            <a:ext cx="11653523" cy="1176886"/>
          </a:xfrm>
          <a:noFill/>
        </p:spPr>
        <p:txBody>
          <a:bodyPr tIns="91422" bIns="91422" anchor="t" anchorCtr="0">
            <a:spAutoFit/>
          </a:bodyPr>
          <a:lstStyle>
            <a:lvl1pPr>
              <a:defRPr sz="7058" spc="-97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566935590"/>
      </p:ext>
    </p:extLst>
  </p:cSld>
  <p:clrMapOvr>
    <a:masterClrMapping/>
  </p:clrMapOvr>
  <p:transition>
    <p:fade/>
  </p:transition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32675894"/>
      </p:ext>
    </p:extLst>
  </p:cSld>
  <p:clrMapOvr>
    <a:masterClrMapping/>
  </p:clrMapOvr>
  <p:transition>
    <p:fade/>
  </p:transition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26682260"/>
      </p:ext>
    </p:extLst>
  </p:cSld>
  <p:clrMapOvr>
    <a:masterClrMapping/>
  </p:clrMapOvr>
  <p:transition>
    <p:fade/>
  </p:transition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04519109"/>
      </p:ext>
    </p:extLst>
  </p:cSld>
  <p:clrMapOvr>
    <a:masterClrMapping/>
  </p:clrMapOvr>
  <p:transition>
    <p:fade/>
  </p:transition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Accent Colo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85183157"/>
      </p:ext>
    </p:extLst>
  </p:cSld>
  <p:clrMapOvr>
    <a:masterClrMapping/>
  </p:clrMapOvr>
  <p:transition>
    <p:fade/>
  </p:transition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3" tIns="45713" rIns="45713" bIns="457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14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42" y="1197323"/>
            <a:ext cx="11653522" cy="1961485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65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97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35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08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47694270"/>
      </p:ext>
    </p:extLst>
  </p:cSld>
  <p:clrMapOvr>
    <a:masterClrMapping/>
  </p:clrMapOvr>
  <p:transition>
    <p:fade/>
  </p:transition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2" y="6170060"/>
            <a:ext cx="11623331" cy="395296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47" tIns="143400" rIns="179247" bIns="143400" numCol="1" anchor="t" anchorCtr="0" compatLnSpc="1">
            <a:prstTxWarp prst="textNoShape">
              <a:avLst/>
            </a:prstTxWarp>
            <a:spAutoFit/>
          </a:bodyPr>
          <a:lstStyle/>
          <a:p>
            <a:pPr defTabSz="913736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2958513" y="2943654"/>
            <a:ext cx="3214044" cy="690695"/>
          </a:xfrm>
          <a:prstGeom prst="rect">
            <a:avLst/>
          </a:prstGeom>
        </p:spPr>
      </p:pic>
      <p:pic>
        <p:nvPicPr>
          <p:cNvPr id="4" name="Picture 3" descr="Pivotal_Teal_RGB.eps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135" y="2681875"/>
            <a:ext cx="3103082" cy="1214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714676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3195 -0.00124 L -3.4769E-6 1.71499E-6 " pathEditMode="relative" rAng="0" ptsTypes="AA">
                                      <p:cBhvr>
                                        <p:cTn id="1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98" y="62"/>
                                    </p:animMotion>
                                  </p:childTnLst>
                                </p:cTn>
                              </p:par>
                              <p:par>
                                <p:cTn id="12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4291 3.85802E-6 L -2.35347E-6 3.85802E-6 " pathEditMode="relative" rAng="0" ptsTypes="AA">
                                      <p:cBhvr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145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505050">
                        <a:alpha val="50000"/>
                      </a:srgbClr>
                    </a:gs>
                    <a:gs pos="86000">
                      <a:srgbClr val="505050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Note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6"/>
            <a:ext cx="11653523" cy="2381448"/>
          </a:xfrm>
          <a:prstGeom prst="rect">
            <a:avLst/>
          </a:prstGeom>
        </p:spPr>
        <p:txBody>
          <a:bodyPr/>
          <a:lstStyle>
            <a:lvl1pPr marL="284730" indent="-284730">
              <a:buClr>
                <a:schemeClr val="tx1"/>
              </a:buClr>
              <a:buSzPct val="90000"/>
              <a:buFont typeface="Arial" pitchFamily="34" charset="0"/>
              <a:buChar char="•"/>
              <a:defRPr sz="362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126" indent="-275397">
              <a:buClr>
                <a:schemeClr val="tx1"/>
              </a:buClr>
              <a:buSzPct val="90000"/>
              <a:buFont typeface="Arial" pitchFamily="34" charset="0"/>
              <a:buChar char="•"/>
              <a:defRPr sz="303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857" indent="-284730">
              <a:buClr>
                <a:schemeClr val="tx1"/>
              </a:buClr>
              <a:buSzPct val="90000"/>
              <a:buFont typeface="Arial" pitchFamily="34" charset="0"/>
              <a:buChar char="•"/>
              <a:defRPr sz="264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907" indent="-224050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957" indent="-224050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8"/>
            <a:ext cx="12192001" cy="619126"/>
          </a:xfrm>
          <a:prstGeom prst="rect">
            <a:avLst/>
          </a:prstGeom>
          <a:solidFill>
            <a:srgbClr val="FFFF99"/>
          </a:solidFill>
        </p:spPr>
        <p:txBody>
          <a:bodyPr wrap="square" lIns="155425" tIns="77712" rIns="155425" bIns="77712" anchor="b" anchorCtr="0">
            <a:noAutofit/>
          </a:bodyPr>
          <a:lstStyle>
            <a:lvl1pPr algn="r">
              <a:buFont typeface="Arial" pitchFamily="34" charset="0"/>
              <a:buNone/>
              <a:defRPr sz="3627" spc="-49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00327880"/>
      </p:ext>
    </p:extLst>
  </p:cSld>
  <p:clrMapOvr>
    <a:masterClrMapping/>
  </p:clrMapOvr>
  <p:transition>
    <p:fade/>
  </p:transition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 251"/>
          <p:cNvSpPr/>
          <p:nvPr userDrawn="1"/>
        </p:nvSpPr>
        <p:spPr>
          <a:xfrm>
            <a:off x="152400" y="149352"/>
            <a:ext cx="11887200" cy="6559296"/>
          </a:xfrm>
          <a:prstGeom prst="rect">
            <a:avLst/>
          </a:prstGeom>
          <a:solidFill>
            <a:schemeClr val="accent5">
              <a:lumMod val="90000"/>
              <a:lumOff val="10000"/>
            </a:schemeClr>
          </a:solidFill>
          <a:ln>
            <a:noFill/>
          </a:ln>
        </p:spPr>
        <p:txBody>
          <a:bodyPr lIns="121868" tIns="60918" rIns="121868" bIns="6091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353" b="0" i="0" u="none" strike="noStrike" cap="none" baseline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48640" y="463299"/>
            <a:ext cx="7071360" cy="374683"/>
          </a:xfrm>
          <a:prstGeom prst="rect">
            <a:avLst/>
          </a:prstGeom>
          <a:effectLst/>
        </p:spPr>
        <p:txBody>
          <a:bodyPr lIns="0"/>
          <a:lstStyle>
            <a:lvl1pPr marL="0" indent="0">
              <a:buNone/>
              <a:defRPr sz="1372" b="1">
                <a:solidFill>
                  <a:srgbClr val="199F80"/>
                </a:solidFill>
              </a:defRPr>
            </a:lvl1pPr>
            <a:lvl2pPr marL="609416" indent="0">
              <a:buNone/>
              <a:defRPr sz="1372" b="1">
                <a:solidFill>
                  <a:schemeClr val="accent2"/>
                </a:solidFill>
              </a:defRPr>
            </a:lvl2pPr>
            <a:lvl3pPr marL="1218834" indent="0">
              <a:buNone/>
              <a:defRPr sz="1372" b="1">
                <a:solidFill>
                  <a:schemeClr val="accent2"/>
                </a:solidFill>
              </a:defRPr>
            </a:lvl3pPr>
            <a:lvl4pPr marL="1828251" indent="0">
              <a:buNone/>
              <a:defRPr sz="1372" b="1">
                <a:solidFill>
                  <a:schemeClr val="accent2"/>
                </a:solidFill>
              </a:defRPr>
            </a:lvl4pPr>
            <a:lvl5pPr marL="2437668" indent="0">
              <a:buNone/>
              <a:defRPr sz="1372"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548640" y="730759"/>
            <a:ext cx="7071360" cy="48533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157">
                <a:solidFill>
                  <a:schemeClr val="bg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defRPr>
            </a:lvl1pPr>
            <a:lvl2pPr marL="609416" indent="0">
              <a:buNone/>
              <a:defRPr sz="2157"/>
            </a:lvl2pPr>
            <a:lvl3pPr marL="1218834" indent="0">
              <a:buNone/>
              <a:defRPr sz="2157"/>
            </a:lvl3pPr>
            <a:lvl4pPr marL="1828251" indent="0">
              <a:buNone/>
              <a:defRPr sz="2157"/>
            </a:lvl4pPr>
            <a:lvl5pPr marL="2437668" indent="0">
              <a:buNone/>
              <a:defRPr sz="215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48742500"/>
      </p:ext>
    </p:extLst>
  </p:cSld>
  <p:clrMapOvr>
    <a:masterClrMapping/>
  </p:clrMapOvr>
  <p:transition spd="slow">
    <p:wipe dir="r"/>
  </p:transition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and Content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hape 22"/>
          <p:cNvSpPr txBox="1">
            <a:spLocks noGrp="1"/>
          </p:cNvSpPr>
          <p:nvPr>
            <p:ph type="title"/>
          </p:nvPr>
        </p:nvSpPr>
        <p:spPr>
          <a:xfrm>
            <a:off x="488951" y="433916"/>
            <a:ext cx="11214099" cy="613832"/>
          </a:xfrm>
          <a:prstGeom prst="rect">
            <a:avLst/>
          </a:prstGeom>
          <a:noFill/>
          <a:ln>
            <a:noFill/>
          </a:ln>
        </p:spPr>
        <p:txBody>
          <a:bodyPr lIns="124312" tIns="124312" rIns="124312" bIns="124312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dk2"/>
              </a:buClr>
              <a:buFont typeface="Arial"/>
              <a:buNone/>
              <a:defRPr sz="431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buNone/>
              <a:defRPr sz="2353"/>
            </a:lvl2pPr>
            <a:lvl3pPr lvl="2" indent="0">
              <a:spcBef>
                <a:spcPts val="0"/>
              </a:spcBef>
              <a:buNone/>
              <a:defRPr sz="2353"/>
            </a:lvl3pPr>
            <a:lvl4pPr lvl="3" indent="0">
              <a:spcBef>
                <a:spcPts val="0"/>
              </a:spcBef>
              <a:buNone/>
              <a:defRPr sz="2353"/>
            </a:lvl4pPr>
            <a:lvl5pPr lvl="4" indent="0">
              <a:spcBef>
                <a:spcPts val="0"/>
              </a:spcBef>
              <a:buNone/>
              <a:defRPr sz="2353"/>
            </a:lvl5pPr>
            <a:lvl6pPr lvl="5" indent="0">
              <a:spcBef>
                <a:spcPts val="0"/>
              </a:spcBef>
              <a:buNone/>
              <a:defRPr sz="2353"/>
            </a:lvl6pPr>
            <a:lvl7pPr lvl="6" indent="0">
              <a:spcBef>
                <a:spcPts val="0"/>
              </a:spcBef>
              <a:buNone/>
              <a:defRPr sz="2353"/>
            </a:lvl7pPr>
            <a:lvl8pPr lvl="7" indent="0">
              <a:spcBef>
                <a:spcPts val="0"/>
              </a:spcBef>
              <a:buNone/>
              <a:defRPr sz="2353"/>
            </a:lvl8pPr>
            <a:lvl9pPr lvl="8" indent="0">
              <a:spcBef>
                <a:spcPts val="0"/>
              </a:spcBef>
              <a:buNone/>
              <a:defRPr sz="2353"/>
            </a:lvl9pPr>
          </a:lstStyle>
          <a:p>
            <a:endParaRPr/>
          </a:p>
        </p:txBody>
      </p:sp>
      <p:sp>
        <p:nvSpPr>
          <p:cNvPr id="23" name="Shape 23"/>
          <p:cNvSpPr txBox="1">
            <a:spLocks noGrp="1"/>
          </p:cNvSpPr>
          <p:nvPr>
            <p:ph type="body" idx="1"/>
          </p:nvPr>
        </p:nvSpPr>
        <p:spPr>
          <a:xfrm>
            <a:off x="488951" y="1432984"/>
            <a:ext cx="11214099" cy="702609"/>
          </a:xfrm>
          <a:prstGeom prst="rect">
            <a:avLst/>
          </a:prstGeom>
          <a:noFill/>
          <a:ln>
            <a:noFill/>
          </a:ln>
        </p:spPr>
        <p:txBody>
          <a:bodyPr lIns="124312" tIns="124312" rIns="124312" bIns="124312" anchor="t" anchorCtr="0"/>
          <a:lstStyle>
            <a:lvl1pPr marL="304708" marR="0" lvl="0" indent="-101569" algn="l" rtl="0">
              <a:spcBef>
                <a:spcPts val="1600"/>
              </a:spcBef>
              <a:buClr>
                <a:schemeClr val="accent1"/>
              </a:buClr>
              <a:buSzPct val="100000"/>
              <a:buFont typeface="Noto Sans Symbols"/>
              <a:buChar char="•"/>
              <a:defRPr sz="323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90303" marR="0" lvl="1" indent="-211603" algn="l" rtl="0">
              <a:spcBef>
                <a:spcPts val="400"/>
              </a:spcBef>
              <a:buClr>
                <a:schemeClr val="accent1"/>
              </a:buClr>
              <a:buSzPct val="100000"/>
              <a:buFont typeface="Verdana"/>
              <a:buChar char="–"/>
              <a:defRPr sz="264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523543" marR="0" lvl="2" indent="-169283" algn="l" rtl="0">
              <a:spcBef>
                <a:spcPts val="400"/>
              </a:spcBef>
              <a:buClr>
                <a:schemeClr val="accent1"/>
              </a:buClr>
              <a:buSzPct val="100000"/>
              <a:buFont typeface="Verdana"/>
              <a:buChar char="▪"/>
              <a:defRPr sz="215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211254" marR="0" lvl="3" indent="-281432" algn="l" rtl="0">
              <a:spcBef>
                <a:spcPts val="400"/>
              </a:spcBef>
              <a:buClr>
                <a:schemeClr val="accent1"/>
              </a:buClr>
              <a:buSzPct val="100000"/>
              <a:buFont typeface="Verdana"/>
              <a:buChar char="—"/>
              <a:defRPr sz="156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742377" marR="0" lvl="4" indent="-211603" algn="l" rtl="0">
              <a:spcBef>
                <a:spcPts val="400"/>
              </a:spcBef>
              <a:buClr>
                <a:schemeClr val="accent1"/>
              </a:buClr>
              <a:buSzPct val="100000"/>
              <a:buFont typeface="Verdana"/>
              <a:buChar char="»"/>
              <a:defRPr sz="137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351793" marR="0" lvl="5" indent="-135426" algn="l" rtl="0">
              <a:spcBef>
                <a:spcPts val="533"/>
              </a:spcBef>
              <a:buClr>
                <a:schemeClr val="dk1"/>
              </a:buClr>
              <a:buSzPct val="100000"/>
              <a:buFont typeface="Arial"/>
              <a:buChar char="•"/>
              <a:defRPr sz="264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961210" marR="0" lvl="6" indent="-135426" algn="l" rtl="0">
              <a:spcBef>
                <a:spcPts val="533"/>
              </a:spcBef>
              <a:buClr>
                <a:schemeClr val="dk1"/>
              </a:buClr>
              <a:buSzPct val="100000"/>
              <a:buFont typeface="Arial"/>
              <a:buChar char="•"/>
              <a:defRPr sz="264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570627" marR="0" lvl="7" indent="-135426" algn="l" rtl="0">
              <a:spcBef>
                <a:spcPts val="533"/>
              </a:spcBef>
              <a:buClr>
                <a:schemeClr val="dk1"/>
              </a:buClr>
              <a:buSzPct val="100000"/>
              <a:buFont typeface="Arial"/>
              <a:buChar char="•"/>
              <a:defRPr sz="264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180043" marR="0" lvl="8" indent="-135426" algn="l" rtl="0">
              <a:spcBef>
                <a:spcPts val="533"/>
              </a:spcBef>
              <a:buClr>
                <a:schemeClr val="dk1"/>
              </a:buClr>
              <a:buSzPct val="100000"/>
              <a:buFont typeface="Arial"/>
              <a:buChar char="•"/>
              <a:defRPr sz="264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33054554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with Subtitle and Content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hape 20"/>
          <p:cNvSpPr txBox="1">
            <a:spLocks noGrp="1"/>
          </p:cNvSpPr>
          <p:nvPr>
            <p:ph type="body" idx="1"/>
          </p:nvPr>
        </p:nvSpPr>
        <p:spPr>
          <a:xfrm>
            <a:off x="488950" y="1047750"/>
            <a:ext cx="11214099" cy="813278"/>
          </a:xfrm>
          <a:prstGeom prst="rect">
            <a:avLst/>
          </a:prstGeom>
          <a:noFill/>
          <a:ln>
            <a:noFill/>
          </a:ln>
        </p:spPr>
        <p:txBody>
          <a:bodyPr lIns="124338" tIns="124338" rIns="124338" bIns="124338" anchor="t" anchorCtr="0"/>
          <a:lstStyle>
            <a:lvl1pPr marL="0" lvl="0" indent="0" rtl="0">
              <a:spcBef>
                <a:spcPts val="0"/>
              </a:spcBef>
              <a:buClr>
                <a:schemeClr val="dk1"/>
              </a:buClr>
              <a:buFont typeface="Arial"/>
              <a:buNone/>
              <a:defRPr/>
            </a:lvl1pPr>
            <a:lvl2pPr marL="609543" lvl="1" indent="0" rtl="0">
              <a:spcBef>
                <a:spcPts val="0"/>
              </a:spcBef>
              <a:buNone/>
              <a:defRPr/>
            </a:lvl2pPr>
            <a:lvl3pPr marL="1219085" lvl="2" indent="0" rtl="0">
              <a:spcBef>
                <a:spcPts val="0"/>
              </a:spcBef>
              <a:buNone/>
              <a:defRPr/>
            </a:lvl3pPr>
            <a:lvl4pPr marL="1828628" lvl="3" indent="0" rtl="0">
              <a:spcBef>
                <a:spcPts val="0"/>
              </a:spcBef>
              <a:buNone/>
              <a:defRPr/>
            </a:lvl4pPr>
            <a:lvl5pPr marL="2438171" lvl="4" indent="0" rtl="0">
              <a:spcBef>
                <a:spcPts val="0"/>
              </a:spcBef>
              <a:buNone/>
              <a:defRPr/>
            </a:lvl5pPr>
            <a:lvl6pPr marL="3047713" lvl="5" indent="0" rtl="0">
              <a:spcBef>
                <a:spcPts val="0"/>
              </a:spcBef>
              <a:buFont typeface="Arial"/>
              <a:buNone/>
              <a:defRPr/>
            </a:lvl6pPr>
            <a:lvl7pPr marL="3657256" lvl="6" indent="0" rtl="0">
              <a:spcBef>
                <a:spcPts val="0"/>
              </a:spcBef>
              <a:buFont typeface="Arial"/>
              <a:buNone/>
              <a:defRPr/>
            </a:lvl7pPr>
            <a:lvl8pPr marL="4266799" lvl="7" indent="0" rtl="0">
              <a:spcBef>
                <a:spcPts val="0"/>
              </a:spcBef>
              <a:buFont typeface="Arial"/>
              <a:buNone/>
              <a:defRPr/>
            </a:lvl8pPr>
            <a:lvl9pPr marL="4876342" lvl="8" indent="0" rtl="0">
              <a:spcBef>
                <a:spcPts val="0"/>
              </a:spcBef>
              <a:buFont typeface="Arial"/>
              <a:buNone/>
              <a:defRPr/>
            </a:lvl9pPr>
          </a:lstStyle>
          <a:p>
            <a:endParaRPr/>
          </a:p>
        </p:txBody>
      </p:sp>
      <p:sp>
        <p:nvSpPr>
          <p:cNvPr id="21" name="Shape 21"/>
          <p:cNvSpPr txBox="1">
            <a:spLocks noGrp="1"/>
          </p:cNvSpPr>
          <p:nvPr>
            <p:ph type="title"/>
          </p:nvPr>
        </p:nvSpPr>
        <p:spPr>
          <a:xfrm>
            <a:off x="488950" y="433916"/>
            <a:ext cx="11214099" cy="613832"/>
          </a:xfrm>
          <a:prstGeom prst="rect">
            <a:avLst/>
          </a:prstGeom>
          <a:noFill/>
          <a:ln>
            <a:noFill/>
          </a:ln>
        </p:spPr>
        <p:txBody>
          <a:bodyPr lIns="124338" tIns="124338" rIns="124338" bIns="124338" anchor="t" anchorCtr="0"/>
          <a:lstStyle>
            <a:lvl1pPr lvl="0" rtl="0">
              <a:lnSpc>
                <a:spcPct val="90000"/>
              </a:lnSpc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22" name="Shape 22"/>
          <p:cNvSpPr txBox="1">
            <a:spLocks noGrp="1"/>
          </p:cNvSpPr>
          <p:nvPr>
            <p:ph type="body" idx="2"/>
          </p:nvPr>
        </p:nvSpPr>
        <p:spPr>
          <a:xfrm>
            <a:off x="488952" y="1892299"/>
            <a:ext cx="11214099" cy="813278"/>
          </a:xfrm>
          <a:prstGeom prst="rect">
            <a:avLst/>
          </a:prstGeom>
          <a:noFill/>
          <a:ln>
            <a:noFill/>
          </a:ln>
        </p:spPr>
        <p:txBody>
          <a:bodyPr lIns="124338" tIns="124338" rIns="124338" bIns="124338" anchor="t" anchorCtr="0"/>
          <a:lstStyle>
            <a:lvl1pPr lvl="0" rtl="0">
              <a:spcBef>
                <a:spcPts val="1600"/>
              </a:spcBef>
              <a:buClr>
                <a:schemeClr val="accent1"/>
              </a:buClr>
              <a:buFont typeface="Noto Symbol"/>
              <a:buChar char="•"/>
              <a:defRPr/>
            </a:lvl1pPr>
            <a:lvl2pPr lvl="1" rtl="0">
              <a:spcBef>
                <a:spcPts val="400"/>
              </a:spcBef>
              <a:buClr>
                <a:schemeClr val="accent1"/>
              </a:buClr>
              <a:buFont typeface="Verdana"/>
              <a:buChar char="–"/>
              <a:defRPr/>
            </a:lvl2pPr>
            <a:lvl3pPr lvl="2" rtl="0">
              <a:spcBef>
                <a:spcPts val="400"/>
              </a:spcBef>
              <a:buClr>
                <a:schemeClr val="accent1"/>
              </a:buClr>
              <a:buFont typeface="Verdana"/>
              <a:buChar char="▪"/>
              <a:defRPr/>
            </a:lvl3pPr>
            <a:lvl4pPr marL="2211710" lvl="3" indent="-281491" rtl="0">
              <a:spcBef>
                <a:spcPts val="400"/>
              </a:spcBef>
              <a:buClr>
                <a:schemeClr val="accent1"/>
              </a:buClr>
              <a:buFont typeface="Verdana"/>
              <a:buChar char="—"/>
              <a:defRPr/>
            </a:lvl4pPr>
            <a:lvl5pPr lvl="4" rtl="0">
              <a:spcBef>
                <a:spcPts val="400"/>
              </a:spcBef>
              <a:buClr>
                <a:schemeClr val="accent1"/>
              </a:buClr>
              <a:buFont typeface="Verdana"/>
              <a:buChar char="»"/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50892141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Main Page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hape 21"/>
          <p:cNvSpPr txBox="1">
            <a:spLocks noGrp="1"/>
          </p:cNvSpPr>
          <p:nvPr>
            <p:ph type="title"/>
          </p:nvPr>
        </p:nvSpPr>
        <p:spPr>
          <a:xfrm>
            <a:off x="151629" y="199890"/>
            <a:ext cx="11729237" cy="63259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008774"/>
              </a:buClr>
              <a:buFont typeface="Arial"/>
              <a:buNone/>
              <a:defRPr sz="3725" b="1" i="0" u="none" strike="noStrike" cap="none">
                <a:solidFill>
                  <a:srgbClr val="008774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buNone/>
              <a:defRPr sz="1765"/>
            </a:lvl2pPr>
            <a:lvl3pPr lvl="2" indent="0">
              <a:spcBef>
                <a:spcPts val="0"/>
              </a:spcBef>
              <a:buNone/>
              <a:defRPr sz="1765"/>
            </a:lvl3pPr>
            <a:lvl4pPr lvl="3" indent="0">
              <a:spcBef>
                <a:spcPts val="0"/>
              </a:spcBef>
              <a:buNone/>
              <a:defRPr sz="1765"/>
            </a:lvl4pPr>
            <a:lvl5pPr lvl="4" indent="0">
              <a:spcBef>
                <a:spcPts val="0"/>
              </a:spcBef>
              <a:buNone/>
              <a:defRPr sz="1765"/>
            </a:lvl5pPr>
            <a:lvl6pPr lvl="5" indent="0">
              <a:spcBef>
                <a:spcPts val="0"/>
              </a:spcBef>
              <a:buNone/>
              <a:defRPr sz="1765"/>
            </a:lvl6pPr>
            <a:lvl7pPr lvl="6" indent="0">
              <a:spcBef>
                <a:spcPts val="0"/>
              </a:spcBef>
              <a:buNone/>
              <a:defRPr sz="1765"/>
            </a:lvl7pPr>
            <a:lvl8pPr lvl="7" indent="0">
              <a:spcBef>
                <a:spcPts val="0"/>
              </a:spcBef>
              <a:buNone/>
              <a:defRPr sz="1765"/>
            </a:lvl8pPr>
            <a:lvl9pPr lvl="8" indent="0">
              <a:spcBef>
                <a:spcPts val="0"/>
              </a:spcBef>
              <a:buNone/>
              <a:defRPr sz="1765"/>
            </a:lvl9pPr>
          </a:lstStyle>
          <a:p>
            <a:endParaRPr/>
          </a:p>
        </p:txBody>
      </p:sp>
      <p:sp>
        <p:nvSpPr>
          <p:cNvPr id="22" name="Shape 22"/>
          <p:cNvSpPr txBox="1">
            <a:spLocks noGrp="1"/>
          </p:cNvSpPr>
          <p:nvPr>
            <p:ph type="sldNum" idx="12"/>
          </p:nvPr>
        </p:nvSpPr>
        <p:spPr>
          <a:xfrm>
            <a:off x="64330" y="6481950"/>
            <a:ext cx="497783" cy="365125"/>
          </a:xfrm>
          <a:prstGeom prst="rect">
            <a:avLst/>
          </a:prstGeom>
          <a:noFill/>
          <a:ln>
            <a:noFill/>
          </a:ln>
        </p:spPr>
        <p:txBody>
          <a:bodyPr lIns="124350" tIns="62175" rIns="124350" bIns="62175" anchor="t" anchorCtr="0">
            <a:noAutofit/>
          </a:bodyPr>
          <a:lstStyle/>
          <a:p>
            <a:pPr>
              <a:buSzPct val="25000"/>
            </a:pPr>
            <a:fld id="{00000000-1234-1234-1234-123412341234}" type="slidenum">
              <a:rPr lang="en-US" sz="1176" smtClean="0">
                <a:solidFill>
                  <a:srgbClr val="A5A5A5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pPr>
                <a:buSzPct val="25000"/>
              </a:pPr>
              <a:t>‹#›</a:t>
            </a:fld>
            <a:endParaRPr lang="en-US" sz="1176">
              <a:solidFill>
                <a:srgbClr val="A5A5A5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23" name="Shape 23"/>
          <p:cNvSpPr txBox="1">
            <a:spLocks noGrp="1"/>
          </p:cNvSpPr>
          <p:nvPr>
            <p:ph type="body" idx="1"/>
          </p:nvPr>
        </p:nvSpPr>
        <p:spPr>
          <a:xfrm>
            <a:off x="152400" y="832485"/>
            <a:ext cx="11728450" cy="51300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471"/>
              </a:spcBef>
              <a:spcAft>
                <a:spcPts val="0"/>
              </a:spcAft>
              <a:buClr>
                <a:srgbClr val="7F7F7F"/>
              </a:buClr>
              <a:buFont typeface="Arial"/>
              <a:buNone/>
              <a:defRPr sz="2353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72691" marR="0" lvl="1" indent="-102088" algn="l" rtl="0">
              <a:lnSpc>
                <a:spcPct val="90000"/>
              </a:lnSpc>
              <a:spcBef>
                <a:spcPts val="471"/>
              </a:spcBef>
              <a:spcAft>
                <a:spcPts val="0"/>
              </a:spcAft>
              <a:buClr>
                <a:schemeClr val="dk1"/>
              </a:buClr>
              <a:buSzPct val="90000"/>
              <a:buFont typeface="Arial"/>
              <a:buChar char="•"/>
              <a:defRPr sz="2353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2pPr>
            <a:lvl3pPr marL="784338" marR="0" lvl="2" indent="-112048" algn="l" rtl="0">
              <a:lnSpc>
                <a:spcPct val="90000"/>
              </a:lnSpc>
              <a:spcBef>
                <a:spcPts val="392"/>
              </a:spcBef>
              <a:spcAft>
                <a:spcPts val="0"/>
              </a:spcAft>
              <a:buClr>
                <a:schemeClr val="dk1"/>
              </a:buClr>
              <a:buSzPct val="90000"/>
              <a:buFont typeface="Arial"/>
              <a:buChar char="•"/>
              <a:defRPr sz="1961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marL="1008435" marR="0" lvl="3" indent="-123253" algn="l" rtl="0">
              <a:lnSpc>
                <a:spcPct val="90000"/>
              </a:lnSpc>
              <a:spcBef>
                <a:spcPts val="353"/>
              </a:spcBef>
              <a:spcAft>
                <a:spcPts val="0"/>
              </a:spcAft>
              <a:buClr>
                <a:schemeClr val="dk1"/>
              </a:buClr>
              <a:buSzPct val="90000"/>
              <a:buFont typeface="Arial"/>
              <a:buChar char="•"/>
              <a:defRPr sz="1765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1232531" marR="0" lvl="4" indent="-123253" algn="l" rtl="0">
              <a:lnSpc>
                <a:spcPct val="90000"/>
              </a:lnSpc>
              <a:spcBef>
                <a:spcPts val="353"/>
              </a:spcBef>
              <a:spcAft>
                <a:spcPts val="0"/>
              </a:spcAft>
              <a:buClr>
                <a:schemeClr val="dk1"/>
              </a:buClr>
              <a:buSzPct val="90000"/>
              <a:buFont typeface="Arial"/>
              <a:buChar char="•"/>
              <a:defRPr sz="1765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marL="2514509" marR="0" lvl="5" indent="-111694" algn="l" rtl="0">
              <a:spcBef>
                <a:spcPts val="392"/>
              </a:spcBef>
              <a:buClr>
                <a:schemeClr val="dk1"/>
              </a:buClr>
              <a:buSzPct val="100000"/>
              <a:buFont typeface="Arial"/>
              <a:buChar char="•"/>
              <a:defRPr sz="1961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marL="2971693" marR="0" lvl="6" indent="-108237" algn="l" rtl="0">
              <a:spcBef>
                <a:spcPts val="392"/>
              </a:spcBef>
              <a:buClr>
                <a:schemeClr val="dk1"/>
              </a:buClr>
              <a:buSzPct val="100000"/>
              <a:buFont typeface="Arial"/>
              <a:buChar char="•"/>
              <a:defRPr sz="1961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marL="3428877" marR="0" lvl="7" indent="-104777" algn="l" rtl="0">
              <a:spcBef>
                <a:spcPts val="392"/>
              </a:spcBef>
              <a:buClr>
                <a:schemeClr val="dk1"/>
              </a:buClr>
              <a:buSzPct val="100000"/>
              <a:buFont typeface="Arial"/>
              <a:buChar char="•"/>
              <a:defRPr sz="1961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marL="3886061" marR="0" lvl="8" indent="-113768" algn="l" rtl="0">
              <a:spcBef>
                <a:spcPts val="392"/>
              </a:spcBef>
              <a:buClr>
                <a:schemeClr val="dk1"/>
              </a:buClr>
              <a:buSzPct val="100000"/>
              <a:buFont typeface="Arial"/>
              <a:buChar char="•"/>
              <a:defRPr sz="1961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endParaRPr/>
          </a:p>
        </p:txBody>
      </p:sp>
      <p:sp>
        <p:nvSpPr>
          <p:cNvPr id="24" name="Shape 24"/>
          <p:cNvSpPr/>
          <p:nvPr/>
        </p:nvSpPr>
        <p:spPr>
          <a:xfrm>
            <a:off x="0" y="0"/>
            <a:ext cx="12191999" cy="71991"/>
          </a:xfrm>
          <a:prstGeom prst="rect">
            <a:avLst/>
          </a:prstGeom>
          <a:solidFill>
            <a:srgbClr val="008774"/>
          </a:solidFill>
          <a:ln>
            <a:noFill/>
          </a:ln>
        </p:spPr>
        <p:txBody>
          <a:bodyPr lIns="121906" tIns="60953" rIns="121906" bIns="60953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765">
              <a:solidFill>
                <a:schemeClr val="lt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</p:spTree>
    <p:extLst>
      <p:ext uri="{BB962C8B-B14F-4D97-AF65-F5344CB8AC3E}">
        <p14:creationId xmlns:p14="http://schemas.microsoft.com/office/powerpoint/2010/main" val="2001697435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hape 27"/>
          <p:cNvSpPr/>
          <p:nvPr/>
        </p:nvSpPr>
        <p:spPr>
          <a:xfrm>
            <a:off x="-119527" y="-37319"/>
            <a:ext cx="12345396" cy="6960342"/>
          </a:xfrm>
          <a:prstGeom prst="rect">
            <a:avLst/>
          </a:prstGeom>
          <a:solidFill>
            <a:srgbClr val="1B2831"/>
          </a:solidFill>
          <a:ln w="25400" cap="flat" cmpd="sng">
            <a:solidFill>
              <a:srgbClr val="0D645B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121894" tIns="60930" rIns="121894" bIns="6093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353" b="0" i="0" u="none" strike="noStrike" cap="none">
              <a:solidFill>
                <a:schemeClr val="lt1"/>
              </a:solidFill>
              <a:latin typeface="Source Sans Pro"/>
              <a:ea typeface="Source Sans Pro"/>
              <a:cs typeface="Source Sans Pro"/>
              <a:sym typeface="Source Sans Pro"/>
            </a:endParaRPr>
          </a:p>
        </p:txBody>
      </p:sp>
      <p:pic>
        <p:nvPicPr>
          <p:cNvPr id="28" name="Shape 28"/>
          <p:cNvPicPr preferRelativeResize="0"/>
          <p:nvPr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69312" y="488204"/>
            <a:ext cx="1818920" cy="412385"/>
          </a:xfrm>
          <a:prstGeom prst="rect">
            <a:avLst/>
          </a:prstGeom>
          <a:noFill/>
          <a:ln>
            <a:noFill/>
          </a:ln>
        </p:spPr>
      </p:pic>
      <p:sp>
        <p:nvSpPr>
          <p:cNvPr id="29" name="Shape 29"/>
          <p:cNvSpPr txBox="1">
            <a:spLocks noGrp="1"/>
          </p:cNvSpPr>
          <p:nvPr>
            <p:ph type="ctrTitle"/>
          </p:nvPr>
        </p:nvSpPr>
        <p:spPr>
          <a:xfrm>
            <a:off x="1512028" y="2673405"/>
            <a:ext cx="8707716" cy="1530218"/>
          </a:xfrm>
          <a:prstGeom prst="rect">
            <a:avLst/>
          </a:prstGeom>
          <a:noFill/>
          <a:ln>
            <a:noFill/>
          </a:ln>
        </p:spPr>
        <p:txBody>
          <a:bodyPr lIns="124338" tIns="124338" rIns="124338" bIns="124338" anchor="ctr" anchorCtr="0"/>
          <a:lstStyle>
            <a:lvl1pPr marL="0" marR="0" lvl="0" indent="0" algn="l" rtl="0">
              <a:lnSpc>
                <a:spcPct val="80000"/>
              </a:lnSpc>
              <a:spcBef>
                <a:spcPts val="0"/>
              </a:spcBef>
              <a:spcAft>
                <a:spcPts val="667"/>
              </a:spcAft>
              <a:buClr>
                <a:srgbClr val="FFFFFF"/>
              </a:buClr>
              <a:buFont typeface="Source Sans Pro"/>
              <a:buNone/>
              <a:defRPr sz="6372" b="1" i="0" u="none" strike="noStrike" cap="none">
                <a:solidFill>
                  <a:srgbClr val="FFFFF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0" marR="0" lvl="1" indent="0" algn="l" rtl="0">
              <a:spcBef>
                <a:spcPts val="0"/>
              </a:spcBef>
              <a:defRPr/>
            </a:lvl2pPr>
            <a:lvl3pPr marL="0" marR="0" lvl="2" indent="0" algn="l" rtl="0">
              <a:spcBef>
                <a:spcPts val="0"/>
              </a:spcBef>
              <a:defRPr/>
            </a:lvl3pPr>
            <a:lvl4pPr marL="0" marR="0" lvl="3" indent="0" algn="l" rtl="0">
              <a:spcBef>
                <a:spcPts val="0"/>
              </a:spcBef>
              <a:defRPr/>
            </a:lvl4pPr>
            <a:lvl5pPr marL="0" marR="0" lvl="4" indent="0" algn="l" rtl="0">
              <a:spcBef>
                <a:spcPts val="0"/>
              </a:spcBef>
              <a:defRPr/>
            </a:lvl5pPr>
            <a:lvl6pPr marL="0" marR="0" lvl="5" indent="0" algn="l" rtl="0">
              <a:spcBef>
                <a:spcPts val="0"/>
              </a:spcBef>
              <a:defRPr/>
            </a:lvl6pPr>
            <a:lvl7pPr marL="0" marR="0" lvl="6" indent="0" algn="l" rtl="0">
              <a:spcBef>
                <a:spcPts val="0"/>
              </a:spcBef>
              <a:defRPr/>
            </a:lvl7pPr>
            <a:lvl8pPr marL="0" marR="0" lvl="7" indent="0" algn="l" rtl="0">
              <a:spcBef>
                <a:spcPts val="0"/>
              </a:spcBef>
              <a:defRPr/>
            </a:lvl8pPr>
            <a:lvl9pPr marL="0" marR="0" lvl="8" indent="0" algn="l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30" name="Shape 30"/>
          <p:cNvSpPr txBox="1">
            <a:spLocks noGrp="1"/>
          </p:cNvSpPr>
          <p:nvPr>
            <p:ph type="subTitle" idx="1"/>
          </p:nvPr>
        </p:nvSpPr>
        <p:spPr>
          <a:xfrm>
            <a:off x="1512027" y="2115018"/>
            <a:ext cx="8147898" cy="550487"/>
          </a:xfrm>
          <a:prstGeom prst="rect">
            <a:avLst/>
          </a:prstGeom>
          <a:noFill/>
          <a:ln>
            <a:noFill/>
          </a:ln>
        </p:spPr>
        <p:txBody>
          <a:bodyPr lIns="124338" tIns="124338" rIns="124338" bIns="124338" anchor="t" anchorCtr="0"/>
          <a:lstStyle>
            <a:lvl1pPr marL="0" marR="0" lvl="0" indent="0" algn="l" rtl="0">
              <a:spcBef>
                <a:spcPts val="426"/>
              </a:spcBef>
              <a:buClr>
                <a:srgbClr val="43E5D5"/>
              </a:buClr>
              <a:buFont typeface="Arial"/>
              <a:buNone/>
              <a:defRPr sz="2157" b="0" i="0" u="none" strike="noStrike" cap="none">
                <a:solidFill>
                  <a:srgbClr val="43E5D5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609543" marR="0" lvl="1" indent="0" algn="ctr" rtl="0">
              <a:spcBef>
                <a:spcPts val="640"/>
              </a:spcBef>
              <a:buClr>
                <a:srgbClr val="8B8B8B"/>
              </a:buClr>
              <a:buFont typeface="Arial"/>
              <a:buNone/>
              <a:defRPr sz="3235" b="0" i="0" u="none" strike="noStrike" cap="none">
                <a:solidFill>
                  <a:srgbClr val="8B8B8B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1219085" marR="0" lvl="2" indent="0" algn="ctr" rtl="0">
              <a:spcBef>
                <a:spcPts val="533"/>
              </a:spcBef>
              <a:buClr>
                <a:srgbClr val="8B8B8B"/>
              </a:buClr>
              <a:buFont typeface="Arial"/>
              <a:buNone/>
              <a:defRPr sz="2647" b="0" i="0" u="none" strike="noStrike" cap="none">
                <a:solidFill>
                  <a:srgbClr val="8B8B8B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828628" marR="0" lvl="3" indent="0" algn="ctr" rtl="0">
              <a:spcBef>
                <a:spcPts val="480"/>
              </a:spcBef>
              <a:buClr>
                <a:srgbClr val="8B8B8B"/>
              </a:buClr>
              <a:buFont typeface="Arial"/>
              <a:buNone/>
              <a:defRPr sz="2353" b="0" i="0" u="none" strike="noStrike" cap="none">
                <a:solidFill>
                  <a:srgbClr val="8B8B8B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2438171" marR="0" lvl="4" indent="0" algn="ctr" rtl="0">
              <a:spcBef>
                <a:spcPts val="480"/>
              </a:spcBef>
              <a:buClr>
                <a:srgbClr val="8B8B8B"/>
              </a:buClr>
              <a:buFont typeface="Arial"/>
              <a:buNone/>
              <a:defRPr sz="2353" b="0" i="0" u="none" strike="noStrike" cap="none">
                <a:solidFill>
                  <a:srgbClr val="8B8B8B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3047713" marR="0" lvl="5" indent="0" algn="ctr" rtl="0">
              <a:spcBef>
                <a:spcPts val="533"/>
              </a:spcBef>
              <a:buClr>
                <a:srgbClr val="8B8B8B"/>
              </a:buClr>
              <a:buFont typeface="Arial"/>
              <a:buNone/>
              <a:defRPr sz="2647" b="0" i="0" u="none" strike="noStrike" cap="none">
                <a:solidFill>
                  <a:srgbClr val="8B8B8B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6pPr>
            <a:lvl7pPr marL="3657256" marR="0" lvl="6" indent="0" algn="ctr" rtl="0">
              <a:spcBef>
                <a:spcPts val="533"/>
              </a:spcBef>
              <a:buClr>
                <a:srgbClr val="8B8B8B"/>
              </a:buClr>
              <a:buFont typeface="Arial"/>
              <a:buNone/>
              <a:defRPr sz="2647" b="0" i="0" u="none" strike="noStrike" cap="none">
                <a:solidFill>
                  <a:srgbClr val="8B8B8B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7pPr>
            <a:lvl8pPr marL="4266799" marR="0" lvl="7" indent="0" algn="ctr" rtl="0">
              <a:spcBef>
                <a:spcPts val="533"/>
              </a:spcBef>
              <a:buClr>
                <a:srgbClr val="8B8B8B"/>
              </a:buClr>
              <a:buFont typeface="Arial"/>
              <a:buNone/>
              <a:defRPr sz="2647" b="0" i="0" u="none" strike="noStrike" cap="none">
                <a:solidFill>
                  <a:srgbClr val="8B8B8B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8pPr>
            <a:lvl9pPr marL="4876342" marR="0" lvl="8" indent="0" algn="ctr" rtl="0">
              <a:spcBef>
                <a:spcPts val="533"/>
              </a:spcBef>
              <a:buClr>
                <a:srgbClr val="8B8B8B"/>
              </a:buClr>
              <a:buFont typeface="Arial"/>
              <a:buNone/>
              <a:defRPr sz="2647" b="0" i="0" u="none" strike="noStrike" cap="none">
                <a:solidFill>
                  <a:srgbClr val="8B8B8B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9pPr>
          </a:lstStyle>
          <a:p>
            <a:endParaRPr/>
          </a:p>
        </p:txBody>
      </p:sp>
      <p:sp>
        <p:nvSpPr>
          <p:cNvPr id="31" name="Shape 31"/>
          <p:cNvSpPr txBox="1">
            <a:spLocks noGrp="1"/>
          </p:cNvSpPr>
          <p:nvPr>
            <p:ph type="body" idx="2"/>
          </p:nvPr>
        </p:nvSpPr>
        <p:spPr>
          <a:xfrm>
            <a:off x="1512027" y="4421098"/>
            <a:ext cx="10508629" cy="508994"/>
          </a:xfrm>
          <a:prstGeom prst="rect">
            <a:avLst/>
          </a:prstGeom>
          <a:noFill/>
          <a:ln>
            <a:noFill/>
          </a:ln>
        </p:spPr>
        <p:txBody>
          <a:bodyPr lIns="124338" tIns="124338" rIns="124338" bIns="124338" anchor="t" anchorCtr="0"/>
          <a:lstStyle>
            <a:lvl1pPr marL="0" lvl="0" indent="0" rtl="0">
              <a:spcBef>
                <a:spcPts val="0"/>
              </a:spcBef>
              <a:buClr>
                <a:schemeClr val="accent5"/>
              </a:buClr>
              <a:buFont typeface="Source Sans Pro"/>
              <a:buNone/>
              <a:defRPr sz="1863">
                <a:solidFill>
                  <a:schemeClr val="accent5"/>
                </a:solidFill>
              </a:defRPr>
            </a:lvl1pPr>
            <a:lvl2pPr lvl="1" rtl="0">
              <a:spcBef>
                <a:spcPts val="0"/>
              </a:spcBef>
              <a:defRPr sz="3235">
                <a:solidFill>
                  <a:srgbClr val="878787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1219085" lvl="2" indent="0" algn="l" rtl="0">
              <a:spcBef>
                <a:spcPts val="0"/>
              </a:spcBef>
              <a:buFont typeface="Source Sans Pro"/>
              <a:buNone/>
              <a:defRPr/>
            </a:lvl3pPr>
            <a:lvl4pPr marL="1828628" lvl="3" indent="0" rtl="0">
              <a:spcBef>
                <a:spcPts val="0"/>
              </a:spcBef>
              <a:buFont typeface="Source Sans Pro"/>
              <a:buNone/>
              <a:defRPr/>
            </a:lvl4pPr>
            <a:lvl5pPr marL="2438171" lvl="4" indent="0" rtl="0">
              <a:spcBef>
                <a:spcPts val="0"/>
              </a:spcBef>
              <a:buFont typeface="Source Sans Pro"/>
              <a:buNone/>
              <a:defRPr/>
            </a:lvl5pPr>
            <a:lvl6pPr lvl="5" rtl="0">
              <a:spcBef>
                <a:spcPts val="0"/>
              </a:spcBef>
              <a:defRPr sz="2647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6pPr>
            <a:lvl7pPr lvl="6" rtl="0">
              <a:spcBef>
                <a:spcPts val="0"/>
              </a:spcBef>
              <a:defRPr sz="2647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7pPr>
            <a:lvl8pPr lvl="7" rtl="0">
              <a:spcBef>
                <a:spcPts val="0"/>
              </a:spcBef>
              <a:defRPr sz="2647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8pPr>
            <a:lvl9pPr lvl="8" rtl="0">
              <a:spcBef>
                <a:spcPts val="0"/>
              </a:spcBef>
              <a:defRPr sz="2647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07708289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251"/>
          <p:cNvSpPr/>
          <p:nvPr userDrawn="1"/>
        </p:nvSpPr>
        <p:spPr>
          <a:xfrm>
            <a:off x="0" y="3794"/>
            <a:ext cx="12192000" cy="6858000"/>
          </a:xfrm>
          <a:prstGeom prst="rect">
            <a:avLst/>
          </a:prstGeom>
          <a:solidFill>
            <a:srgbClr val="182730">
              <a:alpha val="62000"/>
            </a:srgbClr>
          </a:solidFill>
          <a:ln>
            <a:noFill/>
          </a:ln>
        </p:spPr>
        <p:txBody>
          <a:bodyPr lIns="121894" tIns="60930" rIns="121894" bIns="6093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353" b="0" i="0" u="none" strike="noStrike" cap="none" baseline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329" y="6481951"/>
            <a:ext cx="497784" cy="365125"/>
          </a:xfrm>
          <a:prstGeom prst="rect">
            <a:avLst/>
          </a:prstGeom>
        </p:spPr>
        <p:txBody>
          <a:bodyPr lIns="124358" tIns="62179" rIns="124358" bIns="62179"/>
          <a:lstStyle>
            <a:lvl1pPr>
              <a:defRPr sz="1176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ADA07C09-8A41-3B46-A636-3955072BBB4F}" type="slidenum">
              <a:rPr lang="en-US" smtClean="0">
                <a:solidFill>
                  <a:srgbClr val="FFFFFF">
                    <a:lumMod val="65000"/>
                  </a:srgbClr>
                </a:solidFill>
                <a:latin typeface="Arial"/>
              </a:rPr>
              <a:pPr/>
              <a:t>‹#›</a:t>
            </a:fld>
            <a:endParaRPr lang="en-US">
              <a:solidFill>
                <a:srgbClr val="FFFFFF">
                  <a:lumMod val="65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33171695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1630" y="199891"/>
            <a:ext cx="11729237" cy="632594"/>
          </a:xfrm>
          <a:prstGeom prst="rect">
            <a:avLst/>
          </a:prstGeom>
        </p:spPr>
        <p:txBody>
          <a:bodyPr/>
          <a:lstStyle>
            <a:lvl1pPr algn="r">
              <a:defRPr sz="3725" b="1">
                <a:solidFill>
                  <a:srgbClr val="008774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63" y="6431151"/>
            <a:ext cx="497784" cy="365125"/>
          </a:xfrm>
          <a:prstGeom prst="rect">
            <a:avLst/>
          </a:prstGeom>
        </p:spPr>
        <p:txBody>
          <a:bodyPr lIns="124358" tIns="62179" rIns="124358" bIns="62179"/>
          <a:lstStyle/>
          <a:p>
            <a:fld id="{ADA07C09-8A41-3B46-A636-3955072BBB4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559989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black background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Shape 32"/>
          <p:cNvSpPr/>
          <p:nvPr/>
        </p:nvSpPr>
        <p:spPr>
          <a:xfrm>
            <a:off x="0" y="1"/>
            <a:ext cx="12192000" cy="6857999"/>
          </a:xfrm>
          <a:prstGeom prst="rect">
            <a:avLst/>
          </a:prstGeom>
          <a:solidFill>
            <a:srgbClr val="000000"/>
          </a:solidFill>
          <a:ln w="1270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121894" tIns="60930" rIns="121894" bIns="60930" anchor="ctr" anchorCtr="0">
            <a:noAutofit/>
          </a:bodyPr>
          <a:lstStyle/>
          <a:p>
            <a:pPr algn="ctr">
              <a:buClr>
                <a:srgbClr val="FFFFFF"/>
              </a:buClr>
              <a:buFont typeface="Arial"/>
              <a:buNone/>
            </a:pPr>
            <a:endParaRPr sz="2353">
              <a:solidFill>
                <a:srgbClr val="FFFFFF"/>
              </a:solidFill>
            </a:endParaRPr>
          </a:p>
        </p:txBody>
      </p:sp>
      <p:sp>
        <p:nvSpPr>
          <p:cNvPr id="33" name="Shape 33"/>
          <p:cNvSpPr/>
          <p:nvPr/>
        </p:nvSpPr>
        <p:spPr>
          <a:xfrm>
            <a:off x="0" y="6172200"/>
            <a:ext cx="12192000" cy="514400"/>
          </a:xfrm>
          <a:prstGeom prst="rect">
            <a:avLst/>
          </a:prstGeom>
          <a:solidFill>
            <a:srgbClr val="00786E"/>
          </a:solidFill>
          <a:ln>
            <a:noFill/>
          </a:ln>
        </p:spPr>
        <p:txBody>
          <a:bodyPr lIns="121894" tIns="60930" rIns="121894" bIns="60930" anchor="ctr" anchorCtr="0">
            <a:noAutofit/>
          </a:bodyPr>
          <a:lstStyle/>
          <a:p>
            <a:pPr>
              <a:buClr>
                <a:srgbClr val="FFFFFF"/>
              </a:buClr>
              <a:buFont typeface="Arial"/>
              <a:buNone/>
            </a:pPr>
            <a:endParaRPr sz="2353">
              <a:solidFill>
                <a:srgbClr val="FFFFFF"/>
              </a:solidFill>
            </a:endParaRPr>
          </a:p>
        </p:txBody>
      </p:sp>
      <p:sp>
        <p:nvSpPr>
          <p:cNvPr id="34" name="Shape 34"/>
          <p:cNvSpPr txBox="1"/>
          <p:nvPr/>
        </p:nvSpPr>
        <p:spPr>
          <a:xfrm flipH="1">
            <a:off x="11404601" y="6695017"/>
            <a:ext cx="711199" cy="16519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>
            <a:noAutofit/>
          </a:bodyPr>
          <a:lstStyle/>
          <a:p>
            <a:pPr algn="r">
              <a:buClr>
                <a:srgbClr val="7F7F7F"/>
              </a:buClr>
              <a:buSzPct val="25000"/>
              <a:buFont typeface="Arial"/>
              <a:buNone/>
            </a:pPr>
            <a:fld id="{00000000-1234-1234-1234-123412341234}" type="slidenum">
              <a:rPr lang="en-US" sz="1078">
                <a:solidFill>
                  <a:srgbClr val="7F7F7F"/>
                </a:solidFill>
              </a:rPr>
              <a:pPr algn="r">
                <a:buClr>
                  <a:srgbClr val="7F7F7F"/>
                </a:buClr>
                <a:buSzPct val="25000"/>
                <a:buFont typeface="Arial"/>
                <a:buNone/>
              </a:pPr>
              <a:t>‹#›</a:t>
            </a:fld>
            <a:endParaRPr lang="en-US" sz="1078">
              <a:solidFill>
                <a:srgbClr val="7F7F7F"/>
              </a:solidFill>
            </a:endParaRPr>
          </a:p>
        </p:txBody>
      </p:sp>
      <p:sp>
        <p:nvSpPr>
          <p:cNvPr id="35" name="Shape 35"/>
          <p:cNvSpPr txBox="1"/>
          <p:nvPr/>
        </p:nvSpPr>
        <p:spPr>
          <a:xfrm>
            <a:off x="488950" y="6690783"/>
            <a:ext cx="3033200" cy="1332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>
            <a:noAutofit/>
          </a:bodyPr>
          <a:lstStyle/>
          <a:p>
            <a:pPr>
              <a:buClr>
                <a:srgbClr val="7F7F7F"/>
              </a:buClr>
              <a:buSzPct val="25000"/>
              <a:buFont typeface="Arial"/>
              <a:buNone/>
            </a:pPr>
            <a:r>
              <a:rPr lang="en-US" sz="784">
                <a:solidFill>
                  <a:srgbClr val="7F7F7F"/>
                </a:solidFill>
              </a:rPr>
              <a:t>© Copyright 2013 Pivotal. All rights reserved.</a:t>
            </a:r>
          </a:p>
        </p:txBody>
      </p:sp>
      <p:pic>
        <p:nvPicPr>
          <p:cNvPr id="36" name="Shape 3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589684" y="6284383"/>
            <a:ext cx="1276398" cy="2944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70061677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emp Basic with Rule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hape 33"/>
          <p:cNvSpPr txBox="1">
            <a:spLocks noGrp="1"/>
          </p:cNvSpPr>
          <p:nvPr>
            <p:ph type="title"/>
          </p:nvPr>
        </p:nvSpPr>
        <p:spPr>
          <a:xfrm>
            <a:off x="609599" y="426719"/>
            <a:ext cx="10972800" cy="484744"/>
          </a:xfrm>
          <a:prstGeom prst="rect">
            <a:avLst/>
          </a:prstGeom>
          <a:noFill/>
          <a:ln>
            <a:noFill/>
          </a:ln>
        </p:spPr>
        <p:txBody>
          <a:bodyPr lIns="124338" tIns="124338" rIns="124338" bIns="124338" anchor="ctr" anchorCtr="0"/>
          <a:lstStyle>
            <a:lvl1pPr lvl="0" rtl="0">
              <a:spcBef>
                <a:spcPts val="0"/>
              </a:spcBef>
              <a:defRPr sz="4313" b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34" name="Shape 34"/>
          <p:cNvSpPr txBox="1">
            <a:spLocks noGrp="1"/>
          </p:cNvSpPr>
          <p:nvPr>
            <p:ph type="body" idx="1"/>
          </p:nvPr>
        </p:nvSpPr>
        <p:spPr>
          <a:xfrm>
            <a:off x="609600" y="1477432"/>
            <a:ext cx="10972800" cy="813278"/>
          </a:xfrm>
          <a:prstGeom prst="rect">
            <a:avLst/>
          </a:prstGeom>
          <a:noFill/>
          <a:ln>
            <a:noFill/>
          </a:ln>
        </p:spPr>
        <p:txBody>
          <a:bodyPr lIns="124338" tIns="124338" rIns="124338" bIns="124338" anchor="t" anchorCtr="0"/>
          <a:lstStyle>
            <a:lvl1pPr lvl="0" rtl="0">
              <a:spcBef>
                <a:spcPts val="0"/>
              </a:spcBef>
              <a:defRPr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defRPr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lvl="2" rtl="0">
              <a:spcBef>
                <a:spcPts val="0"/>
              </a:spcBef>
              <a:defRPr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lvl="3" rtl="0">
              <a:spcBef>
                <a:spcPts val="0"/>
              </a:spcBef>
              <a:defRPr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lvl="4" rtl="0">
              <a:spcBef>
                <a:spcPts val="0"/>
              </a:spcBef>
              <a:defRPr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lvl="5" rtl="0">
              <a:spcBef>
                <a:spcPts val="0"/>
              </a:spcBef>
              <a:defRPr sz="2647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6pPr>
            <a:lvl7pPr lvl="6" rtl="0">
              <a:spcBef>
                <a:spcPts val="0"/>
              </a:spcBef>
              <a:defRPr sz="2647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7pPr>
            <a:lvl8pPr lvl="7" rtl="0">
              <a:spcBef>
                <a:spcPts val="0"/>
              </a:spcBef>
              <a:defRPr sz="2647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8pPr>
            <a:lvl9pPr lvl="8" rtl="0">
              <a:spcBef>
                <a:spcPts val="0"/>
              </a:spcBef>
              <a:defRPr sz="2647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9pPr>
          </a:lstStyle>
          <a:p>
            <a:endParaRPr/>
          </a:p>
        </p:txBody>
      </p:sp>
      <p:sp>
        <p:nvSpPr>
          <p:cNvPr id="35" name="Shape 35"/>
          <p:cNvSpPr/>
          <p:nvPr/>
        </p:nvSpPr>
        <p:spPr>
          <a:xfrm>
            <a:off x="0" y="6172200"/>
            <a:ext cx="12192000" cy="514350"/>
          </a:xfrm>
          <a:prstGeom prst="rect">
            <a:avLst/>
          </a:prstGeom>
          <a:solidFill>
            <a:srgbClr val="00786E"/>
          </a:solidFill>
          <a:ln>
            <a:noFill/>
          </a:ln>
        </p:spPr>
        <p:txBody>
          <a:bodyPr lIns="121894" tIns="60930" rIns="121894" bIns="6093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2353" b="0" i="0" u="none" strike="noStrike" cap="none">
              <a:solidFill>
                <a:schemeClr val="lt1"/>
              </a:solidFill>
              <a:latin typeface="Source Sans Pro"/>
              <a:ea typeface="Source Sans Pro"/>
              <a:cs typeface="Source Sans Pro"/>
              <a:sym typeface="Source Sans Pro"/>
            </a:endParaRPr>
          </a:p>
        </p:txBody>
      </p:sp>
      <p:sp>
        <p:nvSpPr>
          <p:cNvPr id="36" name="Shape 36"/>
          <p:cNvSpPr txBox="1"/>
          <p:nvPr/>
        </p:nvSpPr>
        <p:spPr>
          <a:xfrm>
            <a:off x="488950" y="6691266"/>
            <a:ext cx="3033181" cy="12311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r>
              <a:rPr lang="en-US" sz="784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Copyright 2015 Pivotal. All rights reserved.</a:t>
            </a:r>
          </a:p>
        </p:txBody>
      </p:sp>
      <p:pic>
        <p:nvPicPr>
          <p:cNvPr id="37" name="Shape 37"/>
          <p:cNvPicPr preferRelativeResize="0"/>
          <p:nvPr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88977" y="6285288"/>
            <a:ext cx="1276348" cy="29260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8" name="Shape 38"/>
          <p:cNvCxnSpPr/>
          <p:nvPr/>
        </p:nvCxnSpPr>
        <p:spPr>
          <a:xfrm>
            <a:off x="0" y="1181240"/>
            <a:ext cx="12192000" cy="0"/>
          </a:xfrm>
          <a:prstGeom prst="straightConnector1">
            <a:avLst/>
          </a:prstGeom>
          <a:noFill/>
          <a:ln w="9525" cap="flat" cmpd="sng">
            <a:solidFill>
              <a:srgbClr val="E8E8E8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25881519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505050">
                        <a:alpha val="50000"/>
                      </a:srgbClr>
                    </a:gs>
                    <a:gs pos="86000">
                      <a:srgbClr val="505050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3_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Shape 26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lIns="124335" tIns="124335" rIns="124335" bIns="12433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27" name="Shape 27"/>
          <p:cNvSpPr txBox="1">
            <a:spLocks noGrp="1"/>
          </p:cNvSpPr>
          <p:nvPr>
            <p:ph type="sldNum" idx="12"/>
          </p:nvPr>
        </p:nvSpPr>
        <p:spPr>
          <a:xfrm>
            <a:off x="11296609" y="6217622"/>
            <a:ext cx="731600" cy="524800"/>
          </a:xfrm>
          <a:prstGeom prst="rect">
            <a:avLst/>
          </a:prstGeom>
        </p:spPr>
        <p:txBody>
          <a:bodyPr lIns="124335" tIns="124335" rIns="124335" bIns="12433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80701717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- ANIMA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5"/>
          <p:cNvSpPr>
            <a:spLocks noChangeArrowheads="1"/>
          </p:cNvSpPr>
          <p:nvPr userDrawn="1"/>
        </p:nvSpPr>
        <p:spPr bwMode="auto">
          <a:xfrm>
            <a:off x="3113" y="4309988"/>
            <a:ext cx="12188887" cy="2551127"/>
          </a:xfrm>
          <a:prstGeom prst="rect">
            <a:avLst/>
          </a:prstGeom>
          <a:solidFill>
            <a:srgbClr val="4DA0E2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auto">
          <a:xfrm>
            <a:off x="1" y="5729528"/>
            <a:ext cx="12188888" cy="1131586"/>
          </a:xfrm>
          <a:prstGeom prst="rect">
            <a:avLst/>
          </a:prstGeom>
          <a:solidFill>
            <a:srgbClr val="00188F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sp>
        <p:nvSpPr>
          <p:cNvPr id="11" name="Rectangle 8"/>
          <p:cNvSpPr>
            <a:spLocks noChangeArrowheads="1"/>
          </p:cNvSpPr>
          <p:nvPr userDrawn="1"/>
        </p:nvSpPr>
        <p:spPr bwMode="auto">
          <a:xfrm>
            <a:off x="3113" y="3343392"/>
            <a:ext cx="12185777" cy="277059"/>
          </a:xfrm>
          <a:prstGeom prst="rect">
            <a:avLst/>
          </a:prstGeom>
          <a:solidFill>
            <a:srgbClr val="25B9E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0" y="-312"/>
            <a:ext cx="12191377" cy="6858623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877271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75840"/>
            <a:ext cx="9860610" cy="1801436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49322" y="6061766"/>
            <a:ext cx="1522404" cy="326167"/>
          </a:xfrm>
          <a:prstGeom prst="rect">
            <a:avLst/>
          </a:prstGeom>
        </p:spPr>
      </p:pic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3113" y="4309988"/>
            <a:ext cx="12188887" cy="25511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</p:spTree>
    <p:extLst>
      <p:ext uri="{BB962C8B-B14F-4D97-AF65-F5344CB8AC3E}">
        <p14:creationId xmlns:p14="http://schemas.microsoft.com/office/powerpoint/2010/main" val="1682819255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accel="24000" decel="76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6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3" presetClass="path" presetSubtype="0" accel="24000" decel="76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8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3" presetClass="path" presetSubtype="0" accel="24000" decel="7600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10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9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3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17" dur="9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6" presetClass="emph" presetSubtype="0" accel="100000" autoRev="1" fill="hold" grpId="2" nodeType="withEffect">
                                  <p:stCondLst>
                                    <p:cond delay="50"/>
                                  </p:stCondLst>
                                  <p:childTnLst>
                                    <p:animScale>
                                      <p:cBhvr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9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3" presetClass="path" presetSubtype="0" decel="10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24" dur="9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6" presetClass="emph" presetSubtype="0" accel="100000" autoRev="1" fill="hold" grpId="2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26" dur="500" fill="hold"/>
                                        <p:tgtEl>
                                          <p:spTgt spid="5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9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3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31" dur="9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6" presetClass="emph" presetSubtype="0" accel="100000" autoRev="1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33" dur="500" fill="hold"/>
                                        <p:tgtEl>
                                          <p:spTgt spid="6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0" grpId="0" animBg="1"/>
      <p:bldP spid="11" grpId="0" animBg="1"/>
      <p:bldP spid="13" grpId="0" animBg="1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8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>
        <p:tmplLst>
          <p:tmpl>
            <p:tnLst>
              <p:par>
                <p:cTn presetID="63" presetClass="path" presetSubtype="0" decel="100000" fill="hold" nodeType="withEffect">
                  <p:stCondLst>
                    <p:cond delay="800"/>
                  </p:stCondLst>
                  <p:childTnLst>
                    <p:animMotion origin="layout" path="M -0.01455 -1.34362E-6 L -3.90605E-7 -1.34362E-6 " pathEditMode="relative" rAng="0" ptsTypes="AA">
                      <p:cBhvr>
                        <p:cTn dur="95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728" y="0"/>
                    </p:animMotion>
                  </p:childTnLst>
                </p:cTn>
              </p:par>
            </p:tnLst>
          </p:tmpl>
        </p:tmplLst>
      </p:bldP>
      <p:bldP spid="5" grpId="2">
        <p:tmplLst>
          <p:tmpl>
            <p:tnLst>
              <p:par>
                <p:cTn presetID="6" presetClass="emph" presetSubtype="0" accel="100000" autoRev="1" fill="hold" nodeType="withEffect">
                  <p:stCondLst>
                    <p:cond delay="100"/>
                  </p:stCondLst>
                  <p:childTnLst>
                    <p:animScale>
                      <p:cBhvr>
                        <p:cTn dur="500" fill="hold"/>
                        <p:tgtEl>
                          <p:spTgt spid="5"/>
                        </p:tgtEl>
                      </p:cBhvr>
                      <p:by x="95000" y="95000"/>
                    </p:animScale>
                  </p:childTnLst>
                </p:cTn>
              </p:par>
            </p:tnLst>
          </p:tmpl>
        </p:tmplLst>
      </p:bldP>
      <p:bldP spid="9" grpId="0"/>
      <p:bldP spid="9" grpId="1"/>
      <p:bldP spid="9" grpId="2"/>
    </p:bldLst>
  </p:timing>
  <p:extLst>
    <p:ext uri="{DCECCB84-F9BA-43D5-87BE-67443E8EF086}">
      <p15:sldGuideLst xmlns:p15="http://schemas.microsoft.com/office/powerpoint/2012/main">
        <p15:guide id="4" orient="horz" pos="4406">
          <p15:clr>
            <a:srgbClr val="C35EA4"/>
          </p15:clr>
        </p15:guide>
      </p15:sldGuideLst>
    </p:ext>
  </p:extLs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ent +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>
          <a:xfrm>
            <a:off x="228600" y="228600"/>
            <a:ext cx="11734800" cy="640080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 of slide (Content &amp; image slide)</a:t>
            </a:r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384048" y="1825624"/>
            <a:ext cx="5571329" cy="4427872"/>
          </a:xfrm>
        </p:spPr>
        <p:txBody>
          <a:bodyPr t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6172200" y="1825624"/>
            <a:ext cx="5791199" cy="4427872"/>
          </a:xfrm>
        </p:spPr>
        <p:txBody>
          <a:bodyPr tIns="0"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pc="-30" baseline="0">
                <a:solidFill>
                  <a:schemeClr val="tx2"/>
                </a:solidFill>
              </a:defRPr>
            </a:lvl1pPr>
            <a:lvl2pPr marL="731520" indent="-274320">
              <a:spcBef>
                <a:spcPts val="6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/>
            </a:lvl2pPr>
          </a:lstStyle>
          <a:p>
            <a:pPr lvl="0"/>
            <a:r>
              <a:rPr lang="en-US"/>
              <a:t>Add content here</a:t>
            </a:r>
          </a:p>
          <a:p>
            <a:pPr lvl="1"/>
            <a:r>
              <a:rPr lang="en-US"/>
              <a:t>Sub content here</a:t>
            </a:r>
          </a:p>
          <a:p>
            <a:pPr lvl="0"/>
            <a:r>
              <a:rPr lang="en-US"/>
              <a:t>Try to use short phrases and keywords</a:t>
            </a:r>
          </a:p>
          <a:p>
            <a:pPr lvl="0"/>
            <a:r>
              <a:rPr lang="en-US"/>
              <a:t>Use speaker notes for longer explanations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36" hasCustomPrompt="1"/>
          </p:nvPr>
        </p:nvSpPr>
        <p:spPr>
          <a:xfrm>
            <a:off x="228600" y="914400"/>
            <a:ext cx="11734800" cy="457200"/>
          </a:xfrm>
        </p:spPr>
        <p:txBody>
          <a:bodyPr lIns="146304" tIns="0" bIns="0" anchor="t" anchorCtr="0"/>
          <a:lstStyle>
            <a:lvl1pPr>
              <a:defRPr baseline="0"/>
            </a:lvl1pPr>
          </a:lstStyle>
          <a:p>
            <a:pPr lvl="0"/>
            <a:r>
              <a:rPr lang="en-US"/>
              <a:t>Title of sub header</a:t>
            </a:r>
          </a:p>
        </p:txBody>
      </p:sp>
    </p:spTree>
    <p:extLst>
      <p:ext uri="{BB962C8B-B14F-4D97-AF65-F5344CB8AC3E}">
        <p14:creationId xmlns:p14="http://schemas.microsoft.com/office/powerpoint/2010/main" val="181521189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ection Title Accent Color 1">
    <p:bg>
      <p:bgPr>
        <a:solidFill>
          <a:schemeClr val="bg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21165" y="2793762"/>
            <a:ext cx="8349672" cy="1161921"/>
          </a:xfrm>
          <a:noFill/>
        </p:spPr>
        <p:txBody>
          <a:bodyPr wrap="square" tIns="91440" bIns="91440" anchor="t" anchorCtr="0">
            <a:spAutoFit/>
          </a:bodyPr>
          <a:lstStyle>
            <a:lvl1pPr algn="ctr">
              <a:defRPr sz="7056" b="1" cap="none" spc="-99" baseline="0">
                <a:solidFill>
                  <a:schemeClr val="tx1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8781332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1690630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body slide (with 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302551"/>
            <a:ext cx="11336039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 b="1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44pt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D96C39E9-539A-4F86-B66E-836C1F81F5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7037" y="1221240"/>
            <a:ext cx="11335425" cy="5360083"/>
          </a:xfrm>
        </p:spPr>
        <p:txBody>
          <a:bodyPr/>
          <a:lstStyle>
            <a:lvl1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94092355"/>
      </p:ext>
    </p:extLst>
  </p:cSld>
  <p:clrMapOvr>
    <a:masterClrMapping/>
  </p:clrMapOvr>
  <p:transition>
    <p:fade/>
  </p:transition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SFT_Blank_Dark">
    <p:bg>
      <p:bgPr>
        <a:solidFill>
          <a:schemeClr val="bg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38A9C73-7CE6-4E34-BE66-003DB54128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27200" y="2708277"/>
            <a:ext cx="8737600" cy="1441449"/>
          </a:xfrm>
        </p:spPr>
        <p:txBody>
          <a:bodyPr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  <a:latin typeface="Segoe UI Bold" panose="020B0802040204020203" pitchFamily="34" charset="0"/>
                <a:cs typeface="Segoe UI Bold" panose="020B0802040204020203" pitchFamily="34" charset="0"/>
              </a:defRPr>
            </a:lvl1pPr>
            <a:lvl2pPr marL="0" indent="0">
              <a:buNone/>
              <a:defRPr>
                <a:solidFill>
                  <a:schemeClr val="bg1"/>
                </a:solidFill>
                <a:latin typeface="Segoe UI Bold" panose="020B0802040204020203" pitchFamily="34" charset="0"/>
                <a:cs typeface="Segoe UI Bold" panose="020B0802040204020203" pitchFamily="34" charset="0"/>
              </a:defRPr>
            </a:lvl2pPr>
            <a:lvl3pPr marL="0" indent="0">
              <a:buNone/>
              <a:defRPr>
                <a:solidFill>
                  <a:schemeClr val="bg1"/>
                </a:solidFill>
                <a:latin typeface="Segoe UI Bold" panose="020B0802040204020203" pitchFamily="34" charset="0"/>
                <a:cs typeface="Segoe UI Bold" panose="020B0802040204020203" pitchFamily="34" charset="0"/>
              </a:defRPr>
            </a:lvl3pPr>
            <a:lvl4pPr marL="0" indent="0">
              <a:buNone/>
              <a:defRPr>
                <a:solidFill>
                  <a:schemeClr val="bg1"/>
                </a:solidFill>
                <a:latin typeface="Segoe UI Bold" panose="020B0802040204020203" pitchFamily="34" charset="0"/>
                <a:cs typeface="Segoe UI Bold" panose="020B0802040204020203" pitchFamily="34" charset="0"/>
              </a:defRPr>
            </a:lvl4pPr>
            <a:lvl5pPr marL="0" indent="0">
              <a:buNone/>
              <a:defRPr>
                <a:solidFill>
                  <a:schemeClr val="bg1"/>
                </a:solidFill>
                <a:latin typeface="Segoe UI Bold" panose="020B0802040204020203" pitchFamily="34" charset="0"/>
                <a:cs typeface="Segoe UI Bold" panose="020B08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00080965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SFT_Title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D979DC-9BD7-42AD-BD24-CB8C52E7D25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5451" y="1117139"/>
            <a:ext cx="11336867" cy="1612749"/>
          </a:xfr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/>
            </a:lvl1pPr>
            <a:lvl2pPr marL="380990" indent="-380990">
              <a:buFont typeface="Arial" panose="020B0604020202020204" pitchFamily="34" charset="0"/>
              <a:buChar char="•"/>
              <a:defRPr/>
            </a:lvl2pPr>
            <a:lvl3pPr marL="380990" indent="-380990">
              <a:buFont typeface="Arial" panose="020B0604020202020204" pitchFamily="34" charset="0"/>
              <a:buChar char="•"/>
              <a:defRPr/>
            </a:lvl3pPr>
            <a:lvl4pPr marL="380990" indent="-380990">
              <a:buFont typeface="Arial" panose="020B0604020202020204" pitchFamily="34" charset="0"/>
              <a:buChar char="•"/>
              <a:defRPr/>
            </a:lvl4pPr>
            <a:lvl5pPr marL="380990" indent="-38099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6" y="302552"/>
            <a:ext cx="11336039" cy="602613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b="1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44pt</a:t>
            </a:r>
          </a:p>
        </p:txBody>
      </p:sp>
    </p:spTree>
    <p:extLst>
      <p:ext uri="{BB962C8B-B14F-4D97-AF65-F5344CB8AC3E}">
        <p14:creationId xmlns:p14="http://schemas.microsoft.com/office/powerpoint/2010/main" val="4014579294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 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6424" y="1120574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93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hree column text layout (with bullets)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2310842"/>
            <a:ext cx="3630521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2FCB46-ABD2-4E30-8117-D04A484725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81361" y="2310842"/>
            <a:ext cx="3623050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26963" y="2310841"/>
            <a:ext cx="3630521" cy="2611809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9F8B0FF-313D-4C1A-A7B1-593EFBB6799A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2891F4A9-544F-4CF3-A3B0-A9DCC101E957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6146284-39AE-45CB-80C2-9315EFA1A67C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25067917"/>
      </p:ext>
    </p:extLst>
  </p:cSld>
  <p:clrMapOvr>
    <a:masterClrMapping/>
  </p:clrMapOvr>
  <p:transition>
    <p:fad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SFT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6" y="302551"/>
            <a:ext cx="11336039" cy="602612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b="1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44pt</a:t>
            </a:r>
          </a:p>
        </p:txBody>
      </p:sp>
    </p:spTree>
    <p:extLst>
      <p:ext uri="{BB962C8B-B14F-4D97-AF65-F5344CB8AC3E}">
        <p14:creationId xmlns:p14="http://schemas.microsoft.com/office/powerpoint/2010/main" val="204162327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505050">
                        <a:alpha val="50000"/>
                      </a:srgbClr>
                    </a:gs>
                    <a:gs pos="86000">
                      <a:srgbClr val="505050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2003184"/>
            <a:ext cx="4616169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8263" y="3203721"/>
            <a:ext cx="4616169" cy="1649682"/>
          </a:xfrm>
        </p:spPr>
        <p:txBody>
          <a:bodyPr wrap="square">
            <a:spAutoFit/>
          </a:bodyPr>
          <a:lstStyle>
            <a:lvl1pPr marL="0" indent="0" defTabSz="2233613">
              <a:spcBef>
                <a:spcPts val="18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0" indent="0" defTabSz="2233613">
              <a:buFont typeface="Wingdings" panose="05000000000000000000" pitchFamily="2" charset="2"/>
              <a:buNone/>
              <a:defRPr sz="2000" b="0"/>
            </a:lvl2pPr>
            <a:lvl3pPr marL="0" indent="0" defTabSz="2233613">
              <a:buFont typeface="Wingdings" panose="05000000000000000000" pitchFamily="2" charset="2"/>
              <a:buNone/>
              <a:tabLst/>
              <a:defRPr sz="1600" b="0"/>
            </a:lvl3pPr>
            <a:lvl4pPr marL="0" indent="0" defTabSz="2233613">
              <a:buFont typeface="Wingdings" panose="05000000000000000000" pitchFamily="2" charset="2"/>
              <a:buNone/>
              <a:defRPr sz="1400" b="0"/>
            </a:lvl4pPr>
            <a:lvl5pPr marL="0" indent="0" defTabSz="2233613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7">
            <a:extLst>
              <a:ext uri="{FF2B5EF4-FFF2-40B4-BE49-F238E27FC236}">
                <a16:creationId xmlns:a16="http://schemas.microsoft.com/office/drawing/2014/main" id="{10F95669-17B3-4C7F-9110-BA0624377005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3120205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791780572"/>
      </p:ext>
    </p:extLst>
  </p:cSld>
  <p:clrMapOvr>
    <a:masterClrMapping/>
  </p:clrMapOvr>
  <p:transition>
    <p:fad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299091"/>
          </a:xfrm>
        </p:spPr>
        <p:txBody>
          <a:bodyPr>
            <a:spAutoFit/>
          </a:bodyPr>
          <a:lstStyle>
            <a:lvl3pPr>
              <a:defRPr sz="2353"/>
            </a:lvl3pPr>
            <a:lvl4pPr>
              <a:defRPr sz="1961"/>
            </a:lvl4pPr>
            <a:lvl5pPr>
              <a:defRPr sz="196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4361648" y="6566925"/>
            <a:ext cx="3468706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964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29" b="0" i="0" u="none" strike="noStrike" kern="1200" cap="none" spc="147" normalizeH="0" baseline="0" noProof="0">
                <a:ln>
                  <a:noFill/>
                </a:ln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95279659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505050">
                        <a:alpha val="50000"/>
                      </a:srgbClr>
                    </a:gs>
                    <a:gs pos="86000">
                      <a:srgbClr val="505050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505050">
                        <a:alpha val="50000"/>
                      </a:srgbClr>
                    </a:gs>
                    <a:gs pos="86000">
                      <a:srgbClr val="505050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505050">
                        <a:alpha val="50000"/>
                      </a:srgbClr>
                    </a:gs>
                    <a:gs pos="86000">
                      <a:srgbClr val="505050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1186356"/>
            <a:ext cx="7171398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4773829"/>
            <a:ext cx="7171397" cy="724246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604953" y="298255"/>
            <a:ext cx="4322760" cy="6275864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 bwMode="white">
          <a:xfrm>
            <a:off x="4367360" y="6566898"/>
            <a:ext cx="3457280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4481416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Video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23" y="3343634"/>
            <a:ext cx="12191377" cy="3043622"/>
          </a:xfrm>
          <a:prstGeom prst="rect">
            <a:avLst/>
          </a:prstGeom>
        </p:spPr>
      </p:pic>
      <p:sp>
        <p:nvSpPr>
          <p:cNvPr id="5" name="TextBox 7"/>
          <p:cNvSpPr txBox="1"/>
          <p:nvPr userDrawn="1"/>
        </p:nvSpPr>
        <p:spPr bwMode="white">
          <a:xfrm>
            <a:off x="4367360" y="6566898"/>
            <a:ext cx="3457280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B27273-82A0-4F03-B551-F05C0A270C9F}" type="datetimeFigureOut">
              <a:rPr lang="en-US" smtClean="0"/>
              <a:t>1/28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8363C5-1D77-4ABE-8C60-573DC6EF2A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717197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ct Layout_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71684" y="2084173"/>
            <a:ext cx="8058229" cy="1793104"/>
          </a:xfrm>
        </p:spPr>
        <p:txBody>
          <a:bodyPr/>
          <a:lstStyle>
            <a:lvl1pPr>
              <a:defRPr sz="5882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67360" y="6566898"/>
            <a:ext cx="3457280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Layout_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1165664" y="2084173"/>
            <a:ext cx="9860672" cy="899665"/>
          </a:xfrm>
        </p:spPr>
        <p:txBody>
          <a:bodyPr/>
          <a:lstStyle>
            <a:lvl1pPr marL="277008" indent="-277008">
              <a:tabLst>
                <a:tab pos="277008" algn="l"/>
              </a:tabLst>
              <a:defRPr sz="5882" baseline="0"/>
            </a:lvl1pPr>
          </a:lstStyle>
          <a:p>
            <a:r>
              <a:rPr lang="en-US"/>
              <a:t>“	Add a quote here. Design is easier than it looks, and more important than it seems.”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647788" y="4773813"/>
            <a:ext cx="5378549" cy="1050156"/>
          </a:xfrm>
        </p:spPr>
        <p:txBody>
          <a:bodyPr/>
          <a:lstStyle>
            <a:lvl1pPr marL="0" indent="0" algn="r">
              <a:spcBef>
                <a:spcPts val="0"/>
              </a:spcBef>
              <a:buNone/>
              <a:defRPr sz="3137" baseline="0">
                <a:latin typeface="+mj-lt"/>
              </a:defRPr>
            </a:lvl1pPr>
          </a:lstStyle>
          <a:p>
            <a:pPr lvl="0"/>
            <a:r>
              <a:rPr lang="en-US"/>
              <a:t>Author’s Name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1217195"/>
            <a:ext cx="5378548" cy="1973570"/>
          </a:xfrm>
        </p:spPr>
        <p:txBody>
          <a:bodyPr>
            <a:spAutoFit/>
          </a:bodyPr>
          <a:lstStyle>
            <a:lvl1pPr>
              <a:defRPr sz="647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logo slide_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48213" y="470067"/>
            <a:ext cx="1421436" cy="300619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Note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B27273-82A0-4F03-B551-F05C0A270C9F}" type="datetimeFigureOut">
              <a:rPr lang="en-US" smtClean="0"/>
              <a:t>1/28/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8363C5-1D77-4ABE-8C60-573DC6EF2A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587446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48" y="1088983"/>
            <a:ext cx="11151917" cy="150810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2400"/>
              </a:spcBef>
              <a:buNone/>
              <a:defRPr sz="380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0" indent="0">
              <a:buNone/>
              <a:defRPr sz="2000">
                <a:gradFill>
                  <a:gsLst>
                    <a:gs pos="100000">
                      <a:schemeClr val="tx1"/>
                    </a:gs>
                    <a:gs pos="6000">
                      <a:schemeClr val="tx1"/>
                    </a:gs>
                  </a:gsLst>
                  <a:lin ang="5400000" scaled="0"/>
                </a:gradFill>
              </a:defRPr>
            </a:lvl2pPr>
            <a:lvl3pPr marL="231730" indent="0">
              <a:buNone/>
              <a:defRPr sz="1600">
                <a:gradFill>
                  <a:gsLst>
                    <a:gs pos="100000">
                      <a:schemeClr val="tx1"/>
                    </a:gs>
                    <a:gs pos="6000">
                      <a:schemeClr val="tx1"/>
                    </a:gs>
                  </a:gsLst>
                  <a:lin ang="5400000" scaled="0"/>
                </a:gradFill>
              </a:defRPr>
            </a:lvl3pPr>
            <a:lvl4pPr marL="457112" indent="0">
              <a:buNone/>
              <a:defRPr sz="1200">
                <a:gradFill>
                  <a:gsLst>
                    <a:gs pos="100000">
                      <a:schemeClr val="tx1"/>
                    </a:gs>
                    <a:gs pos="6000">
                      <a:schemeClr val="tx1"/>
                    </a:gs>
                  </a:gsLst>
                  <a:lin ang="5400000" scaled="0"/>
                </a:gradFill>
              </a:defRPr>
            </a:lvl4pPr>
            <a:lvl5pPr marL="693604" indent="0">
              <a:buNone/>
              <a:defRPr sz="1000">
                <a:gradFill>
                  <a:gsLst>
                    <a:gs pos="100000">
                      <a:schemeClr val="tx1"/>
                    </a:gs>
                    <a:gs pos="6000">
                      <a:schemeClr val="tx1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ck Note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9"/>
            <a:ext cx="11653523" cy="2214043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1"/>
              </a:buClr>
              <a:buSzPct val="90000"/>
              <a:buFont typeface="Arial" pitchFamily="34" charset="0"/>
              <a:buNone/>
              <a:defRPr sz="352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  <a:lvl2pPr marL="284593" indent="0">
              <a:buClr>
                <a:schemeClr val="tx1"/>
              </a:buClr>
              <a:buSzPct val="90000"/>
              <a:buFont typeface="Arial" pitchFamily="34" charset="0"/>
              <a:buNone/>
              <a:defRPr sz="313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2pPr>
            <a:lvl3pPr marL="559854" indent="0">
              <a:buClr>
                <a:schemeClr val="tx1"/>
              </a:buClr>
              <a:buSzPct val="90000"/>
              <a:buFont typeface="Arial" pitchFamily="34" charset="0"/>
              <a:buNone/>
              <a:defRPr sz="274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3pPr>
            <a:lvl4pPr marL="844448" indent="0">
              <a:buClr>
                <a:schemeClr val="tx1"/>
              </a:buClr>
              <a:buSzPct val="90000"/>
              <a:buFont typeface="Arial" pitchFamily="34" charset="0"/>
              <a:buNone/>
              <a:defRPr sz="235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4pPr>
            <a:lvl5pPr marL="1068391" indent="0">
              <a:buClr>
                <a:schemeClr val="tx1"/>
              </a:buClr>
              <a:buSzPct val="90000"/>
              <a:buFont typeface="Arial" pitchFamily="34" charset="0"/>
              <a:buNone/>
              <a:defRPr sz="196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ingle Column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74639"/>
            <a:ext cx="11653523" cy="912980"/>
          </a:xfrm>
        </p:spPr>
        <p:txBody>
          <a:bodyPr lIns="182880" tIns="0" rIns="0" bIns="0" anchor="ctr" anchorCtr="0">
            <a:noAutofit/>
          </a:bodyPr>
          <a:lstStyle>
            <a:lvl1pPr algn="l">
              <a:defRPr sz="5291" cap="none" baseline="0">
                <a:solidFill>
                  <a:schemeClr val="accent1"/>
                </a:solidFill>
                <a:latin typeface="Segoe UI Light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Slide heading goes her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" y="6566931"/>
            <a:ext cx="538477" cy="292874"/>
          </a:xfrm>
        </p:spPr>
        <p:txBody>
          <a:bodyPr lIns="0" tIns="0" rIns="0" bIns="0"/>
          <a:lstStyle>
            <a:lvl1pPr algn="ctr">
              <a:defRPr sz="1077">
                <a:solidFill>
                  <a:schemeClr val="tx2"/>
                </a:solidFill>
                <a:latin typeface="Segoe Pro" panose="020B0502040504020203" pitchFamily="34" charset="0"/>
              </a:defRPr>
            </a:lvl1pPr>
          </a:lstStyle>
          <a:p>
            <a:pPr defTabSz="914367"/>
            <a:fld id="{63863B58-CBB8-49E9-BA96-0A2E095CB188}" type="slidenum">
              <a:rPr lang="en-US" smtClean="0">
                <a:solidFill>
                  <a:srgbClr val="68217A"/>
                </a:solidFill>
              </a:rPr>
              <a:pPr defTabSz="914367"/>
              <a:t>‹#›</a:t>
            </a:fld>
            <a:endParaRPr lang="en-US">
              <a:solidFill>
                <a:srgbClr val="68217A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269239" y="1337047"/>
            <a:ext cx="11653523" cy="542906"/>
          </a:xfrm>
        </p:spPr>
        <p:txBody>
          <a:bodyPr lIns="182880" tIns="0" rIns="0" bIns="0"/>
          <a:lstStyle>
            <a:lvl1pPr>
              <a:lnSpc>
                <a:spcPct val="90000"/>
              </a:lnSpc>
              <a:spcBef>
                <a:spcPts val="1175"/>
              </a:spcBef>
              <a:spcAft>
                <a:spcPts val="1175"/>
              </a:spcAft>
              <a:defRPr sz="3919" baseline="0">
                <a:solidFill>
                  <a:schemeClr val="tx1"/>
                </a:solidFill>
                <a:latin typeface="Segoe UI Light" pitchFamily="34" charset="0"/>
              </a:defRPr>
            </a:lvl1pPr>
            <a:lvl2pPr marL="0" marR="0" indent="0" algn="l" defTabSz="1183993" rtl="0" eaLnBrk="1" fontAlgn="auto" latinLnBrk="0" hangingPunct="1">
              <a:lnSpc>
                <a:spcPct val="90000"/>
              </a:lnSpc>
              <a:spcBef>
                <a:spcPts val="1175"/>
              </a:spcBef>
              <a:spcAft>
                <a:spcPts val="1175"/>
              </a:spcAft>
              <a:buClrTx/>
              <a:buSzTx/>
              <a:buFontTx/>
              <a:buNone/>
              <a:tabLst/>
              <a:defRPr baseline="0">
                <a:solidFill>
                  <a:schemeClr val="tx1"/>
                </a:solidFill>
              </a:defRPr>
            </a:lvl2pPr>
            <a:lvl3pPr marL="0" indent="0">
              <a:defRPr/>
            </a:lvl3pPr>
            <a:lvl4pPr marL="0" indent="0">
              <a:defRPr/>
            </a:lvl4pPr>
            <a:lvl5pPr marL="0" indent="0">
              <a:defRPr/>
            </a:lvl5pPr>
          </a:lstStyle>
          <a:p>
            <a:endParaRPr lang="en-US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367"/>
            <a:fld id="{FB2ED993-6719-40D7-973F-58059DCACE95}" type="datetimeFigureOut">
              <a:rPr lang="en-US" smtClean="0">
                <a:solidFill>
                  <a:srgbClr val="000000"/>
                </a:solidFill>
              </a:rPr>
              <a:pPr defTabSz="914367"/>
              <a:t>1/28/21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67"/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67"/>
            <a:fld id="{BD4C8C2B-26F6-4A2E-AD36-8078346D0C29}" type="slidenum">
              <a:rPr lang="en-US" smtClean="0">
                <a:solidFill>
                  <a:srgbClr val="000000"/>
                </a:solidFill>
              </a:rPr>
              <a:pPr defTabSz="914367"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 - for images, video, etc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67"/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67"/>
            <a:fld id="{512ED7FD-B62D-45E0-9FE6-5369AB61B87C}" type="slidenum">
              <a:rPr lang="en-US" smtClean="0">
                <a:solidFill>
                  <a:srgbClr val="000000"/>
                </a:solidFill>
              </a:rPr>
              <a:pPr defTabSz="914367"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504" y="6177868"/>
            <a:ext cx="1828801" cy="672712"/>
          </a:xfrm>
          <a:prstGeom prst="rect">
            <a:avLst/>
          </a:prstGeom>
        </p:spPr>
      </p:pic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266701" y="119190"/>
            <a:ext cx="11658600" cy="914400"/>
          </a:xfrm>
          <a:prstGeom prst="rect">
            <a:avLst/>
          </a:prstGeom>
        </p:spPr>
        <p:txBody>
          <a:bodyPr vert="horz" lIns="137160" tIns="109728" rIns="137160" bIns="109728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0"/>
            <a:ext cx="12191999" cy="6858000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 bwMode="auto">
          <a:xfrm>
            <a:off x="272353" y="291068"/>
            <a:ext cx="6271861" cy="6275864"/>
          </a:xfrm>
          <a:prstGeom prst="rect">
            <a:avLst/>
          </a:prstGeom>
          <a:solidFill>
            <a:srgbClr val="0072C6">
              <a:alpha val="9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79150" tIns="143317" rIns="179150" bIns="143317"/>
          <a:lstStyle/>
          <a:p>
            <a:pPr marL="0" marR="0" lvl="0" indent="0" algn="ctr" defTabSz="913345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3784" y="470067"/>
            <a:ext cx="1279273" cy="28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269246" y="1428409"/>
            <a:ext cx="5378548" cy="879910"/>
          </a:xfrm>
        </p:spPr>
        <p:txBody>
          <a:bodyPr/>
          <a:lstStyle>
            <a:lvl1pPr>
              <a:defRPr sz="5063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269307" y="4353456"/>
            <a:ext cx="5378487" cy="520548"/>
          </a:xfrm>
        </p:spPr>
        <p:txBody>
          <a:bodyPr/>
          <a:lstStyle>
            <a:lvl1pPr marL="0" indent="0" algn="l">
              <a:lnSpc>
                <a:spcPts val="2645"/>
              </a:lnSpc>
              <a:buNone/>
              <a:defRPr sz="2264">
                <a:solidFill>
                  <a:schemeClr val="bg1"/>
                </a:solidFill>
                <a:latin typeface="+mj-lt"/>
              </a:defRPr>
            </a:lvl1pPr>
            <a:lvl2pPr marL="4478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56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3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12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391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6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47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25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88782370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46174902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2" y="1189181"/>
            <a:ext cx="11653523" cy="1991233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99"/>
            </a:lvl2pPr>
            <a:lvl3pPr marL="223912" indent="0">
              <a:buNone/>
              <a:defRPr/>
            </a:lvl3pPr>
            <a:lvl4pPr marL="447820" indent="0">
              <a:buNone/>
              <a:defRPr/>
            </a:lvl4pPr>
            <a:lvl5pPr marL="671735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16724783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3" y="1550045"/>
            <a:ext cx="5692138" cy="5036493"/>
          </a:xfrm>
        </p:spPr>
        <p:txBody>
          <a:bodyPr>
            <a:noAutofit/>
          </a:bodyPr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99"/>
            </a:lvl2pPr>
            <a:lvl3pPr marL="223912" indent="0">
              <a:buNone/>
              <a:defRPr/>
            </a:lvl3pPr>
            <a:lvl4pPr marL="447820" indent="0">
              <a:buNone/>
              <a:defRPr/>
            </a:lvl4pPr>
            <a:lvl5pPr marL="671735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230622" y="1550045"/>
            <a:ext cx="5692138" cy="5036493"/>
          </a:xfrm>
        </p:spPr>
        <p:txBody>
          <a:bodyPr>
            <a:noAutofit/>
          </a:bodyPr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99"/>
            </a:lvl2pPr>
            <a:lvl3pPr marL="223912" indent="0">
              <a:buNone/>
              <a:defRPr/>
            </a:lvl3pPr>
            <a:lvl4pPr marL="447820" indent="0">
              <a:buNone/>
              <a:defRPr/>
            </a:lvl4pPr>
            <a:lvl5pPr marL="671735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2" y="1036638"/>
            <a:ext cx="11655840" cy="513407"/>
          </a:xfrm>
        </p:spPr>
        <p:txBody>
          <a:bodyPr/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0594868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B27273-82A0-4F03-B551-F05C0A270C9F}" type="datetimeFigureOut">
              <a:rPr lang="en-US" smtClean="0"/>
              <a:t>1/28/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8363C5-1D77-4ABE-8C60-573DC6EF2A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048548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81"/>
            <a:ext cx="11653523" cy="205900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7222805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550045"/>
            <a:ext cx="11653523" cy="205900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2" y="1036638"/>
            <a:ext cx="11655840" cy="513407"/>
          </a:xfrm>
        </p:spPr>
        <p:txBody>
          <a:bodyPr/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5816984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3" y="1189181"/>
            <a:ext cx="5692138" cy="26090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230622" y="1189181"/>
            <a:ext cx="5692138" cy="26090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35412406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3" y="1550045"/>
            <a:ext cx="5692138" cy="25941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230622" y="1550045"/>
            <a:ext cx="5692138" cy="25941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2" y="1036638"/>
            <a:ext cx="11655840" cy="513407"/>
          </a:xfrm>
        </p:spPr>
        <p:txBody>
          <a:bodyPr/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130430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 w R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3" y="1439780"/>
            <a:ext cx="5378548" cy="2008273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/>
            </a:lvl1pPr>
            <a:lvl2pPr marL="0" indent="0">
              <a:buNone/>
              <a:defRPr sz="2352"/>
            </a:lvl2pPr>
            <a:lvl3pPr marL="227077" indent="0">
              <a:buNone/>
              <a:tabLst/>
              <a:defRPr sz="1960"/>
            </a:lvl3pPr>
            <a:lvl4pPr marL="451040" indent="0">
              <a:buNone/>
              <a:defRPr/>
            </a:lvl4pPr>
            <a:lvl5pPr marL="671895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5871896" y="1439779"/>
            <a:ext cx="6051178" cy="716509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001546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 Non-bulleted text w R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3" y="1550047"/>
            <a:ext cx="5378548" cy="2008273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/>
            </a:lvl1pPr>
            <a:lvl2pPr marL="0" indent="0">
              <a:buNone/>
              <a:defRPr sz="2352"/>
            </a:lvl2pPr>
            <a:lvl3pPr marL="227077" indent="0">
              <a:buNone/>
              <a:tabLst/>
              <a:defRPr sz="1960"/>
            </a:lvl3pPr>
            <a:lvl4pPr marL="451040" indent="0">
              <a:buNone/>
              <a:defRPr/>
            </a:lvl4pPr>
            <a:lvl5pPr marL="671895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5871896" y="1550046"/>
            <a:ext cx="6051178" cy="716509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2" y="1036638"/>
            <a:ext cx="11655840" cy="513407"/>
          </a:xfrm>
        </p:spPr>
        <p:txBody>
          <a:bodyPr/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6176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67701969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2" y="1036638"/>
            <a:ext cx="11655840" cy="513407"/>
          </a:xfrm>
        </p:spPr>
        <p:txBody>
          <a:bodyPr/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72360494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031180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582616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B27273-82A0-4F03-B551-F05C0A270C9F}" type="datetimeFigureOut">
              <a:rPr lang="en-US" smtClean="0"/>
              <a:t>1/28/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8363C5-1D77-4ABE-8C60-573DC6EF2A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19572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at Why How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 bwMode="auto">
          <a:xfrm>
            <a:off x="418643" y="1432851"/>
            <a:ext cx="11368873" cy="501898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187" tIns="143351" rIns="179187" bIns="14335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 sz="2352">
              <a:solidFill>
                <a:schemeClr val="bg1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418643" y="2021658"/>
            <a:ext cx="11368873" cy="1075862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187" tIns="143351" rIns="179187" bIns="14335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z="2352">
                <a:solidFill>
                  <a:schemeClr val="bg1"/>
                </a:solidFill>
                <a:latin typeface="+mj-lt"/>
              </a:rPr>
              <a:t>What</a:t>
            </a:r>
            <a:endParaRPr lang="en-US" sz="2352">
              <a:solidFill>
                <a:schemeClr val="bg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418640" y="3174746"/>
            <a:ext cx="11366667" cy="2306207"/>
          </a:xfrm>
          <a:prstGeom prst="rect">
            <a:avLst/>
          </a:pr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187" tIns="143351" rIns="179187" bIns="14335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z="2352">
                <a:solidFill>
                  <a:schemeClr val="bg1"/>
                </a:solidFill>
                <a:latin typeface="+mj-lt"/>
              </a:rPr>
              <a:t>How</a:t>
            </a:r>
            <a:endParaRPr lang="en-US" sz="3526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420700" y="1213864"/>
            <a:ext cx="14900" cy="5502495"/>
          </a:xfrm>
          <a:prstGeom prst="line">
            <a:avLst/>
          </a:prstGeom>
          <a:ln w="762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510300" y="2069049"/>
            <a:ext cx="4631528" cy="981082"/>
          </a:xfrm>
        </p:spPr>
        <p:txBody>
          <a:bodyPr anchor="ctr" anchorCtr="0">
            <a:noAutofit/>
          </a:bodyPr>
          <a:lstStyle>
            <a:lvl1pPr marL="0" indent="0">
              <a:buNone/>
              <a:defRPr sz="1960">
                <a:solidFill>
                  <a:srgbClr val="FFFFFF"/>
                </a:solidFill>
                <a:latin typeface="+mn-lt"/>
              </a:defRPr>
            </a:lvl1pPr>
            <a:lvl3pPr marL="559912" indent="0">
              <a:buFont typeface="Arial"/>
              <a:buNone/>
              <a:defRPr/>
            </a:lvl3pPr>
          </a:lstStyle>
          <a:p>
            <a:pPr lvl="0"/>
            <a:r>
              <a:rPr lang="en-US"/>
              <a:t>Table text her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2510300" y="3837312"/>
            <a:ext cx="4631528" cy="981082"/>
          </a:xfrm>
        </p:spPr>
        <p:txBody>
          <a:bodyPr anchor="ctr" anchorCtr="0">
            <a:noAutofit/>
          </a:bodyPr>
          <a:lstStyle>
            <a:lvl1pPr marL="0" indent="0">
              <a:buNone/>
              <a:defRPr sz="1960">
                <a:solidFill>
                  <a:srgbClr val="FFFFFF"/>
                </a:solidFill>
                <a:latin typeface="+mn-lt"/>
              </a:defRPr>
            </a:lvl1pPr>
            <a:lvl3pPr marL="559912" indent="0">
              <a:buFont typeface="Arial"/>
              <a:buNone/>
              <a:defRPr/>
            </a:lvl3pPr>
          </a:lstStyle>
          <a:p>
            <a:pPr lvl="0"/>
            <a:r>
              <a:rPr lang="en-US"/>
              <a:t>Table text here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2510300" y="1511868"/>
            <a:ext cx="4631528" cy="343864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1960">
                <a:solidFill>
                  <a:srgbClr val="FFFFFF"/>
                </a:solidFill>
                <a:latin typeface="+mn-lt"/>
              </a:defRPr>
            </a:lvl1pPr>
            <a:lvl3pPr marL="559912" indent="0">
              <a:buFont typeface="Arial"/>
              <a:buNone/>
              <a:defRPr/>
            </a:lvl3pPr>
          </a:lstStyle>
          <a:p>
            <a:pPr lvl="0"/>
            <a:r>
              <a:rPr lang="en-US"/>
              <a:t>Analyze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7141829" y="2069049"/>
            <a:ext cx="4631528" cy="981082"/>
          </a:xfrm>
        </p:spPr>
        <p:txBody>
          <a:bodyPr anchor="ctr" anchorCtr="0">
            <a:noAutofit/>
          </a:bodyPr>
          <a:lstStyle>
            <a:lvl1pPr marL="0" indent="0">
              <a:buNone/>
              <a:defRPr sz="1960">
                <a:solidFill>
                  <a:srgbClr val="FFFFFF"/>
                </a:solidFill>
                <a:latin typeface="+mn-lt"/>
              </a:defRPr>
            </a:lvl1pPr>
            <a:lvl3pPr marL="559912" indent="0">
              <a:buFont typeface="Arial"/>
              <a:buNone/>
              <a:defRPr/>
            </a:lvl3pPr>
          </a:lstStyle>
          <a:p>
            <a:pPr lvl="0"/>
            <a:r>
              <a:rPr lang="en-US"/>
              <a:t>Table text her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7141829" y="3837312"/>
            <a:ext cx="4631528" cy="981082"/>
          </a:xfrm>
        </p:spPr>
        <p:txBody>
          <a:bodyPr anchor="ctr" anchorCtr="0">
            <a:noAutofit/>
          </a:bodyPr>
          <a:lstStyle>
            <a:lvl1pPr marL="0" indent="0">
              <a:buNone/>
              <a:defRPr sz="1960">
                <a:solidFill>
                  <a:srgbClr val="FFFFFF"/>
                </a:solidFill>
                <a:latin typeface="+mn-lt"/>
              </a:defRPr>
            </a:lvl1pPr>
            <a:lvl3pPr marL="559912" indent="0">
              <a:buFont typeface="Arial"/>
              <a:buNone/>
              <a:defRPr/>
            </a:lvl3pPr>
          </a:lstStyle>
          <a:p>
            <a:pPr lvl="0"/>
            <a:r>
              <a:rPr lang="en-US"/>
              <a:t>Table text here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7141829" y="1511868"/>
            <a:ext cx="4631528" cy="343864"/>
          </a:xfrm>
        </p:spPr>
        <p:txBody>
          <a:bodyPr anchor="ctr" anchorCtr="0">
            <a:noAutofit/>
          </a:bodyPr>
          <a:lstStyle>
            <a:lvl1pPr marL="0" indent="0"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sz="1960">
                <a:solidFill>
                  <a:srgbClr val="FFFFFF"/>
                </a:solidFill>
                <a:latin typeface="+mn-lt"/>
              </a:defRPr>
            </a:lvl1pPr>
            <a:lvl3pPr marL="559912" indent="0">
              <a:buFont typeface="Arial"/>
              <a:buNone/>
              <a:defRPr/>
            </a:lvl3pPr>
          </a:lstStyle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96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Internet Edge</a:t>
            </a:r>
          </a:p>
        </p:txBody>
      </p:sp>
      <p:cxnSp>
        <p:nvCxnSpPr>
          <p:cNvPr id="26" name="Straight Connector 25"/>
          <p:cNvCxnSpPr/>
          <p:nvPr userDrawn="1"/>
        </p:nvCxnSpPr>
        <p:spPr>
          <a:xfrm>
            <a:off x="7141829" y="1213864"/>
            <a:ext cx="14900" cy="5502495"/>
          </a:xfrm>
          <a:prstGeom prst="line">
            <a:avLst/>
          </a:prstGeom>
          <a:ln w="762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269245" y="289517"/>
            <a:ext cx="11655078" cy="899665"/>
          </a:xfrm>
          <a:prstGeom prst="rect">
            <a:avLst/>
          </a:prstGeom>
        </p:spPr>
        <p:txBody>
          <a:bodyPr vert="horz" wrap="square" lIns="146300" tIns="91438" rIns="146300" bIns="91438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79451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766269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3" y="1189176"/>
            <a:ext cx="5378548" cy="2420188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0"/>
            </a:lvl2pPr>
            <a:lvl3pPr marL="227077" indent="0">
              <a:buNone/>
              <a:tabLst/>
              <a:defRPr sz="1960"/>
            </a:lvl3pPr>
            <a:lvl4pPr marL="451040" indent="0">
              <a:buNone/>
              <a:defRPr/>
            </a:lvl4pPr>
            <a:lvl5pPr marL="671895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9176"/>
            <a:ext cx="5378548" cy="2420188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0"/>
            </a:lvl2pPr>
            <a:lvl3pPr marL="227077" indent="0">
              <a:buNone/>
              <a:tabLst/>
              <a:defRPr sz="1960"/>
            </a:lvl3pPr>
            <a:lvl4pPr marL="451040" indent="0">
              <a:buNone/>
              <a:defRPr/>
            </a:lvl4pPr>
            <a:lvl5pPr marL="671895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7829111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12761769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rgbClr val="00188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59365180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rgbClr val="001F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49742073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88931142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1009932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03948632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870409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B27273-82A0-4F03-B551-F05C0A270C9F}" type="datetimeFigureOut">
              <a:rPr lang="en-US" smtClean="0"/>
              <a:t>1/28/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8363C5-1D77-4ABE-8C60-573DC6EF2A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125133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663495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152230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86567156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MERICA Region Master Slide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C6772423-C997-4110-BB91-923D9719DBE2}"/>
              </a:ext>
            </a:extLst>
          </p:cNvPr>
          <p:cNvSpPr txBox="1"/>
          <p:nvPr userDrawn="1"/>
        </p:nvSpPr>
        <p:spPr>
          <a:xfrm>
            <a:off x="9517862" y="6661886"/>
            <a:ext cx="2413813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* Data as of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ebruary 9, 2018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C160CCB6-3AA1-475C-86A9-AE2F9D0ADCB5}"/>
              </a:ext>
            </a:extLst>
          </p:cNvPr>
          <p:cNvGraphicFramePr>
            <a:graphicFrameLocks noGrp="1"/>
          </p:cNvGraphicFramePr>
          <p:nvPr userDrawn="1"/>
        </p:nvGraphicFramePr>
        <p:xfrm>
          <a:off x="269240" y="1026930"/>
          <a:ext cx="11662436" cy="3446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08167">
                  <a:extLst>
                    <a:ext uri="{9D8B030D-6E8A-4147-A177-3AD203B41FA5}">
                      <a16:colId xmlns:a16="http://schemas.microsoft.com/office/drawing/2014/main" val="3197870306"/>
                    </a:ext>
                  </a:extLst>
                </a:gridCol>
                <a:gridCol w="660184">
                  <a:extLst>
                    <a:ext uri="{9D8B030D-6E8A-4147-A177-3AD203B41FA5}">
                      <a16:colId xmlns:a16="http://schemas.microsoft.com/office/drawing/2014/main" val="1658188280"/>
                    </a:ext>
                  </a:extLst>
                </a:gridCol>
                <a:gridCol w="826735">
                  <a:extLst>
                    <a:ext uri="{9D8B030D-6E8A-4147-A177-3AD203B41FA5}">
                      <a16:colId xmlns:a16="http://schemas.microsoft.com/office/drawing/2014/main" val="2622186844"/>
                    </a:ext>
                  </a:extLst>
                </a:gridCol>
                <a:gridCol w="826735">
                  <a:extLst>
                    <a:ext uri="{9D8B030D-6E8A-4147-A177-3AD203B41FA5}">
                      <a16:colId xmlns:a16="http://schemas.microsoft.com/office/drawing/2014/main" val="2255672095"/>
                    </a:ext>
                  </a:extLst>
                </a:gridCol>
                <a:gridCol w="826735">
                  <a:extLst>
                    <a:ext uri="{9D8B030D-6E8A-4147-A177-3AD203B41FA5}">
                      <a16:colId xmlns:a16="http://schemas.microsoft.com/office/drawing/2014/main" val="929329240"/>
                    </a:ext>
                  </a:extLst>
                </a:gridCol>
                <a:gridCol w="826735">
                  <a:extLst>
                    <a:ext uri="{9D8B030D-6E8A-4147-A177-3AD203B41FA5}">
                      <a16:colId xmlns:a16="http://schemas.microsoft.com/office/drawing/2014/main" val="1739178816"/>
                    </a:ext>
                  </a:extLst>
                </a:gridCol>
                <a:gridCol w="826735">
                  <a:extLst>
                    <a:ext uri="{9D8B030D-6E8A-4147-A177-3AD203B41FA5}">
                      <a16:colId xmlns:a16="http://schemas.microsoft.com/office/drawing/2014/main" val="4066938788"/>
                    </a:ext>
                  </a:extLst>
                </a:gridCol>
                <a:gridCol w="826735">
                  <a:extLst>
                    <a:ext uri="{9D8B030D-6E8A-4147-A177-3AD203B41FA5}">
                      <a16:colId xmlns:a16="http://schemas.microsoft.com/office/drawing/2014/main" val="1993623972"/>
                    </a:ext>
                  </a:extLst>
                </a:gridCol>
                <a:gridCol w="826735">
                  <a:extLst>
                    <a:ext uri="{9D8B030D-6E8A-4147-A177-3AD203B41FA5}">
                      <a16:colId xmlns:a16="http://schemas.microsoft.com/office/drawing/2014/main" val="1474986278"/>
                    </a:ext>
                  </a:extLst>
                </a:gridCol>
                <a:gridCol w="826735">
                  <a:extLst>
                    <a:ext uri="{9D8B030D-6E8A-4147-A177-3AD203B41FA5}">
                      <a16:colId xmlns:a16="http://schemas.microsoft.com/office/drawing/2014/main" val="325501089"/>
                    </a:ext>
                  </a:extLst>
                </a:gridCol>
                <a:gridCol w="826735">
                  <a:extLst>
                    <a:ext uri="{9D8B030D-6E8A-4147-A177-3AD203B41FA5}">
                      <a16:colId xmlns:a16="http://schemas.microsoft.com/office/drawing/2014/main" val="2480923566"/>
                    </a:ext>
                  </a:extLst>
                </a:gridCol>
                <a:gridCol w="826735">
                  <a:extLst>
                    <a:ext uri="{9D8B030D-6E8A-4147-A177-3AD203B41FA5}">
                      <a16:colId xmlns:a16="http://schemas.microsoft.com/office/drawing/2014/main" val="581428332"/>
                    </a:ext>
                  </a:extLst>
                </a:gridCol>
                <a:gridCol w="826735">
                  <a:extLst>
                    <a:ext uri="{9D8B030D-6E8A-4147-A177-3AD203B41FA5}">
                      <a16:colId xmlns:a16="http://schemas.microsoft.com/office/drawing/2014/main" val="478997332"/>
                    </a:ext>
                  </a:extLst>
                </a:gridCol>
              </a:tblGrid>
              <a:tr h="172341">
                <a:tc rowSpan="2">
                  <a:txBody>
                    <a:bodyPr/>
                    <a:lstStyle/>
                    <a:p>
                      <a:endParaRPr lang="en-US" sz="6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Non</a:t>
                      </a:r>
                      <a:b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</a:br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Regional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gridSpan="8"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US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45713" marB="45713" anchor="ctr">
                    <a:lnL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45713" marB="45713" anchor="ctr">
                    <a:lnL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45713" marB="45713" anchor="ctr">
                    <a:lnL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45713" marB="45713" anchor="ctr">
                    <a:lnL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LATAM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CANADA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8711343"/>
                  </a:ext>
                </a:extLst>
              </a:tr>
              <a:tr h="172341">
                <a:tc vMerge="1">
                  <a:txBody>
                    <a:bodyPr/>
                    <a:lstStyle/>
                    <a:p>
                      <a:endParaRPr lang="en-US" sz="6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Central US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East US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East US 2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North Central US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South Central US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West Central US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West US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West US 2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Brazil</a:t>
                      </a:r>
                      <a:r>
                        <a:rPr lang="en-US" sz="800" baseline="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 South</a:t>
                      </a:r>
                      <a:endParaRPr lang="en-US" sz="8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Canada</a:t>
                      </a:r>
                      <a:r>
                        <a:rPr lang="en-US" sz="800" baseline="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 Central</a:t>
                      </a:r>
                      <a:endParaRPr lang="en-US" sz="8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Canada East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1329068"/>
                  </a:ext>
                </a:extLst>
              </a:tr>
            </a:tbl>
          </a:graphicData>
        </a:graphic>
      </p:graphicFrame>
      <p:sp>
        <p:nvSpPr>
          <p:cNvPr id="13" name="Freeform 5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3B84ED7B-FF75-4686-B16E-2AD1C17D5894}"/>
              </a:ext>
            </a:extLst>
          </p:cNvPr>
          <p:cNvSpPr>
            <a:spLocks noEditPoints="1"/>
          </p:cNvSpPr>
          <p:nvPr userDrawn="1"/>
        </p:nvSpPr>
        <p:spPr bwMode="auto">
          <a:xfrm flipH="1">
            <a:off x="9159724" y="423863"/>
            <a:ext cx="336826" cy="336826"/>
          </a:xfrm>
          <a:custGeom>
            <a:avLst/>
            <a:gdLst>
              <a:gd name="T0" fmla="*/ 59 w 247"/>
              <a:gd name="T1" fmla="*/ 123 h 247"/>
              <a:gd name="T2" fmla="*/ 178 w 247"/>
              <a:gd name="T3" fmla="*/ 123 h 247"/>
              <a:gd name="T4" fmla="*/ 122 w 247"/>
              <a:gd name="T5" fmla="*/ 183 h 247"/>
              <a:gd name="T6" fmla="*/ 182 w 247"/>
              <a:gd name="T7" fmla="*/ 123 h 247"/>
              <a:gd name="T8" fmla="*/ 122 w 247"/>
              <a:gd name="T9" fmla="*/ 63 h 247"/>
              <a:gd name="T10" fmla="*/ 123 w 247"/>
              <a:gd name="T11" fmla="*/ 0 h 247"/>
              <a:gd name="T12" fmla="*/ 0 w 247"/>
              <a:gd name="T13" fmla="*/ 123 h 247"/>
              <a:gd name="T14" fmla="*/ 123 w 247"/>
              <a:gd name="T15" fmla="*/ 247 h 247"/>
              <a:gd name="T16" fmla="*/ 247 w 247"/>
              <a:gd name="T17" fmla="*/ 123 h 247"/>
              <a:gd name="T18" fmla="*/ 123 w 247"/>
              <a:gd name="T19" fmla="*/ 0 h 2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7" h="247">
                <a:moveTo>
                  <a:pt x="59" y="123"/>
                </a:moveTo>
                <a:cubicBezTo>
                  <a:pt x="178" y="123"/>
                  <a:pt x="178" y="123"/>
                  <a:pt x="178" y="123"/>
                </a:cubicBezTo>
                <a:moveTo>
                  <a:pt x="122" y="183"/>
                </a:moveTo>
                <a:cubicBezTo>
                  <a:pt x="182" y="123"/>
                  <a:pt x="182" y="123"/>
                  <a:pt x="182" y="123"/>
                </a:cubicBezTo>
                <a:cubicBezTo>
                  <a:pt x="122" y="63"/>
                  <a:pt x="122" y="63"/>
                  <a:pt x="122" y="63"/>
                </a:cubicBezTo>
                <a:moveTo>
                  <a:pt x="123" y="0"/>
                </a:moveTo>
                <a:cubicBezTo>
                  <a:pt x="55" y="0"/>
                  <a:pt x="0" y="55"/>
                  <a:pt x="0" y="123"/>
                </a:cubicBezTo>
                <a:cubicBezTo>
                  <a:pt x="0" y="191"/>
                  <a:pt x="55" y="247"/>
                  <a:pt x="123" y="247"/>
                </a:cubicBezTo>
                <a:cubicBezTo>
                  <a:pt x="191" y="247"/>
                  <a:pt x="247" y="191"/>
                  <a:pt x="247" y="123"/>
                </a:cubicBezTo>
                <a:cubicBezTo>
                  <a:pt x="247" y="55"/>
                  <a:pt x="191" y="0"/>
                  <a:pt x="123" y="0"/>
                </a:cubicBezTo>
                <a:close/>
              </a:path>
            </a:pathLst>
          </a:custGeom>
          <a:noFill/>
          <a:ln w="19050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8695731" cy="737419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Freeform 5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6C6FE662-A943-4E40-BCCD-0832A181DE6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68935" y="423863"/>
            <a:ext cx="336826" cy="336826"/>
          </a:xfrm>
          <a:custGeom>
            <a:avLst/>
            <a:gdLst>
              <a:gd name="T0" fmla="*/ 59 w 247"/>
              <a:gd name="T1" fmla="*/ 123 h 247"/>
              <a:gd name="T2" fmla="*/ 178 w 247"/>
              <a:gd name="T3" fmla="*/ 123 h 247"/>
              <a:gd name="T4" fmla="*/ 122 w 247"/>
              <a:gd name="T5" fmla="*/ 183 h 247"/>
              <a:gd name="T6" fmla="*/ 182 w 247"/>
              <a:gd name="T7" fmla="*/ 123 h 247"/>
              <a:gd name="T8" fmla="*/ 122 w 247"/>
              <a:gd name="T9" fmla="*/ 63 h 247"/>
              <a:gd name="T10" fmla="*/ 123 w 247"/>
              <a:gd name="T11" fmla="*/ 0 h 247"/>
              <a:gd name="T12" fmla="*/ 0 w 247"/>
              <a:gd name="T13" fmla="*/ 123 h 247"/>
              <a:gd name="T14" fmla="*/ 123 w 247"/>
              <a:gd name="T15" fmla="*/ 247 h 247"/>
              <a:gd name="T16" fmla="*/ 247 w 247"/>
              <a:gd name="T17" fmla="*/ 123 h 247"/>
              <a:gd name="T18" fmla="*/ 123 w 247"/>
              <a:gd name="T19" fmla="*/ 0 h 2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7" h="247">
                <a:moveTo>
                  <a:pt x="59" y="123"/>
                </a:moveTo>
                <a:cubicBezTo>
                  <a:pt x="178" y="123"/>
                  <a:pt x="178" y="123"/>
                  <a:pt x="178" y="123"/>
                </a:cubicBezTo>
                <a:moveTo>
                  <a:pt x="122" y="183"/>
                </a:moveTo>
                <a:cubicBezTo>
                  <a:pt x="182" y="123"/>
                  <a:pt x="182" y="123"/>
                  <a:pt x="182" y="123"/>
                </a:cubicBezTo>
                <a:cubicBezTo>
                  <a:pt x="122" y="63"/>
                  <a:pt x="122" y="63"/>
                  <a:pt x="122" y="63"/>
                </a:cubicBezTo>
                <a:moveTo>
                  <a:pt x="123" y="0"/>
                </a:moveTo>
                <a:cubicBezTo>
                  <a:pt x="55" y="0"/>
                  <a:pt x="0" y="55"/>
                  <a:pt x="0" y="123"/>
                </a:cubicBezTo>
                <a:cubicBezTo>
                  <a:pt x="0" y="191"/>
                  <a:pt x="55" y="247"/>
                  <a:pt x="123" y="247"/>
                </a:cubicBezTo>
                <a:cubicBezTo>
                  <a:pt x="191" y="247"/>
                  <a:pt x="247" y="191"/>
                  <a:pt x="247" y="123"/>
                </a:cubicBezTo>
                <a:cubicBezTo>
                  <a:pt x="247" y="55"/>
                  <a:pt x="191" y="0"/>
                  <a:pt x="123" y="0"/>
                </a:cubicBezTo>
                <a:close/>
              </a:path>
            </a:pathLst>
          </a:custGeom>
          <a:noFill/>
          <a:ln w="19050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9D0A60E-DA99-4739-A63C-5A9A70F180B7}"/>
              </a:ext>
            </a:extLst>
          </p:cNvPr>
          <p:cNvGrpSpPr/>
          <p:nvPr userDrawn="1"/>
        </p:nvGrpSpPr>
        <p:grpSpPr>
          <a:xfrm>
            <a:off x="9616516" y="423863"/>
            <a:ext cx="336826" cy="336826"/>
            <a:chOff x="9003250" y="423863"/>
            <a:chExt cx="336826" cy="336826"/>
          </a:xfrm>
        </p:grpSpPr>
        <p:grpSp>
          <p:nvGrpSpPr>
            <p:cNvPr id="28" name="Group 14">
              <a:extLst>
                <a:ext uri="{FF2B5EF4-FFF2-40B4-BE49-F238E27FC236}">
                  <a16:creationId xmlns:a16="http://schemas.microsoft.com/office/drawing/2014/main" id="{A8F1D110-55B8-4055-9CFC-EA8CDF3B1913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9057081" y="495300"/>
              <a:ext cx="229164" cy="179666"/>
              <a:chOff x="1201" y="104"/>
              <a:chExt cx="5278" cy="4138"/>
            </a:xfrm>
          </p:grpSpPr>
          <p:sp>
            <p:nvSpPr>
              <p:cNvPr id="30" name="Freeform 15">
                <a:extLst>
                  <a:ext uri="{FF2B5EF4-FFF2-40B4-BE49-F238E27FC236}">
                    <a16:creationId xmlns:a16="http://schemas.microsoft.com/office/drawing/2014/main" id="{D126B926-AC10-4C1C-83B4-4DE778E9E71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201" y="104"/>
                <a:ext cx="5278" cy="2003"/>
              </a:xfrm>
              <a:custGeom>
                <a:avLst/>
                <a:gdLst>
                  <a:gd name="T0" fmla="*/ 0 w 5278"/>
                  <a:gd name="T1" fmla="*/ 2001 h 2003"/>
                  <a:gd name="T2" fmla="*/ 2638 w 5278"/>
                  <a:gd name="T3" fmla="*/ 0 h 2003"/>
                  <a:gd name="T4" fmla="*/ 5278 w 5278"/>
                  <a:gd name="T5" fmla="*/ 2003 h 20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278" h="2003">
                    <a:moveTo>
                      <a:pt x="0" y="2001"/>
                    </a:moveTo>
                    <a:lnTo>
                      <a:pt x="2638" y="0"/>
                    </a:lnTo>
                    <a:lnTo>
                      <a:pt x="5278" y="2003"/>
                    </a:lnTo>
                  </a:path>
                </a:pathLst>
              </a:custGeom>
              <a:noFill/>
              <a:ln w="190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R="0" lvl="0" indent="0" defTabSz="914367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765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</a:endParaRPr>
              </a:p>
            </p:txBody>
          </p:sp>
          <p:sp>
            <p:nvSpPr>
              <p:cNvPr id="31" name="Freeform 16">
                <a:extLst>
                  <a:ext uri="{FF2B5EF4-FFF2-40B4-BE49-F238E27FC236}">
                    <a16:creationId xmlns:a16="http://schemas.microsoft.com/office/drawing/2014/main" id="{6A3C5EE1-B6F2-470A-A2FF-0B00EE2226A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57" y="1428"/>
                <a:ext cx="3554" cy="2814"/>
              </a:xfrm>
              <a:custGeom>
                <a:avLst/>
                <a:gdLst>
                  <a:gd name="T0" fmla="*/ 1781 w 1781"/>
                  <a:gd name="T1" fmla="*/ 0 h 1409"/>
                  <a:gd name="T2" fmla="*/ 1781 w 1781"/>
                  <a:gd name="T3" fmla="*/ 1409 h 1409"/>
                  <a:gd name="T4" fmla="*/ 1146 w 1781"/>
                  <a:gd name="T5" fmla="*/ 1409 h 1409"/>
                  <a:gd name="T6" fmla="*/ 1146 w 1781"/>
                  <a:gd name="T7" fmla="*/ 781 h 1409"/>
                  <a:gd name="T8" fmla="*/ 890 w 1781"/>
                  <a:gd name="T9" fmla="*/ 525 h 1409"/>
                  <a:gd name="T10" fmla="*/ 634 w 1781"/>
                  <a:gd name="T11" fmla="*/ 781 h 1409"/>
                  <a:gd name="T12" fmla="*/ 634 w 1781"/>
                  <a:gd name="T13" fmla="*/ 1409 h 1409"/>
                  <a:gd name="T14" fmla="*/ 0 w 1781"/>
                  <a:gd name="T15" fmla="*/ 1409 h 1409"/>
                  <a:gd name="T16" fmla="*/ 0 w 1781"/>
                  <a:gd name="T17" fmla="*/ 4 h 14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81" h="1409">
                    <a:moveTo>
                      <a:pt x="1781" y="0"/>
                    </a:moveTo>
                    <a:cubicBezTo>
                      <a:pt x="1781" y="1409"/>
                      <a:pt x="1781" y="1409"/>
                      <a:pt x="1781" y="1409"/>
                    </a:cubicBezTo>
                    <a:cubicBezTo>
                      <a:pt x="1146" y="1409"/>
                      <a:pt x="1146" y="1409"/>
                      <a:pt x="1146" y="1409"/>
                    </a:cubicBezTo>
                    <a:cubicBezTo>
                      <a:pt x="1146" y="781"/>
                      <a:pt x="1146" y="781"/>
                      <a:pt x="1146" y="781"/>
                    </a:cubicBezTo>
                    <a:cubicBezTo>
                      <a:pt x="1146" y="639"/>
                      <a:pt x="1031" y="525"/>
                      <a:pt x="890" y="525"/>
                    </a:cubicBezTo>
                    <a:cubicBezTo>
                      <a:pt x="749" y="525"/>
                      <a:pt x="634" y="639"/>
                      <a:pt x="634" y="781"/>
                    </a:cubicBezTo>
                    <a:cubicBezTo>
                      <a:pt x="634" y="1409"/>
                      <a:pt x="634" y="1409"/>
                      <a:pt x="634" y="1409"/>
                    </a:cubicBezTo>
                    <a:cubicBezTo>
                      <a:pt x="634" y="1409"/>
                      <a:pt x="0" y="1409"/>
                      <a:pt x="0" y="1409"/>
                    </a:cubicBezTo>
                    <a:cubicBezTo>
                      <a:pt x="0" y="4"/>
                      <a:pt x="0" y="4"/>
                      <a:pt x="0" y="4"/>
                    </a:cubicBezTo>
                  </a:path>
                </a:pathLst>
              </a:custGeom>
              <a:noFill/>
              <a:ln w="190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R="0" lvl="0" indent="0" defTabSz="914367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765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</a:endParaRPr>
              </a:p>
            </p:txBody>
          </p:sp>
        </p:grpSp>
        <p:sp>
          <p:nvSpPr>
            <p:cNvPr id="21" name="Oval 20">
              <a:hlinkClick r:id="" action="ppaction://noaction"/>
              <a:extLst>
                <a:ext uri="{FF2B5EF4-FFF2-40B4-BE49-F238E27FC236}">
                  <a16:creationId xmlns:a16="http://schemas.microsoft.com/office/drawing/2014/main" id="{ABE0908D-AB92-4678-880F-A727A22383B4}"/>
                </a:ext>
              </a:extLst>
            </p:cNvPr>
            <p:cNvSpPr/>
            <p:nvPr userDrawn="1"/>
          </p:nvSpPr>
          <p:spPr bwMode="auto">
            <a:xfrm>
              <a:off x="9003250" y="423863"/>
              <a:ext cx="336826" cy="336826"/>
            </a:xfrm>
            <a:prstGeom prst="ellips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R="0" lvl="0" indent="0" defTabSz="914367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765" b="0" i="0" u="none" strike="noStrike" kern="0" cap="none" spc="0" normalizeH="0" baseline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27A7F0E-3565-4C5F-A959-631388591CEC}"/>
              </a:ext>
            </a:extLst>
          </p:cNvPr>
          <p:cNvGrpSpPr/>
          <p:nvPr userDrawn="1"/>
        </p:nvGrpSpPr>
        <p:grpSpPr>
          <a:xfrm>
            <a:off x="10537564" y="289511"/>
            <a:ext cx="1549661" cy="599963"/>
            <a:chOff x="10080208" y="241982"/>
            <a:chExt cx="1549661" cy="599963"/>
          </a:xfrm>
          <a:noFill/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5E3AD354-4782-417A-9A65-3C13176EAC5C}"/>
                </a:ext>
              </a:extLst>
            </p:cNvPr>
            <p:cNvGrpSpPr/>
            <p:nvPr/>
          </p:nvGrpSpPr>
          <p:grpSpPr>
            <a:xfrm>
              <a:off x="10305738" y="241982"/>
              <a:ext cx="1324131" cy="587657"/>
              <a:chOff x="10110866" y="391883"/>
              <a:chExt cx="1324131" cy="587657"/>
            </a:xfrm>
            <a:grpFill/>
          </p:grpSpPr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D7D16C8C-058C-4822-98D2-2DC4F8E8C2AA}"/>
                  </a:ext>
                </a:extLst>
              </p:cNvPr>
              <p:cNvSpPr/>
              <p:nvPr userDrawn="1"/>
            </p:nvSpPr>
            <p:spPr>
              <a:xfrm>
                <a:off x="10110866" y="391883"/>
                <a:ext cx="1324131" cy="246221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General availability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387950BD-0D9F-4830-B304-A7D40400D3FA}"/>
                  </a:ext>
                </a:extLst>
              </p:cNvPr>
              <p:cNvSpPr/>
              <p:nvPr userDrawn="1"/>
            </p:nvSpPr>
            <p:spPr>
              <a:xfrm>
                <a:off x="10110866" y="561875"/>
                <a:ext cx="1324131" cy="246221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Preview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7FEEB74B-7037-48C6-8675-6FC2527A1048}"/>
                  </a:ext>
                </a:extLst>
              </p:cNvPr>
              <p:cNvSpPr/>
              <p:nvPr/>
            </p:nvSpPr>
            <p:spPr>
              <a:xfrm>
                <a:off x="10110866" y="733319"/>
                <a:ext cx="1182979" cy="246221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Not available</a:t>
                </a:r>
              </a:p>
            </p:txBody>
          </p:sp>
        </p:grp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4E1B5E47-2791-423B-98C0-DA1E8BC0E2B8}"/>
                </a:ext>
              </a:extLst>
            </p:cNvPr>
            <p:cNvSpPr/>
            <p:nvPr/>
          </p:nvSpPr>
          <p:spPr>
            <a:xfrm>
              <a:off x="10080208" y="580335"/>
              <a:ext cx="309701" cy="261610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sym typeface="Wingdings 2" panose="05020102010507070707" pitchFamily="18" charset="2"/>
                </a:rPr>
                <a:t></a:t>
              </a: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477ECA3-7EEE-4732-B476-336C4D862B67}"/>
                </a:ext>
              </a:extLst>
            </p:cNvPr>
            <p:cNvSpPr/>
            <p:nvPr/>
          </p:nvSpPr>
          <p:spPr>
            <a:xfrm>
              <a:off x="10089557" y="413926"/>
              <a:ext cx="260008" cy="261610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FF8C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sym typeface="Wingdings 2" panose="05020102010507070707" pitchFamily="18" charset="2"/>
                </a:rPr>
                <a:t></a:t>
              </a: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07A0FA60-B99D-4B31-AE11-17C84C70B5BF}"/>
                </a:ext>
              </a:extLst>
            </p:cNvPr>
            <p:cNvSpPr/>
            <p:nvPr/>
          </p:nvSpPr>
          <p:spPr>
            <a:xfrm>
              <a:off x="10080208" y="248969"/>
              <a:ext cx="309701" cy="261610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sym typeface="Wingdings 2" panose="05020102010507070707" pitchFamily="18" charset="2"/>
                </a:rPr>
                <a:t></a:t>
              </a: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33" name="Rectangle 32">
            <a:hlinkClick r:id="" action="ppaction://noaction"/>
            <a:extLst>
              <a:ext uri="{FF2B5EF4-FFF2-40B4-BE49-F238E27FC236}">
                <a16:creationId xmlns:a16="http://schemas.microsoft.com/office/drawing/2014/main" id="{5FF72625-43D0-4A22-AF83-DF297064DE44}"/>
              </a:ext>
            </a:extLst>
          </p:cNvPr>
          <p:cNvSpPr/>
          <p:nvPr userDrawn="1"/>
        </p:nvSpPr>
        <p:spPr bwMode="auto">
          <a:xfrm>
            <a:off x="9334636" y="-19250"/>
            <a:ext cx="898888" cy="243839"/>
          </a:xfrm>
          <a:prstGeom prst="rect">
            <a:avLst/>
          </a:prstGeom>
          <a:noFill/>
          <a:ln w="1905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b="1">
                <a:solidFill>
                  <a:schemeClr val="tx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Main index</a:t>
            </a:r>
          </a:p>
        </p:txBody>
      </p:sp>
    </p:spTree>
    <p:extLst>
      <p:ext uri="{BB962C8B-B14F-4D97-AF65-F5344CB8AC3E}">
        <p14:creationId xmlns:p14="http://schemas.microsoft.com/office/powerpoint/2010/main" val="26768201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General_Blank_Th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Rectangle: Top Corners Rounded 11"/>
          <p:cNvSpPr/>
          <p:nvPr userDrawn="1"/>
        </p:nvSpPr>
        <p:spPr bwMode="auto">
          <a:xfrm rot="16200000">
            <a:off x="10934845" y="-491996"/>
            <a:ext cx="718681" cy="1886790"/>
          </a:xfrm>
          <a:prstGeom prst="round2SameRect">
            <a:avLst>
              <a:gd name="adj1" fmla="val 50000"/>
              <a:gd name="adj2" fmla="val 0"/>
            </a:avLst>
          </a:prstGeom>
          <a:ln w="12700" cap="sq">
            <a:solidFill>
              <a:schemeClr val="bg1">
                <a:lumMod val="75000"/>
              </a:schemeClr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490022" y="168629"/>
            <a:ext cx="1524500" cy="550052"/>
          </a:xfrm>
        </p:spPr>
        <p:txBody>
          <a:bodyPr wrap="square" lIns="0" rIns="0" anchor="ctr" anchorCtr="0">
            <a:noAutofit/>
          </a:bodyPr>
          <a:lstStyle>
            <a:lvl1pPr mar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None/>
              <a:defRPr lang="en-US" sz="1400" kern="1200" dirty="0">
                <a:solidFill>
                  <a:schemeClr val="tx1"/>
                </a:solidFill>
                <a:latin typeface="Segoe UI Semibold" panose="020B0702040204020203" pitchFamily="34" charset="0"/>
                <a:ea typeface="Segoe UI" pitchFamily="34" charset="0"/>
                <a:cs typeface="Segoe UI" pitchFamily="34" charset="0"/>
              </a:defRPr>
            </a:lvl1pPr>
            <a:lvl2pPr marL="292101" indent="0">
              <a:buNone/>
              <a:defRPr sz="2353">
                <a:solidFill>
                  <a:schemeClr val="bg1"/>
                </a:solidFill>
                <a:latin typeface="+mn-lt"/>
              </a:defRPr>
            </a:lvl2pPr>
            <a:lvl3pPr marL="520702" indent="0">
              <a:buNone/>
              <a:tabLst/>
              <a:defRPr sz="1961">
                <a:solidFill>
                  <a:schemeClr val="bg1"/>
                </a:solidFill>
                <a:latin typeface="+mn-lt"/>
              </a:defRPr>
            </a:lvl3pPr>
            <a:lvl4pPr marL="685802" indent="0">
              <a:buNone/>
              <a:defRPr>
                <a:solidFill>
                  <a:schemeClr val="bg1"/>
                </a:solidFill>
                <a:latin typeface="+mn-lt"/>
              </a:defRPr>
            </a:lvl4pPr>
            <a:lvl5pPr marL="863603" indent="0">
              <a:buNone/>
              <a:tabLst/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Preview</a:t>
            </a:r>
          </a:p>
          <a:p>
            <a:pPr lvl="0"/>
            <a:r>
              <a:rPr lang="en-US"/>
              <a:t>Released</a:t>
            </a:r>
          </a:p>
          <a:p>
            <a:pPr lvl="0"/>
            <a:r>
              <a:rPr lang="en-US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0200" y="289511"/>
            <a:ext cx="3780246" cy="899665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0201" y="1604086"/>
            <a:ext cx="3780245" cy="406265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itchFamily="34" charset="0"/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92101" indent="0">
              <a:buNone/>
              <a:defRPr sz="2353">
                <a:solidFill>
                  <a:schemeClr val="bg1"/>
                </a:solidFill>
                <a:latin typeface="+mn-lt"/>
              </a:defRPr>
            </a:lvl2pPr>
            <a:lvl3pPr marL="520702" indent="0">
              <a:buNone/>
              <a:tabLst/>
              <a:defRPr sz="1961">
                <a:solidFill>
                  <a:schemeClr val="bg1"/>
                </a:solidFill>
                <a:latin typeface="+mn-lt"/>
              </a:defRPr>
            </a:lvl3pPr>
            <a:lvl4pPr marL="685802" indent="0">
              <a:buNone/>
              <a:defRPr>
                <a:solidFill>
                  <a:schemeClr val="bg1"/>
                </a:solidFill>
                <a:latin typeface="+mn-lt"/>
              </a:defRPr>
            </a:lvl4pPr>
            <a:lvl5pPr marL="863603" indent="0">
              <a:buNone/>
              <a:tabLst/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68109" y="6069507"/>
            <a:ext cx="3329638" cy="378565"/>
          </a:xfrm>
        </p:spPr>
        <p:txBody>
          <a:bodyPr wrap="square" anchor="ctr" anchorCtr="0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itchFamily="34" charset="0"/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292101" indent="0">
              <a:buNone/>
              <a:defRPr sz="2353">
                <a:solidFill>
                  <a:schemeClr val="bg1"/>
                </a:solidFill>
                <a:latin typeface="+mn-lt"/>
              </a:defRPr>
            </a:lvl2pPr>
            <a:lvl3pPr marL="520702" indent="0">
              <a:buNone/>
              <a:tabLst/>
              <a:defRPr sz="1961">
                <a:solidFill>
                  <a:schemeClr val="bg1"/>
                </a:solidFill>
                <a:latin typeface="+mn-lt"/>
              </a:defRPr>
            </a:lvl3pPr>
            <a:lvl4pPr marL="685802" indent="0">
              <a:buNone/>
              <a:defRPr>
                <a:solidFill>
                  <a:schemeClr val="bg1"/>
                </a:solidFill>
                <a:latin typeface="+mn-lt"/>
              </a:defRPr>
            </a:lvl4pPr>
            <a:lvl5pPr marL="863603" indent="0">
              <a:buNone/>
              <a:tabLst/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D490E48-BE6D-477D-8F7B-6660E732107F}"/>
              </a:ext>
            </a:extLst>
          </p:cNvPr>
          <p:cNvCxnSpPr/>
          <p:nvPr userDrawn="1"/>
        </p:nvCxnSpPr>
        <p:spPr>
          <a:xfrm>
            <a:off x="4232366" y="289511"/>
            <a:ext cx="0" cy="6172411"/>
          </a:xfrm>
          <a:prstGeom prst="line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reeform 5">
            <a:extLst>
              <a:ext uri="{FF2B5EF4-FFF2-40B4-BE49-F238E27FC236}">
                <a16:creationId xmlns:a16="http://schemas.microsoft.com/office/drawing/2014/main" id="{A92B0539-2DE8-40D0-9B17-A323AB7635B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0200" y="6044561"/>
            <a:ext cx="428460" cy="428460"/>
          </a:xfrm>
          <a:custGeom>
            <a:avLst/>
            <a:gdLst>
              <a:gd name="T0" fmla="*/ 59 w 247"/>
              <a:gd name="T1" fmla="*/ 123 h 247"/>
              <a:gd name="T2" fmla="*/ 178 w 247"/>
              <a:gd name="T3" fmla="*/ 123 h 247"/>
              <a:gd name="T4" fmla="*/ 122 w 247"/>
              <a:gd name="T5" fmla="*/ 183 h 247"/>
              <a:gd name="T6" fmla="*/ 182 w 247"/>
              <a:gd name="T7" fmla="*/ 123 h 247"/>
              <a:gd name="T8" fmla="*/ 122 w 247"/>
              <a:gd name="T9" fmla="*/ 63 h 247"/>
              <a:gd name="T10" fmla="*/ 123 w 247"/>
              <a:gd name="T11" fmla="*/ 0 h 247"/>
              <a:gd name="T12" fmla="*/ 0 w 247"/>
              <a:gd name="T13" fmla="*/ 123 h 247"/>
              <a:gd name="T14" fmla="*/ 123 w 247"/>
              <a:gd name="T15" fmla="*/ 247 h 247"/>
              <a:gd name="T16" fmla="*/ 247 w 247"/>
              <a:gd name="T17" fmla="*/ 123 h 247"/>
              <a:gd name="T18" fmla="*/ 123 w 247"/>
              <a:gd name="T19" fmla="*/ 0 h 2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7" h="247">
                <a:moveTo>
                  <a:pt x="59" y="123"/>
                </a:moveTo>
                <a:cubicBezTo>
                  <a:pt x="178" y="123"/>
                  <a:pt x="178" y="123"/>
                  <a:pt x="178" y="123"/>
                </a:cubicBezTo>
                <a:moveTo>
                  <a:pt x="122" y="183"/>
                </a:moveTo>
                <a:cubicBezTo>
                  <a:pt x="182" y="123"/>
                  <a:pt x="182" y="123"/>
                  <a:pt x="182" y="123"/>
                </a:cubicBezTo>
                <a:cubicBezTo>
                  <a:pt x="122" y="63"/>
                  <a:pt x="122" y="63"/>
                  <a:pt x="122" y="63"/>
                </a:cubicBezTo>
                <a:moveTo>
                  <a:pt x="123" y="0"/>
                </a:moveTo>
                <a:cubicBezTo>
                  <a:pt x="55" y="0"/>
                  <a:pt x="0" y="55"/>
                  <a:pt x="0" y="123"/>
                </a:cubicBezTo>
                <a:cubicBezTo>
                  <a:pt x="0" y="191"/>
                  <a:pt x="55" y="247"/>
                  <a:pt x="123" y="247"/>
                </a:cubicBezTo>
                <a:cubicBezTo>
                  <a:pt x="191" y="247"/>
                  <a:pt x="247" y="191"/>
                  <a:pt x="247" y="123"/>
                </a:cubicBezTo>
                <a:cubicBezTo>
                  <a:pt x="247" y="55"/>
                  <a:pt x="191" y="0"/>
                  <a:pt x="123" y="0"/>
                </a:cubicBezTo>
                <a:close/>
              </a:path>
            </a:pathLst>
          </a:custGeom>
          <a:noFill/>
          <a:ln w="19050" cap="flat">
            <a:solidFill>
              <a:schemeClr val="accent4"/>
            </a:solidFill>
            <a:prstDash val="solid"/>
            <a:miter lim="800000"/>
            <a:headEnd/>
            <a:tailEnd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/>
            </a:endParaRPr>
          </a:p>
        </p:txBody>
      </p:sp>
    </p:spTree>
    <p:extLst>
      <p:ext uri="{BB962C8B-B14F-4D97-AF65-F5344CB8AC3E}">
        <p14:creationId xmlns:p14="http://schemas.microsoft.com/office/powerpoint/2010/main" val="38534972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Intelligent Cloud Architect Boot Camp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rc 12">
            <a:extLst>
              <a:ext uri="{FF2B5EF4-FFF2-40B4-BE49-F238E27FC236}">
                <a16:creationId xmlns:a16="http://schemas.microsoft.com/office/drawing/2014/main" id="{4482FD05-F4F6-4D52-A0D4-67F8B984BC9F}"/>
              </a:ext>
            </a:extLst>
          </p:cNvPr>
          <p:cNvSpPr/>
          <p:nvPr userDrawn="1"/>
        </p:nvSpPr>
        <p:spPr>
          <a:xfrm rot="16200000">
            <a:off x="8300546" y="1869065"/>
            <a:ext cx="2659858" cy="5123677"/>
          </a:xfrm>
          <a:custGeom>
            <a:avLst/>
            <a:gdLst>
              <a:gd name="connsiteX0" fmla="*/ 1485900 w 2971800"/>
              <a:gd name="connsiteY0" fmla="*/ 0 h 4581267"/>
              <a:gd name="connsiteX1" fmla="*/ 2735082 w 2971800"/>
              <a:gd name="connsiteY1" fmla="*/ 1050219 h 4581267"/>
              <a:gd name="connsiteX2" fmla="*/ 2971785 w 2971800"/>
              <a:gd name="connsiteY2" fmla="*/ 2301099 h 4581267"/>
              <a:gd name="connsiteX3" fmla="*/ 1485900 w 2971800"/>
              <a:gd name="connsiteY3" fmla="*/ 2290634 h 4581267"/>
              <a:gd name="connsiteX4" fmla="*/ 1485900 w 2971800"/>
              <a:gd name="connsiteY4" fmla="*/ 0 h 4581267"/>
              <a:gd name="connsiteX0" fmla="*/ 1485900 w 2971800"/>
              <a:gd name="connsiteY0" fmla="*/ 0 h 4581267"/>
              <a:gd name="connsiteX1" fmla="*/ 2735082 w 2971800"/>
              <a:gd name="connsiteY1" fmla="*/ 1050219 h 4581267"/>
              <a:gd name="connsiteX2" fmla="*/ 2971785 w 2971800"/>
              <a:gd name="connsiteY2" fmla="*/ 2301099 h 4581267"/>
              <a:gd name="connsiteX0" fmla="*/ 0 w 1485900"/>
              <a:gd name="connsiteY0" fmla="*/ 0 h 5095102"/>
              <a:gd name="connsiteX1" fmla="*/ 1249182 w 1485900"/>
              <a:gd name="connsiteY1" fmla="*/ 1050219 h 5095102"/>
              <a:gd name="connsiteX2" fmla="*/ 1485885 w 1485900"/>
              <a:gd name="connsiteY2" fmla="*/ 2301099 h 5095102"/>
              <a:gd name="connsiteX3" fmla="*/ 0 w 1485900"/>
              <a:gd name="connsiteY3" fmla="*/ 2290634 h 5095102"/>
              <a:gd name="connsiteX4" fmla="*/ 0 w 1485900"/>
              <a:gd name="connsiteY4" fmla="*/ 0 h 5095102"/>
              <a:gd name="connsiteX0" fmla="*/ 0 w 1485900"/>
              <a:gd name="connsiteY0" fmla="*/ 0 h 5095102"/>
              <a:gd name="connsiteX1" fmla="*/ 1249182 w 1485900"/>
              <a:gd name="connsiteY1" fmla="*/ 1050219 h 5095102"/>
              <a:gd name="connsiteX2" fmla="*/ 457184 w 1485900"/>
              <a:gd name="connsiteY2" fmla="*/ 5095102 h 5095102"/>
              <a:gd name="connsiteX0" fmla="*/ 1143000 w 2628900"/>
              <a:gd name="connsiteY0" fmla="*/ 0 h 5095102"/>
              <a:gd name="connsiteX1" fmla="*/ 2392182 w 2628900"/>
              <a:gd name="connsiteY1" fmla="*/ 1050219 h 5095102"/>
              <a:gd name="connsiteX2" fmla="*/ 2628885 w 2628900"/>
              <a:gd name="connsiteY2" fmla="*/ 2301099 h 5095102"/>
              <a:gd name="connsiteX3" fmla="*/ 1143000 w 2628900"/>
              <a:gd name="connsiteY3" fmla="*/ 2290634 h 5095102"/>
              <a:gd name="connsiteX4" fmla="*/ 1143000 w 2628900"/>
              <a:gd name="connsiteY4" fmla="*/ 0 h 5095102"/>
              <a:gd name="connsiteX0" fmla="*/ 0 w 2628900"/>
              <a:gd name="connsiteY0" fmla="*/ 1816100 h 5095102"/>
              <a:gd name="connsiteX1" fmla="*/ 2392182 w 2628900"/>
              <a:gd name="connsiteY1" fmla="*/ 1050219 h 5095102"/>
              <a:gd name="connsiteX2" fmla="*/ 1600184 w 2628900"/>
              <a:gd name="connsiteY2" fmla="*/ 5095102 h 5095102"/>
              <a:gd name="connsiteX0" fmla="*/ 1176338 w 2662238"/>
              <a:gd name="connsiteY0" fmla="*/ 0 h 5095102"/>
              <a:gd name="connsiteX1" fmla="*/ 2425520 w 2662238"/>
              <a:gd name="connsiteY1" fmla="*/ 1050219 h 5095102"/>
              <a:gd name="connsiteX2" fmla="*/ 2662223 w 2662238"/>
              <a:gd name="connsiteY2" fmla="*/ 2301099 h 5095102"/>
              <a:gd name="connsiteX3" fmla="*/ 1176338 w 2662238"/>
              <a:gd name="connsiteY3" fmla="*/ 2290634 h 5095102"/>
              <a:gd name="connsiteX4" fmla="*/ 1176338 w 2662238"/>
              <a:gd name="connsiteY4" fmla="*/ 0 h 5095102"/>
              <a:gd name="connsiteX0" fmla="*/ 0 w 2662238"/>
              <a:gd name="connsiteY0" fmla="*/ 1882775 h 5095102"/>
              <a:gd name="connsiteX1" fmla="*/ 2425520 w 2662238"/>
              <a:gd name="connsiteY1" fmla="*/ 1050219 h 5095102"/>
              <a:gd name="connsiteX2" fmla="*/ 1633522 w 2662238"/>
              <a:gd name="connsiteY2" fmla="*/ 5095102 h 5095102"/>
              <a:gd name="connsiteX0" fmla="*/ 1176338 w 2662238"/>
              <a:gd name="connsiteY0" fmla="*/ 0 h 5095102"/>
              <a:gd name="connsiteX1" fmla="*/ 2425520 w 2662238"/>
              <a:gd name="connsiteY1" fmla="*/ 1050219 h 5095102"/>
              <a:gd name="connsiteX2" fmla="*/ 2662223 w 2662238"/>
              <a:gd name="connsiteY2" fmla="*/ 2301099 h 5095102"/>
              <a:gd name="connsiteX3" fmla="*/ 1176338 w 2662238"/>
              <a:gd name="connsiteY3" fmla="*/ 2290634 h 5095102"/>
              <a:gd name="connsiteX4" fmla="*/ 1176338 w 2662238"/>
              <a:gd name="connsiteY4" fmla="*/ 0 h 5095102"/>
              <a:gd name="connsiteX0" fmla="*/ 0 w 2662238"/>
              <a:gd name="connsiteY0" fmla="*/ 1882775 h 5095102"/>
              <a:gd name="connsiteX1" fmla="*/ 1633522 w 2662238"/>
              <a:gd name="connsiteY1" fmla="*/ 5095102 h 5095102"/>
              <a:gd name="connsiteX0" fmla="*/ 1176338 w 2662238"/>
              <a:gd name="connsiteY0" fmla="*/ 0 h 5095102"/>
              <a:gd name="connsiteX1" fmla="*/ 2425520 w 2662238"/>
              <a:gd name="connsiteY1" fmla="*/ 1050219 h 5095102"/>
              <a:gd name="connsiteX2" fmla="*/ 2662223 w 2662238"/>
              <a:gd name="connsiteY2" fmla="*/ 2301099 h 5095102"/>
              <a:gd name="connsiteX3" fmla="*/ 1176338 w 2662238"/>
              <a:gd name="connsiteY3" fmla="*/ 2290634 h 5095102"/>
              <a:gd name="connsiteX4" fmla="*/ 1176338 w 2662238"/>
              <a:gd name="connsiteY4" fmla="*/ 0 h 5095102"/>
              <a:gd name="connsiteX0" fmla="*/ 0 w 2662238"/>
              <a:gd name="connsiteY0" fmla="*/ 1882775 h 5095102"/>
              <a:gd name="connsiteX1" fmla="*/ 1633522 w 2662238"/>
              <a:gd name="connsiteY1" fmla="*/ 5095102 h 5095102"/>
              <a:gd name="connsiteX0" fmla="*/ 1176338 w 2662238"/>
              <a:gd name="connsiteY0" fmla="*/ 0 h 5095102"/>
              <a:gd name="connsiteX1" fmla="*/ 2425520 w 2662238"/>
              <a:gd name="connsiteY1" fmla="*/ 1050219 h 5095102"/>
              <a:gd name="connsiteX2" fmla="*/ 2662223 w 2662238"/>
              <a:gd name="connsiteY2" fmla="*/ 2301099 h 5095102"/>
              <a:gd name="connsiteX3" fmla="*/ 1176338 w 2662238"/>
              <a:gd name="connsiteY3" fmla="*/ 2290634 h 5095102"/>
              <a:gd name="connsiteX4" fmla="*/ 1176338 w 2662238"/>
              <a:gd name="connsiteY4" fmla="*/ 0 h 5095102"/>
              <a:gd name="connsiteX0" fmla="*/ 0 w 2662238"/>
              <a:gd name="connsiteY0" fmla="*/ 1882775 h 5095102"/>
              <a:gd name="connsiteX1" fmla="*/ 1633522 w 2662238"/>
              <a:gd name="connsiteY1" fmla="*/ 5095102 h 5095102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3958 w 2659858"/>
              <a:gd name="connsiteY0" fmla="*/ 0 h 5123677"/>
              <a:gd name="connsiteX1" fmla="*/ 2423140 w 2659858"/>
              <a:gd name="connsiteY1" fmla="*/ 1050219 h 5123677"/>
              <a:gd name="connsiteX2" fmla="*/ 2659843 w 2659858"/>
              <a:gd name="connsiteY2" fmla="*/ 2301099 h 5123677"/>
              <a:gd name="connsiteX3" fmla="*/ 1173958 w 2659858"/>
              <a:gd name="connsiteY3" fmla="*/ 2290634 h 5123677"/>
              <a:gd name="connsiteX4" fmla="*/ 1173958 w 2659858"/>
              <a:gd name="connsiteY4" fmla="*/ 0 h 5123677"/>
              <a:gd name="connsiteX0" fmla="*/ 0 w 2659858"/>
              <a:gd name="connsiteY0" fmla="*/ 1889922 h 5123677"/>
              <a:gd name="connsiteX1" fmla="*/ 1650192 w 2659858"/>
              <a:gd name="connsiteY1" fmla="*/ 5123677 h 5123677"/>
              <a:gd name="connsiteX0" fmla="*/ 1173958 w 2659858"/>
              <a:gd name="connsiteY0" fmla="*/ 0 h 5123677"/>
              <a:gd name="connsiteX1" fmla="*/ 2423140 w 2659858"/>
              <a:gd name="connsiteY1" fmla="*/ 1050219 h 5123677"/>
              <a:gd name="connsiteX2" fmla="*/ 2659843 w 2659858"/>
              <a:gd name="connsiteY2" fmla="*/ 2301099 h 5123677"/>
              <a:gd name="connsiteX3" fmla="*/ 1173958 w 2659858"/>
              <a:gd name="connsiteY3" fmla="*/ 2290634 h 5123677"/>
              <a:gd name="connsiteX4" fmla="*/ 1173958 w 2659858"/>
              <a:gd name="connsiteY4" fmla="*/ 0 h 5123677"/>
              <a:gd name="connsiteX0" fmla="*/ 0 w 2659858"/>
              <a:gd name="connsiteY0" fmla="*/ 1889922 h 5123677"/>
              <a:gd name="connsiteX1" fmla="*/ 1650192 w 2659858"/>
              <a:gd name="connsiteY1" fmla="*/ 5123677 h 5123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659858" h="5123677" stroke="0" extrusionOk="0">
                <a:moveTo>
                  <a:pt x="1173958" y="0"/>
                </a:moveTo>
                <a:cubicBezTo>
                  <a:pt x="1679080" y="0"/>
                  <a:pt x="2149608" y="395585"/>
                  <a:pt x="2423140" y="1050219"/>
                </a:cubicBezTo>
                <a:cubicBezTo>
                  <a:pt x="2578929" y="1423063"/>
                  <a:pt x="2661157" y="1857606"/>
                  <a:pt x="2659843" y="2301099"/>
                </a:cubicBezTo>
                <a:lnTo>
                  <a:pt x="1173958" y="2290634"/>
                </a:lnTo>
                <a:lnTo>
                  <a:pt x="1173958" y="0"/>
                </a:lnTo>
                <a:close/>
              </a:path>
              <a:path w="2659858" h="5123677" fill="none">
                <a:moveTo>
                  <a:pt x="0" y="1889922"/>
                </a:moveTo>
                <a:cubicBezTo>
                  <a:pt x="1442247" y="2534466"/>
                  <a:pt x="1905795" y="3976716"/>
                  <a:pt x="1650192" y="5123677"/>
                </a:cubicBezTo>
              </a:path>
            </a:pathLst>
          </a:custGeom>
          <a:noFill/>
          <a:ln w="12700">
            <a:solidFill>
              <a:schemeClr val="accent1">
                <a:lumMod val="20000"/>
                <a:lumOff val="80000"/>
                <a:alpha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Arc 12">
            <a:extLst>
              <a:ext uri="{FF2B5EF4-FFF2-40B4-BE49-F238E27FC236}">
                <a16:creationId xmlns:a16="http://schemas.microsoft.com/office/drawing/2014/main" id="{E73B8847-EA8B-4495-9732-9FA0DB1963B0}"/>
              </a:ext>
            </a:extLst>
          </p:cNvPr>
          <p:cNvSpPr/>
          <p:nvPr userDrawn="1"/>
        </p:nvSpPr>
        <p:spPr>
          <a:xfrm rot="16200000">
            <a:off x="4275597" y="-1752531"/>
            <a:ext cx="6569893" cy="9188265"/>
          </a:xfrm>
          <a:custGeom>
            <a:avLst/>
            <a:gdLst>
              <a:gd name="connsiteX0" fmla="*/ 1485900 w 2971800"/>
              <a:gd name="connsiteY0" fmla="*/ 0 h 4581267"/>
              <a:gd name="connsiteX1" fmla="*/ 2735082 w 2971800"/>
              <a:gd name="connsiteY1" fmla="*/ 1050219 h 4581267"/>
              <a:gd name="connsiteX2" fmla="*/ 2971785 w 2971800"/>
              <a:gd name="connsiteY2" fmla="*/ 2301099 h 4581267"/>
              <a:gd name="connsiteX3" fmla="*/ 1485900 w 2971800"/>
              <a:gd name="connsiteY3" fmla="*/ 2290634 h 4581267"/>
              <a:gd name="connsiteX4" fmla="*/ 1485900 w 2971800"/>
              <a:gd name="connsiteY4" fmla="*/ 0 h 4581267"/>
              <a:gd name="connsiteX0" fmla="*/ 1485900 w 2971800"/>
              <a:gd name="connsiteY0" fmla="*/ 0 h 4581267"/>
              <a:gd name="connsiteX1" fmla="*/ 2735082 w 2971800"/>
              <a:gd name="connsiteY1" fmla="*/ 1050219 h 4581267"/>
              <a:gd name="connsiteX2" fmla="*/ 2971785 w 2971800"/>
              <a:gd name="connsiteY2" fmla="*/ 2301099 h 4581267"/>
              <a:gd name="connsiteX0" fmla="*/ 0 w 1485900"/>
              <a:gd name="connsiteY0" fmla="*/ 0 h 5095102"/>
              <a:gd name="connsiteX1" fmla="*/ 1249182 w 1485900"/>
              <a:gd name="connsiteY1" fmla="*/ 1050219 h 5095102"/>
              <a:gd name="connsiteX2" fmla="*/ 1485885 w 1485900"/>
              <a:gd name="connsiteY2" fmla="*/ 2301099 h 5095102"/>
              <a:gd name="connsiteX3" fmla="*/ 0 w 1485900"/>
              <a:gd name="connsiteY3" fmla="*/ 2290634 h 5095102"/>
              <a:gd name="connsiteX4" fmla="*/ 0 w 1485900"/>
              <a:gd name="connsiteY4" fmla="*/ 0 h 5095102"/>
              <a:gd name="connsiteX0" fmla="*/ 0 w 1485900"/>
              <a:gd name="connsiteY0" fmla="*/ 0 h 5095102"/>
              <a:gd name="connsiteX1" fmla="*/ 1249182 w 1485900"/>
              <a:gd name="connsiteY1" fmla="*/ 1050219 h 5095102"/>
              <a:gd name="connsiteX2" fmla="*/ 457184 w 1485900"/>
              <a:gd name="connsiteY2" fmla="*/ 5095102 h 5095102"/>
              <a:gd name="connsiteX0" fmla="*/ 1143000 w 2628900"/>
              <a:gd name="connsiteY0" fmla="*/ 0 h 5095102"/>
              <a:gd name="connsiteX1" fmla="*/ 2392182 w 2628900"/>
              <a:gd name="connsiteY1" fmla="*/ 1050219 h 5095102"/>
              <a:gd name="connsiteX2" fmla="*/ 2628885 w 2628900"/>
              <a:gd name="connsiteY2" fmla="*/ 2301099 h 5095102"/>
              <a:gd name="connsiteX3" fmla="*/ 1143000 w 2628900"/>
              <a:gd name="connsiteY3" fmla="*/ 2290634 h 5095102"/>
              <a:gd name="connsiteX4" fmla="*/ 1143000 w 2628900"/>
              <a:gd name="connsiteY4" fmla="*/ 0 h 5095102"/>
              <a:gd name="connsiteX0" fmla="*/ 0 w 2628900"/>
              <a:gd name="connsiteY0" fmla="*/ 1816100 h 5095102"/>
              <a:gd name="connsiteX1" fmla="*/ 2392182 w 2628900"/>
              <a:gd name="connsiteY1" fmla="*/ 1050219 h 5095102"/>
              <a:gd name="connsiteX2" fmla="*/ 1600184 w 2628900"/>
              <a:gd name="connsiteY2" fmla="*/ 5095102 h 5095102"/>
              <a:gd name="connsiteX0" fmla="*/ 1176338 w 2662238"/>
              <a:gd name="connsiteY0" fmla="*/ 0 h 5095102"/>
              <a:gd name="connsiteX1" fmla="*/ 2425520 w 2662238"/>
              <a:gd name="connsiteY1" fmla="*/ 1050219 h 5095102"/>
              <a:gd name="connsiteX2" fmla="*/ 2662223 w 2662238"/>
              <a:gd name="connsiteY2" fmla="*/ 2301099 h 5095102"/>
              <a:gd name="connsiteX3" fmla="*/ 1176338 w 2662238"/>
              <a:gd name="connsiteY3" fmla="*/ 2290634 h 5095102"/>
              <a:gd name="connsiteX4" fmla="*/ 1176338 w 2662238"/>
              <a:gd name="connsiteY4" fmla="*/ 0 h 5095102"/>
              <a:gd name="connsiteX0" fmla="*/ 0 w 2662238"/>
              <a:gd name="connsiteY0" fmla="*/ 1882775 h 5095102"/>
              <a:gd name="connsiteX1" fmla="*/ 2425520 w 2662238"/>
              <a:gd name="connsiteY1" fmla="*/ 1050219 h 5095102"/>
              <a:gd name="connsiteX2" fmla="*/ 1633522 w 2662238"/>
              <a:gd name="connsiteY2" fmla="*/ 5095102 h 5095102"/>
              <a:gd name="connsiteX0" fmla="*/ 1176338 w 2662238"/>
              <a:gd name="connsiteY0" fmla="*/ 0 h 5095102"/>
              <a:gd name="connsiteX1" fmla="*/ 2425520 w 2662238"/>
              <a:gd name="connsiteY1" fmla="*/ 1050219 h 5095102"/>
              <a:gd name="connsiteX2" fmla="*/ 2662223 w 2662238"/>
              <a:gd name="connsiteY2" fmla="*/ 2301099 h 5095102"/>
              <a:gd name="connsiteX3" fmla="*/ 1176338 w 2662238"/>
              <a:gd name="connsiteY3" fmla="*/ 2290634 h 5095102"/>
              <a:gd name="connsiteX4" fmla="*/ 1176338 w 2662238"/>
              <a:gd name="connsiteY4" fmla="*/ 0 h 5095102"/>
              <a:gd name="connsiteX0" fmla="*/ 0 w 2662238"/>
              <a:gd name="connsiteY0" fmla="*/ 1882775 h 5095102"/>
              <a:gd name="connsiteX1" fmla="*/ 1633522 w 2662238"/>
              <a:gd name="connsiteY1" fmla="*/ 5095102 h 5095102"/>
              <a:gd name="connsiteX0" fmla="*/ 1176338 w 2662238"/>
              <a:gd name="connsiteY0" fmla="*/ 0 h 5095102"/>
              <a:gd name="connsiteX1" fmla="*/ 2425520 w 2662238"/>
              <a:gd name="connsiteY1" fmla="*/ 1050219 h 5095102"/>
              <a:gd name="connsiteX2" fmla="*/ 2662223 w 2662238"/>
              <a:gd name="connsiteY2" fmla="*/ 2301099 h 5095102"/>
              <a:gd name="connsiteX3" fmla="*/ 1176338 w 2662238"/>
              <a:gd name="connsiteY3" fmla="*/ 2290634 h 5095102"/>
              <a:gd name="connsiteX4" fmla="*/ 1176338 w 2662238"/>
              <a:gd name="connsiteY4" fmla="*/ 0 h 5095102"/>
              <a:gd name="connsiteX0" fmla="*/ 0 w 2662238"/>
              <a:gd name="connsiteY0" fmla="*/ 1882775 h 5095102"/>
              <a:gd name="connsiteX1" fmla="*/ 1633522 w 2662238"/>
              <a:gd name="connsiteY1" fmla="*/ 5095102 h 5095102"/>
              <a:gd name="connsiteX0" fmla="*/ 1176338 w 2662238"/>
              <a:gd name="connsiteY0" fmla="*/ 0 h 5095102"/>
              <a:gd name="connsiteX1" fmla="*/ 2425520 w 2662238"/>
              <a:gd name="connsiteY1" fmla="*/ 1050219 h 5095102"/>
              <a:gd name="connsiteX2" fmla="*/ 2662223 w 2662238"/>
              <a:gd name="connsiteY2" fmla="*/ 2301099 h 5095102"/>
              <a:gd name="connsiteX3" fmla="*/ 1176338 w 2662238"/>
              <a:gd name="connsiteY3" fmla="*/ 2290634 h 5095102"/>
              <a:gd name="connsiteX4" fmla="*/ 1176338 w 2662238"/>
              <a:gd name="connsiteY4" fmla="*/ 0 h 5095102"/>
              <a:gd name="connsiteX0" fmla="*/ 0 w 2662238"/>
              <a:gd name="connsiteY0" fmla="*/ 1882775 h 5095102"/>
              <a:gd name="connsiteX1" fmla="*/ 1633522 w 2662238"/>
              <a:gd name="connsiteY1" fmla="*/ 5095102 h 5095102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3958 w 2659858"/>
              <a:gd name="connsiteY0" fmla="*/ 0 h 5123677"/>
              <a:gd name="connsiteX1" fmla="*/ 2423140 w 2659858"/>
              <a:gd name="connsiteY1" fmla="*/ 1050219 h 5123677"/>
              <a:gd name="connsiteX2" fmla="*/ 2659843 w 2659858"/>
              <a:gd name="connsiteY2" fmla="*/ 2301099 h 5123677"/>
              <a:gd name="connsiteX3" fmla="*/ 1173958 w 2659858"/>
              <a:gd name="connsiteY3" fmla="*/ 2290634 h 5123677"/>
              <a:gd name="connsiteX4" fmla="*/ 1173958 w 2659858"/>
              <a:gd name="connsiteY4" fmla="*/ 0 h 5123677"/>
              <a:gd name="connsiteX0" fmla="*/ 0 w 2659858"/>
              <a:gd name="connsiteY0" fmla="*/ 1889922 h 5123677"/>
              <a:gd name="connsiteX1" fmla="*/ 1650192 w 2659858"/>
              <a:gd name="connsiteY1" fmla="*/ 5123677 h 5123677"/>
              <a:gd name="connsiteX0" fmla="*/ 1173958 w 2659858"/>
              <a:gd name="connsiteY0" fmla="*/ 0 h 5123677"/>
              <a:gd name="connsiteX1" fmla="*/ 2423140 w 2659858"/>
              <a:gd name="connsiteY1" fmla="*/ 1050219 h 5123677"/>
              <a:gd name="connsiteX2" fmla="*/ 2659843 w 2659858"/>
              <a:gd name="connsiteY2" fmla="*/ 2301099 h 5123677"/>
              <a:gd name="connsiteX3" fmla="*/ 1173958 w 2659858"/>
              <a:gd name="connsiteY3" fmla="*/ 2290634 h 5123677"/>
              <a:gd name="connsiteX4" fmla="*/ 1173958 w 2659858"/>
              <a:gd name="connsiteY4" fmla="*/ 0 h 5123677"/>
              <a:gd name="connsiteX0" fmla="*/ 0 w 2659858"/>
              <a:gd name="connsiteY0" fmla="*/ 1889922 h 5123677"/>
              <a:gd name="connsiteX1" fmla="*/ 1650192 w 2659858"/>
              <a:gd name="connsiteY1" fmla="*/ 5123677 h 5123677"/>
              <a:gd name="connsiteX0" fmla="*/ 1173958 w 2659858"/>
              <a:gd name="connsiteY0" fmla="*/ 0 h 5123677"/>
              <a:gd name="connsiteX1" fmla="*/ 2423140 w 2659858"/>
              <a:gd name="connsiteY1" fmla="*/ 1050219 h 5123677"/>
              <a:gd name="connsiteX2" fmla="*/ 2659843 w 2659858"/>
              <a:gd name="connsiteY2" fmla="*/ 2301099 h 5123677"/>
              <a:gd name="connsiteX3" fmla="*/ 1173958 w 2659858"/>
              <a:gd name="connsiteY3" fmla="*/ 2290634 h 5123677"/>
              <a:gd name="connsiteX4" fmla="*/ 1173958 w 2659858"/>
              <a:gd name="connsiteY4" fmla="*/ 0 h 5123677"/>
              <a:gd name="connsiteX0" fmla="*/ 0 w 2659858"/>
              <a:gd name="connsiteY0" fmla="*/ 1889922 h 5123677"/>
              <a:gd name="connsiteX1" fmla="*/ 1650192 w 2659858"/>
              <a:gd name="connsiteY1" fmla="*/ 5123677 h 5123677"/>
              <a:gd name="connsiteX0" fmla="*/ 1150209 w 2636109"/>
              <a:gd name="connsiteY0" fmla="*/ 0 h 5123677"/>
              <a:gd name="connsiteX1" fmla="*/ 2399391 w 2636109"/>
              <a:gd name="connsiteY1" fmla="*/ 1050219 h 5123677"/>
              <a:gd name="connsiteX2" fmla="*/ 2636094 w 2636109"/>
              <a:gd name="connsiteY2" fmla="*/ 2301099 h 5123677"/>
              <a:gd name="connsiteX3" fmla="*/ 1150209 w 2636109"/>
              <a:gd name="connsiteY3" fmla="*/ 2290634 h 5123677"/>
              <a:gd name="connsiteX4" fmla="*/ 1150209 w 2636109"/>
              <a:gd name="connsiteY4" fmla="*/ 0 h 5123677"/>
              <a:gd name="connsiteX0" fmla="*/ 0 w 2636109"/>
              <a:gd name="connsiteY0" fmla="*/ 2045387 h 5123677"/>
              <a:gd name="connsiteX1" fmla="*/ 1626443 w 2636109"/>
              <a:gd name="connsiteY1" fmla="*/ 5123677 h 5123677"/>
              <a:gd name="connsiteX0" fmla="*/ 1150209 w 2636109"/>
              <a:gd name="connsiteY0" fmla="*/ 0 h 5123677"/>
              <a:gd name="connsiteX1" fmla="*/ 2399391 w 2636109"/>
              <a:gd name="connsiteY1" fmla="*/ 1050219 h 5123677"/>
              <a:gd name="connsiteX2" fmla="*/ 2636094 w 2636109"/>
              <a:gd name="connsiteY2" fmla="*/ 2301099 h 5123677"/>
              <a:gd name="connsiteX3" fmla="*/ 1150209 w 2636109"/>
              <a:gd name="connsiteY3" fmla="*/ 2290634 h 5123677"/>
              <a:gd name="connsiteX4" fmla="*/ 1150209 w 2636109"/>
              <a:gd name="connsiteY4" fmla="*/ 0 h 5123677"/>
              <a:gd name="connsiteX0" fmla="*/ 0 w 2636109"/>
              <a:gd name="connsiteY0" fmla="*/ 2045387 h 5123677"/>
              <a:gd name="connsiteX1" fmla="*/ 1626443 w 2636109"/>
              <a:gd name="connsiteY1" fmla="*/ 5123677 h 5123677"/>
              <a:gd name="connsiteX0" fmla="*/ 1150209 w 2636109"/>
              <a:gd name="connsiteY0" fmla="*/ 0 h 5123677"/>
              <a:gd name="connsiteX1" fmla="*/ 2399391 w 2636109"/>
              <a:gd name="connsiteY1" fmla="*/ 1050219 h 5123677"/>
              <a:gd name="connsiteX2" fmla="*/ 2636094 w 2636109"/>
              <a:gd name="connsiteY2" fmla="*/ 2301099 h 5123677"/>
              <a:gd name="connsiteX3" fmla="*/ 1150209 w 2636109"/>
              <a:gd name="connsiteY3" fmla="*/ 2290634 h 5123677"/>
              <a:gd name="connsiteX4" fmla="*/ 1150209 w 2636109"/>
              <a:gd name="connsiteY4" fmla="*/ 0 h 5123677"/>
              <a:gd name="connsiteX0" fmla="*/ 0 w 2636109"/>
              <a:gd name="connsiteY0" fmla="*/ 2045387 h 5123677"/>
              <a:gd name="connsiteX1" fmla="*/ 1626443 w 2636109"/>
              <a:gd name="connsiteY1" fmla="*/ 5123677 h 5123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636109" h="5123677" stroke="0" extrusionOk="0">
                <a:moveTo>
                  <a:pt x="1150209" y="0"/>
                </a:moveTo>
                <a:cubicBezTo>
                  <a:pt x="1655331" y="0"/>
                  <a:pt x="2125859" y="395585"/>
                  <a:pt x="2399391" y="1050219"/>
                </a:cubicBezTo>
                <a:cubicBezTo>
                  <a:pt x="2555180" y="1423063"/>
                  <a:pt x="2637408" y="1857606"/>
                  <a:pt x="2636094" y="2301099"/>
                </a:cubicBezTo>
                <a:lnTo>
                  <a:pt x="1150209" y="2290634"/>
                </a:lnTo>
                <a:lnTo>
                  <a:pt x="1150209" y="0"/>
                </a:lnTo>
                <a:close/>
              </a:path>
              <a:path w="2636109" h="5123677" fill="none">
                <a:moveTo>
                  <a:pt x="0" y="2045387"/>
                </a:moveTo>
                <a:cubicBezTo>
                  <a:pt x="1360446" y="2375211"/>
                  <a:pt x="1736915" y="4098056"/>
                  <a:pt x="1626443" y="5123677"/>
                </a:cubicBezTo>
              </a:path>
            </a:pathLst>
          </a:custGeom>
          <a:noFill/>
          <a:ln w="12700">
            <a:solidFill>
              <a:schemeClr val="accent1">
                <a:lumMod val="20000"/>
                <a:lumOff val="80000"/>
                <a:alpha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Freeform 11">
            <a:extLst>
              <a:ext uri="{FF2B5EF4-FFF2-40B4-BE49-F238E27FC236}">
                <a16:creationId xmlns:a16="http://schemas.microsoft.com/office/drawing/2014/main" id="{1F943766-1615-4432-905C-072976630204}"/>
              </a:ext>
            </a:extLst>
          </p:cNvPr>
          <p:cNvSpPr>
            <a:spLocks/>
          </p:cNvSpPr>
          <p:nvPr userDrawn="1"/>
        </p:nvSpPr>
        <p:spPr bwMode="auto">
          <a:xfrm>
            <a:off x="-92364" y="4651948"/>
            <a:ext cx="12284364" cy="2258859"/>
          </a:xfrm>
          <a:custGeom>
            <a:avLst/>
            <a:gdLst>
              <a:gd name="T0" fmla="*/ 4468 w 4666"/>
              <a:gd name="T1" fmla="*/ 394 h 887"/>
              <a:gd name="T2" fmla="*/ 4208 w 4666"/>
              <a:gd name="T3" fmla="*/ 497 h 887"/>
              <a:gd name="T4" fmla="*/ 4019 w 4666"/>
              <a:gd name="T5" fmla="*/ 257 h 887"/>
              <a:gd name="T6" fmla="*/ 3962 w 4666"/>
              <a:gd name="T7" fmla="*/ 180 h 887"/>
              <a:gd name="T8" fmla="*/ 3796 w 4666"/>
              <a:gd name="T9" fmla="*/ 257 h 887"/>
              <a:gd name="T10" fmla="*/ 3739 w 4666"/>
              <a:gd name="T11" fmla="*/ 320 h 887"/>
              <a:gd name="T12" fmla="*/ 3606 w 4666"/>
              <a:gd name="T13" fmla="*/ 109 h 887"/>
              <a:gd name="T14" fmla="*/ 3364 w 4666"/>
              <a:gd name="T15" fmla="*/ 0 h 887"/>
              <a:gd name="T16" fmla="*/ 2978 w 4666"/>
              <a:gd name="T17" fmla="*/ 257 h 887"/>
              <a:gd name="T18" fmla="*/ 2926 w 4666"/>
              <a:gd name="T19" fmla="*/ 180 h 887"/>
              <a:gd name="T20" fmla="*/ 2760 w 4666"/>
              <a:gd name="T21" fmla="*/ 257 h 887"/>
              <a:gd name="T22" fmla="*/ 2703 w 4666"/>
              <a:gd name="T23" fmla="*/ 497 h 887"/>
              <a:gd name="T24" fmla="*/ 2512 w 4666"/>
              <a:gd name="T25" fmla="*/ 394 h 887"/>
              <a:gd name="T26" fmla="*/ 2254 w 4666"/>
              <a:gd name="T27" fmla="*/ 320 h 887"/>
              <a:gd name="T28" fmla="*/ 1955 w 4666"/>
              <a:gd name="T29" fmla="*/ 91 h 887"/>
              <a:gd name="T30" fmla="*/ 1751 w 4666"/>
              <a:gd name="T31" fmla="*/ 465 h 887"/>
              <a:gd name="T32" fmla="*/ 1567 w 4666"/>
              <a:gd name="T33" fmla="*/ 394 h 887"/>
              <a:gd name="T34" fmla="*/ 1325 w 4666"/>
              <a:gd name="T35" fmla="*/ 394 h 887"/>
              <a:gd name="T36" fmla="*/ 1290 w 4666"/>
              <a:gd name="T37" fmla="*/ 497 h 887"/>
              <a:gd name="T38" fmla="*/ 1099 w 4666"/>
              <a:gd name="T39" fmla="*/ 428 h 887"/>
              <a:gd name="T40" fmla="*/ 1044 w 4666"/>
              <a:gd name="T41" fmla="*/ 351 h 887"/>
              <a:gd name="T42" fmla="*/ 876 w 4666"/>
              <a:gd name="T43" fmla="*/ 428 h 887"/>
              <a:gd name="T44" fmla="*/ 821 w 4666"/>
              <a:gd name="T45" fmla="*/ 634 h 887"/>
              <a:gd name="T46" fmla="*/ 567 w 4666"/>
              <a:gd name="T47" fmla="*/ 465 h 887"/>
              <a:gd name="T48" fmla="*/ 325 w 4666"/>
              <a:gd name="T49" fmla="*/ 603 h 887"/>
              <a:gd name="T50" fmla="*/ 0 w 4666"/>
              <a:gd name="T51" fmla="*/ 887 h 887"/>
              <a:gd name="T52" fmla="*/ 327 w 4666"/>
              <a:gd name="T53" fmla="*/ 887 h 887"/>
              <a:gd name="T54" fmla="*/ 567 w 4666"/>
              <a:gd name="T55" fmla="*/ 887 h 887"/>
              <a:gd name="T56" fmla="*/ 860 w 4666"/>
              <a:gd name="T57" fmla="*/ 887 h 887"/>
              <a:gd name="T58" fmla="*/ 1099 w 4666"/>
              <a:gd name="T59" fmla="*/ 887 h 887"/>
              <a:gd name="T60" fmla="*/ 1204 w 4666"/>
              <a:gd name="T61" fmla="*/ 887 h 887"/>
              <a:gd name="T62" fmla="*/ 1321 w 4666"/>
              <a:gd name="T63" fmla="*/ 887 h 887"/>
              <a:gd name="T64" fmla="*/ 1346 w 4666"/>
              <a:gd name="T65" fmla="*/ 887 h 887"/>
              <a:gd name="T66" fmla="*/ 1553 w 4666"/>
              <a:gd name="T67" fmla="*/ 887 h 887"/>
              <a:gd name="T68" fmla="*/ 1751 w 4666"/>
              <a:gd name="T69" fmla="*/ 887 h 887"/>
              <a:gd name="T70" fmla="*/ 1827 w 4666"/>
              <a:gd name="T71" fmla="*/ 887 h 887"/>
              <a:gd name="T72" fmla="*/ 2254 w 4666"/>
              <a:gd name="T73" fmla="*/ 887 h 887"/>
              <a:gd name="T74" fmla="*/ 2512 w 4666"/>
              <a:gd name="T75" fmla="*/ 887 h 887"/>
              <a:gd name="T76" fmla="*/ 2741 w 4666"/>
              <a:gd name="T77" fmla="*/ 887 h 887"/>
              <a:gd name="T78" fmla="*/ 2981 w 4666"/>
              <a:gd name="T79" fmla="*/ 887 h 887"/>
              <a:gd name="T80" fmla="*/ 3364 w 4666"/>
              <a:gd name="T81" fmla="*/ 887 h 887"/>
              <a:gd name="T82" fmla="*/ 3606 w 4666"/>
              <a:gd name="T83" fmla="*/ 887 h 887"/>
              <a:gd name="T84" fmla="*/ 3780 w 4666"/>
              <a:gd name="T85" fmla="*/ 887 h 887"/>
              <a:gd name="T86" fmla="*/ 4019 w 4666"/>
              <a:gd name="T87" fmla="*/ 887 h 887"/>
              <a:gd name="T88" fmla="*/ 4208 w 4666"/>
              <a:gd name="T89" fmla="*/ 887 h 887"/>
              <a:gd name="T90" fmla="*/ 4468 w 4666"/>
              <a:gd name="T91" fmla="*/ 887 h 887"/>
              <a:gd name="T92" fmla="*/ 4666 w 4666"/>
              <a:gd name="T93" fmla="*/ 722 h 8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666" h="887">
                <a:moveTo>
                  <a:pt x="4468" y="722"/>
                </a:moveTo>
                <a:lnTo>
                  <a:pt x="4468" y="394"/>
                </a:lnTo>
                <a:lnTo>
                  <a:pt x="4208" y="394"/>
                </a:lnTo>
                <a:lnTo>
                  <a:pt x="4208" y="497"/>
                </a:lnTo>
                <a:lnTo>
                  <a:pt x="4019" y="497"/>
                </a:lnTo>
                <a:lnTo>
                  <a:pt x="4019" y="257"/>
                </a:lnTo>
                <a:lnTo>
                  <a:pt x="3962" y="257"/>
                </a:lnTo>
                <a:lnTo>
                  <a:pt x="3962" y="180"/>
                </a:lnTo>
                <a:lnTo>
                  <a:pt x="3796" y="180"/>
                </a:lnTo>
                <a:lnTo>
                  <a:pt x="3796" y="257"/>
                </a:lnTo>
                <a:lnTo>
                  <a:pt x="3739" y="257"/>
                </a:lnTo>
                <a:lnTo>
                  <a:pt x="3739" y="320"/>
                </a:lnTo>
                <a:lnTo>
                  <a:pt x="3606" y="320"/>
                </a:lnTo>
                <a:lnTo>
                  <a:pt x="3606" y="109"/>
                </a:lnTo>
                <a:lnTo>
                  <a:pt x="3364" y="306"/>
                </a:lnTo>
                <a:lnTo>
                  <a:pt x="3364" y="0"/>
                </a:lnTo>
                <a:lnTo>
                  <a:pt x="2978" y="0"/>
                </a:lnTo>
                <a:lnTo>
                  <a:pt x="2978" y="257"/>
                </a:lnTo>
                <a:lnTo>
                  <a:pt x="2926" y="257"/>
                </a:lnTo>
                <a:lnTo>
                  <a:pt x="2926" y="180"/>
                </a:lnTo>
                <a:lnTo>
                  <a:pt x="2760" y="180"/>
                </a:lnTo>
                <a:lnTo>
                  <a:pt x="2760" y="257"/>
                </a:lnTo>
                <a:lnTo>
                  <a:pt x="2703" y="257"/>
                </a:lnTo>
                <a:lnTo>
                  <a:pt x="2703" y="497"/>
                </a:lnTo>
                <a:lnTo>
                  <a:pt x="2512" y="497"/>
                </a:lnTo>
                <a:lnTo>
                  <a:pt x="2512" y="394"/>
                </a:lnTo>
                <a:lnTo>
                  <a:pt x="2254" y="394"/>
                </a:lnTo>
                <a:lnTo>
                  <a:pt x="2254" y="320"/>
                </a:lnTo>
                <a:lnTo>
                  <a:pt x="1955" y="320"/>
                </a:lnTo>
                <a:lnTo>
                  <a:pt x="1955" y="91"/>
                </a:lnTo>
                <a:lnTo>
                  <a:pt x="1751" y="91"/>
                </a:lnTo>
                <a:lnTo>
                  <a:pt x="1751" y="465"/>
                </a:lnTo>
                <a:lnTo>
                  <a:pt x="1567" y="465"/>
                </a:lnTo>
                <a:lnTo>
                  <a:pt x="1567" y="394"/>
                </a:lnTo>
                <a:lnTo>
                  <a:pt x="1550" y="394"/>
                </a:lnTo>
                <a:lnTo>
                  <a:pt x="1325" y="394"/>
                </a:lnTo>
                <a:lnTo>
                  <a:pt x="1290" y="394"/>
                </a:lnTo>
                <a:lnTo>
                  <a:pt x="1290" y="497"/>
                </a:lnTo>
                <a:lnTo>
                  <a:pt x="1099" y="497"/>
                </a:lnTo>
                <a:lnTo>
                  <a:pt x="1099" y="428"/>
                </a:lnTo>
                <a:lnTo>
                  <a:pt x="1044" y="428"/>
                </a:lnTo>
                <a:lnTo>
                  <a:pt x="1044" y="351"/>
                </a:lnTo>
                <a:lnTo>
                  <a:pt x="876" y="351"/>
                </a:lnTo>
                <a:lnTo>
                  <a:pt x="876" y="428"/>
                </a:lnTo>
                <a:lnTo>
                  <a:pt x="821" y="428"/>
                </a:lnTo>
                <a:lnTo>
                  <a:pt x="821" y="634"/>
                </a:lnTo>
                <a:lnTo>
                  <a:pt x="567" y="634"/>
                </a:lnTo>
                <a:lnTo>
                  <a:pt x="567" y="465"/>
                </a:lnTo>
                <a:lnTo>
                  <a:pt x="325" y="465"/>
                </a:lnTo>
                <a:lnTo>
                  <a:pt x="325" y="603"/>
                </a:lnTo>
                <a:lnTo>
                  <a:pt x="0" y="603"/>
                </a:lnTo>
                <a:lnTo>
                  <a:pt x="0" y="887"/>
                </a:lnTo>
                <a:lnTo>
                  <a:pt x="325" y="887"/>
                </a:lnTo>
                <a:lnTo>
                  <a:pt x="327" y="887"/>
                </a:lnTo>
                <a:lnTo>
                  <a:pt x="563" y="887"/>
                </a:lnTo>
                <a:lnTo>
                  <a:pt x="567" y="887"/>
                </a:lnTo>
                <a:lnTo>
                  <a:pt x="821" y="887"/>
                </a:lnTo>
                <a:lnTo>
                  <a:pt x="860" y="887"/>
                </a:lnTo>
                <a:lnTo>
                  <a:pt x="1061" y="887"/>
                </a:lnTo>
                <a:lnTo>
                  <a:pt x="1099" y="887"/>
                </a:lnTo>
                <a:lnTo>
                  <a:pt x="1104" y="887"/>
                </a:lnTo>
                <a:lnTo>
                  <a:pt x="1204" y="887"/>
                </a:lnTo>
                <a:lnTo>
                  <a:pt x="1290" y="887"/>
                </a:lnTo>
                <a:lnTo>
                  <a:pt x="1321" y="887"/>
                </a:lnTo>
                <a:lnTo>
                  <a:pt x="1325" y="887"/>
                </a:lnTo>
                <a:lnTo>
                  <a:pt x="1346" y="887"/>
                </a:lnTo>
                <a:lnTo>
                  <a:pt x="1550" y="887"/>
                </a:lnTo>
                <a:lnTo>
                  <a:pt x="1553" y="887"/>
                </a:lnTo>
                <a:lnTo>
                  <a:pt x="1567" y="887"/>
                </a:lnTo>
                <a:lnTo>
                  <a:pt x="1751" y="887"/>
                </a:lnTo>
                <a:lnTo>
                  <a:pt x="1795" y="887"/>
                </a:lnTo>
                <a:lnTo>
                  <a:pt x="1827" y="887"/>
                </a:lnTo>
                <a:lnTo>
                  <a:pt x="1955" y="887"/>
                </a:lnTo>
                <a:lnTo>
                  <a:pt x="2254" y="887"/>
                </a:lnTo>
                <a:lnTo>
                  <a:pt x="2483" y="887"/>
                </a:lnTo>
                <a:lnTo>
                  <a:pt x="2512" y="887"/>
                </a:lnTo>
                <a:lnTo>
                  <a:pt x="2703" y="887"/>
                </a:lnTo>
                <a:lnTo>
                  <a:pt x="2741" y="887"/>
                </a:lnTo>
                <a:lnTo>
                  <a:pt x="2978" y="887"/>
                </a:lnTo>
                <a:lnTo>
                  <a:pt x="2981" y="887"/>
                </a:lnTo>
                <a:lnTo>
                  <a:pt x="3356" y="887"/>
                </a:lnTo>
                <a:lnTo>
                  <a:pt x="3364" y="887"/>
                </a:lnTo>
                <a:lnTo>
                  <a:pt x="3481" y="887"/>
                </a:lnTo>
                <a:lnTo>
                  <a:pt x="3606" y="887"/>
                </a:lnTo>
                <a:lnTo>
                  <a:pt x="3739" y="887"/>
                </a:lnTo>
                <a:lnTo>
                  <a:pt x="3780" y="887"/>
                </a:lnTo>
                <a:lnTo>
                  <a:pt x="3980" y="887"/>
                </a:lnTo>
                <a:lnTo>
                  <a:pt x="4019" y="887"/>
                </a:lnTo>
                <a:lnTo>
                  <a:pt x="4124" y="887"/>
                </a:lnTo>
                <a:lnTo>
                  <a:pt x="4208" y="887"/>
                </a:lnTo>
                <a:lnTo>
                  <a:pt x="4239" y="887"/>
                </a:lnTo>
                <a:lnTo>
                  <a:pt x="4468" y="887"/>
                </a:lnTo>
                <a:lnTo>
                  <a:pt x="4666" y="887"/>
                </a:lnTo>
                <a:lnTo>
                  <a:pt x="4666" y="722"/>
                </a:lnTo>
                <a:lnTo>
                  <a:pt x="4468" y="722"/>
                </a:lnTo>
                <a:close/>
              </a:path>
            </a:pathLst>
          </a:custGeom>
          <a:solidFill>
            <a:srgbClr val="00188F">
              <a:lumMod val="5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CAC56D8-7E55-4F0C-8E9D-9362AAA1BE8A}"/>
              </a:ext>
            </a:extLst>
          </p:cNvPr>
          <p:cNvSpPr/>
          <p:nvPr userDrawn="1"/>
        </p:nvSpPr>
        <p:spPr>
          <a:xfrm>
            <a:off x="6079376" y="456225"/>
            <a:ext cx="5936412" cy="14219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4800" b="1" kern="1200" cap="none" spc="-98" baseline="0">
                <a:ln w="3175"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telligent Cloud Architect Boot Camp</a:t>
            </a:r>
          </a:p>
        </p:txBody>
      </p:sp>
      <p:sp>
        <p:nvSpPr>
          <p:cNvPr id="15" name="Freeform 10">
            <a:extLst>
              <a:ext uri="{FF2B5EF4-FFF2-40B4-BE49-F238E27FC236}">
                <a16:creationId xmlns:a16="http://schemas.microsoft.com/office/drawing/2014/main" id="{E79ACDCA-90B8-4F93-AB30-1088C4082FC4}"/>
              </a:ext>
            </a:extLst>
          </p:cNvPr>
          <p:cNvSpPr>
            <a:spLocks/>
          </p:cNvSpPr>
          <p:nvPr userDrawn="1"/>
        </p:nvSpPr>
        <p:spPr bwMode="auto">
          <a:xfrm>
            <a:off x="269300" y="4471379"/>
            <a:ext cx="12063937" cy="2228238"/>
          </a:xfrm>
          <a:custGeom>
            <a:avLst/>
            <a:gdLst>
              <a:gd name="T0" fmla="*/ 0 w 2301"/>
              <a:gd name="T1" fmla="*/ 122 h 425"/>
              <a:gd name="T2" fmla="*/ 10 w 2301"/>
              <a:gd name="T3" fmla="*/ 293 h 425"/>
              <a:gd name="T4" fmla="*/ 34 w 2301"/>
              <a:gd name="T5" fmla="*/ 211 h 425"/>
              <a:gd name="T6" fmla="*/ 108 w 2301"/>
              <a:gd name="T7" fmla="*/ 293 h 425"/>
              <a:gd name="T8" fmla="*/ 124 w 2301"/>
              <a:gd name="T9" fmla="*/ 132 h 425"/>
              <a:gd name="T10" fmla="*/ 148 w 2301"/>
              <a:gd name="T11" fmla="*/ 78 h 425"/>
              <a:gd name="T12" fmla="*/ 187 w 2301"/>
              <a:gd name="T13" fmla="*/ 132 h 425"/>
              <a:gd name="T14" fmla="*/ 204 w 2301"/>
              <a:gd name="T15" fmla="*/ 243 h 425"/>
              <a:gd name="T16" fmla="*/ 231 w 2301"/>
              <a:gd name="T17" fmla="*/ 51 h 425"/>
              <a:gd name="T18" fmla="*/ 285 w 2301"/>
              <a:gd name="T19" fmla="*/ 51 h 425"/>
              <a:gd name="T20" fmla="*/ 307 w 2301"/>
              <a:gd name="T21" fmla="*/ 172 h 425"/>
              <a:gd name="T22" fmla="*/ 315 w 2301"/>
              <a:gd name="T23" fmla="*/ 43 h 425"/>
              <a:gd name="T24" fmla="*/ 400 w 2301"/>
              <a:gd name="T25" fmla="*/ 177 h 425"/>
              <a:gd name="T26" fmla="*/ 439 w 2301"/>
              <a:gd name="T27" fmla="*/ 39 h 425"/>
              <a:gd name="T28" fmla="*/ 471 w 2301"/>
              <a:gd name="T29" fmla="*/ 177 h 425"/>
              <a:gd name="T30" fmla="*/ 498 w 2301"/>
              <a:gd name="T31" fmla="*/ 293 h 425"/>
              <a:gd name="T32" fmla="*/ 522 w 2301"/>
              <a:gd name="T33" fmla="*/ 182 h 425"/>
              <a:gd name="T34" fmla="*/ 582 w 2301"/>
              <a:gd name="T35" fmla="*/ 264 h 425"/>
              <a:gd name="T36" fmla="*/ 682 w 2301"/>
              <a:gd name="T37" fmla="*/ 293 h 425"/>
              <a:gd name="T38" fmla="*/ 704 w 2301"/>
              <a:gd name="T39" fmla="*/ 126 h 425"/>
              <a:gd name="T40" fmla="*/ 780 w 2301"/>
              <a:gd name="T41" fmla="*/ 240 h 425"/>
              <a:gd name="T42" fmla="*/ 808 w 2301"/>
              <a:gd name="T43" fmla="*/ 154 h 425"/>
              <a:gd name="T44" fmla="*/ 852 w 2301"/>
              <a:gd name="T45" fmla="*/ 154 h 425"/>
              <a:gd name="T46" fmla="*/ 878 w 2301"/>
              <a:gd name="T47" fmla="*/ 240 h 425"/>
              <a:gd name="T48" fmla="*/ 915 w 2301"/>
              <a:gd name="T49" fmla="*/ 101 h 425"/>
              <a:gd name="T50" fmla="*/ 990 w 2301"/>
              <a:gd name="T51" fmla="*/ 101 h 425"/>
              <a:gd name="T52" fmla="*/ 1041 w 2301"/>
              <a:gd name="T53" fmla="*/ 240 h 425"/>
              <a:gd name="T54" fmla="*/ 1069 w 2301"/>
              <a:gd name="T55" fmla="*/ 154 h 425"/>
              <a:gd name="T56" fmla="*/ 1113 w 2301"/>
              <a:gd name="T57" fmla="*/ 154 h 425"/>
              <a:gd name="T58" fmla="*/ 1140 w 2301"/>
              <a:gd name="T59" fmla="*/ 240 h 425"/>
              <a:gd name="T60" fmla="*/ 1161 w 2301"/>
              <a:gd name="T61" fmla="*/ 126 h 425"/>
              <a:gd name="T62" fmla="*/ 1237 w 2301"/>
              <a:gd name="T63" fmla="*/ 293 h 425"/>
              <a:gd name="T64" fmla="*/ 1335 w 2301"/>
              <a:gd name="T65" fmla="*/ 264 h 425"/>
              <a:gd name="T66" fmla="*/ 1377 w 2301"/>
              <a:gd name="T67" fmla="*/ 182 h 425"/>
              <a:gd name="T68" fmla="*/ 1422 w 2301"/>
              <a:gd name="T69" fmla="*/ 293 h 425"/>
              <a:gd name="T70" fmla="*/ 1443 w 2301"/>
              <a:gd name="T71" fmla="*/ 177 h 425"/>
              <a:gd name="T72" fmla="*/ 1465 w 2301"/>
              <a:gd name="T73" fmla="*/ 39 h 425"/>
              <a:gd name="T74" fmla="*/ 1492 w 2301"/>
              <a:gd name="T75" fmla="*/ 177 h 425"/>
              <a:gd name="T76" fmla="*/ 1540 w 2301"/>
              <a:gd name="T77" fmla="*/ 43 h 425"/>
              <a:gd name="T78" fmla="*/ 1618 w 2301"/>
              <a:gd name="T79" fmla="*/ 172 h 425"/>
              <a:gd name="T80" fmla="*/ 1639 w 2301"/>
              <a:gd name="T81" fmla="*/ 51 h 425"/>
              <a:gd name="T82" fmla="*/ 1695 w 2301"/>
              <a:gd name="T83" fmla="*/ 51 h 425"/>
              <a:gd name="T84" fmla="*/ 1716 w 2301"/>
              <a:gd name="T85" fmla="*/ 243 h 425"/>
              <a:gd name="T86" fmla="*/ 1735 w 2301"/>
              <a:gd name="T87" fmla="*/ 132 h 425"/>
              <a:gd name="T88" fmla="*/ 1759 w 2301"/>
              <a:gd name="T89" fmla="*/ 78 h 425"/>
              <a:gd name="T90" fmla="*/ 1799 w 2301"/>
              <a:gd name="T91" fmla="*/ 132 h 425"/>
              <a:gd name="T92" fmla="*/ 1813 w 2301"/>
              <a:gd name="T93" fmla="*/ 293 h 425"/>
              <a:gd name="T94" fmla="*/ 1836 w 2301"/>
              <a:gd name="T95" fmla="*/ 211 h 425"/>
              <a:gd name="T96" fmla="*/ 1909 w 2301"/>
              <a:gd name="T97" fmla="*/ 293 h 425"/>
              <a:gd name="T98" fmla="*/ 1921 w 2301"/>
              <a:gd name="T99" fmla="*/ 122 h 425"/>
              <a:gd name="T100" fmla="*/ 2008 w 2301"/>
              <a:gd name="T101" fmla="*/ 253 h 425"/>
              <a:gd name="T102" fmla="*/ 2019 w 2301"/>
              <a:gd name="T103" fmla="*/ 161 h 425"/>
              <a:gd name="T104" fmla="*/ 2086 w 2301"/>
              <a:gd name="T105" fmla="*/ 174 h 425"/>
              <a:gd name="T106" fmla="*/ 2116 w 2301"/>
              <a:gd name="T107" fmla="*/ 159 h 425"/>
              <a:gd name="T108" fmla="*/ 2140 w 2301"/>
              <a:gd name="T109" fmla="*/ 90 h 425"/>
              <a:gd name="T110" fmla="*/ 2193 w 2301"/>
              <a:gd name="T111" fmla="*/ 159 h 425"/>
              <a:gd name="T112" fmla="*/ 2214 w 2301"/>
              <a:gd name="T113" fmla="*/ 234 h 425"/>
              <a:gd name="T114" fmla="*/ 2255 w 2301"/>
              <a:gd name="T115" fmla="*/ 125 h 425"/>
              <a:gd name="T116" fmla="*/ 2281 w 2301"/>
              <a:gd name="T117" fmla="*/ 234 h 4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301" h="425">
                <a:moveTo>
                  <a:pt x="2301" y="234"/>
                </a:moveTo>
                <a:lnTo>
                  <a:pt x="2301" y="425"/>
                </a:lnTo>
                <a:lnTo>
                  <a:pt x="0" y="425"/>
                </a:lnTo>
                <a:lnTo>
                  <a:pt x="0" y="122"/>
                </a:lnTo>
                <a:lnTo>
                  <a:pt x="10" y="122"/>
                </a:lnTo>
                <a:lnTo>
                  <a:pt x="10" y="180"/>
                </a:lnTo>
                <a:lnTo>
                  <a:pt x="10" y="180"/>
                </a:lnTo>
                <a:lnTo>
                  <a:pt x="10" y="293"/>
                </a:lnTo>
                <a:lnTo>
                  <a:pt x="21" y="293"/>
                </a:lnTo>
                <a:lnTo>
                  <a:pt x="21" y="264"/>
                </a:lnTo>
                <a:lnTo>
                  <a:pt x="34" y="264"/>
                </a:lnTo>
                <a:lnTo>
                  <a:pt x="34" y="211"/>
                </a:lnTo>
                <a:lnTo>
                  <a:pt x="94" y="211"/>
                </a:lnTo>
                <a:lnTo>
                  <a:pt x="94" y="264"/>
                </a:lnTo>
                <a:lnTo>
                  <a:pt x="108" y="264"/>
                </a:lnTo>
                <a:lnTo>
                  <a:pt x="108" y="293"/>
                </a:lnTo>
                <a:lnTo>
                  <a:pt x="117" y="293"/>
                </a:lnTo>
                <a:lnTo>
                  <a:pt x="117" y="159"/>
                </a:lnTo>
                <a:lnTo>
                  <a:pt x="124" y="159"/>
                </a:lnTo>
                <a:lnTo>
                  <a:pt x="124" y="132"/>
                </a:lnTo>
                <a:lnTo>
                  <a:pt x="132" y="132"/>
                </a:lnTo>
                <a:lnTo>
                  <a:pt x="132" y="105"/>
                </a:lnTo>
                <a:lnTo>
                  <a:pt x="148" y="105"/>
                </a:lnTo>
                <a:lnTo>
                  <a:pt x="148" y="78"/>
                </a:lnTo>
                <a:lnTo>
                  <a:pt x="171" y="78"/>
                </a:lnTo>
                <a:lnTo>
                  <a:pt x="171" y="105"/>
                </a:lnTo>
                <a:lnTo>
                  <a:pt x="187" y="105"/>
                </a:lnTo>
                <a:lnTo>
                  <a:pt x="187" y="132"/>
                </a:lnTo>
                <a:lnTo>
                  <a:pt x="195" y="132"/>
                </a:lnTo>
                <a:lnTo>
                  <a:pt x="195" y="159"/>
                </a:lnTo>
                <a:lnTo>
                  <a:pt x="204" y="159"/>
                </a:lnTo>
                <a:lnTo>
                  <a:pt x="204" y="243"/>
                </a:lnTo>
                <a:lnTo>
                  <a:pt x="215" y="243"/>
                </a:lnTo>
                <a:lnTo>
                  <a:pt x="215" y="84"/>
                </a:lnTo>
                <a:lnTo>
                  <a:pt x="231" y="84"/>
                </a:lnTo>
                <a:lnTo>
                  <a:pt x="231" y="51"/>
                </a:lnTo>
                <a:lnTo>
                  <a:pt x="235" y="51"/>
                </a:lnTo>
                <a:lnTo>
                  <a:pt x="235" y="0"/>
                </a:lnTo>
                <a:lnTo>
                  <a:pt x="285" y="0"/>
                </a:lnTo>
                <a:lnTo>
                  <a:pt x="285" y="51"/>
                </a:lnTo>
                <a:lnTo>
                  <a:pt x="291" y="51"/>
                </a:lnTo>
                <a:lnTo>
                  <a:pt x="291" y="84"/>
                </a:lnTo>
                <a:lnTo>
                  <a:pt x="307" y="84"/>
                </a:lnTo>
                <a:lnTo>
                  <a:pt x="307" y="172"/>
                </a:lnTo>
                <a:lnTo>
                  <a:pt x="313" y="172"/>
                </a:lnTo>
                <a:lnTo>
                  <a:pt x="313" y="124"/>
                </a:lnTo>
                <a:lnTo>
                  <a:pt x="315" y="124"/>
                </a:lnTo>
                <a:lnTo>
                  <a:pt x="315" y="43"/>
                </a:lnTo>
                <a:lnTo>
                  <a:pt x="390" y="43"/>
                </a:lnTo>
                <a:lnTo>
                  <a:pt x="390" y="124"/>
                </a:lnTo>
                <a:lnTo>
                  <a:pt x="400" y="124"/>
                </a:lnTo>
                <a:lnTo>
                  <a:pt x="400" y="177"/>
                </a:lnTo>
                <a:lnTo>
                  <a:pt x="438" y="177"/>
                </a:lnTo>
                <a:lnTo>
                  <a:pt x="438" y="108"/>
                </a:lnTo>
                <a:lnTo>
                  <a:pt x="435" y="108"/>
                </a:lnTo>
                <a:lnTo>
                  <a:pt x="439" y="39"/>
                </a:lnTo>
                <a:lnTo>
                  <a:pt x="466" y="39"/>
                </a:lnTo>
                <a:lnTo>
                  <a:pt x="466" y="108"/>
                </a:lnTo>
                <a:lnTo>
                  <a:pt x="471" y="108"/>
                </a:lnTo>
                <a:lnTo>
                  <a:pt x="471" y="177"/>
                </a:lnTo>
                <a:lnTo>
                  <a:pt x="488" y="177"/>
                </a:lnTo>
                <a:lnTo>
                  <a:pt x="488" y="244"/>
                </a:lnTo>
                <a:lnTo>
                  <a:pt x="498" y="244"/>
                </a:lnTo>
                <a:lnTo>
                  <a:pt x="498" y="293"/>
                </a:lnTo>
                <a:lnTo>
                  <a:pt x="508" y="293"/>
                </a:lnTo>
                <a:lnTo>
                  <a:pt x="508" y="264"/>
                </a:lnTo>
                <a:lnTo>
                  <a:pt x="522" y="264"/>
                </a:lnTo>
                <a:lnTo>
                  <a:pt x="522" y="182"/>
                </a:lnTo>
                <a:lnTo>
                  <a:pt x="554" y="182"/>
                </a:lnTo>
                <a:lnTo>
                  <a:pt x="554" y="211"/>
                </a:lnTo>
                <a:lnTo>
                  <a:pt x="582" y="211"/>
                </a:lnTo>
                <a:lnTo>
                  <a:pt x="582" y="264"/>
                </a:lnTo>
                <a:lnTo>
                  <a:pt x="595" y="264"/>
                </a:lnTo>
                <a:lnTo>
                  <a:pt x="595" y="234"/>
                </a:lnTo>
                <a:lnTo>
                  <a:pt x="682" y="234"/>
                </a:lnTo>
                <a:lnTo>
                  <a:pt x="682" y="293"/>
                </a:lnTo>
                <a:lnTo>
                  <a:pt x="693" y="293"/>
                </a:lnTo>
                <a:lnTo>
                  <a:pt x="693" y="159"/>
                </a:lnTo>
                <a:lnTo>
                  <a:pt x="704" y="159"/>
                </a:lnTo>
                <a:lnTo>
                  <a:pt x="704" y="126"/>
                </a:lnTo>
                <a:lnTo>
                  <a:pt x="769" y="126"/>
                </a:lnTo>
                <a:lnTo>
                  <a:pt x="769" y="159"/>
                </a:lnTo>
                <a:lnTo>
                  <a:pt x="780" y="159"/>
                </a:lnTo>
                <a:lnTo>
                  <a:pt x="780" y="240"/>
                </a:lnTo>
                <a:lnTo>
                  <a:pt x="791" y="240"/>
                </a:lnTo>
                <a:lnTo>
                  <a:pt x="791" y="199"/>
                </a:lnTo>
                <a:lnTo>
                  <a:pt x="808" y="199"/>
                </a:lnTo>
                <a:lnTo>
                  <a:pt x="808" y="154"/>
                </a:lnTo>
                <a:lnTo>
                  <a:pt x="817" y="154"/>
                </a:lnTo>
                <a:lnTo>
                  <a:pt x="817" y="121"/>
                </a:lnTo>
                <a:lnTo>
                  <a:pt x="852" y="121"/>
                </a:lnTo>
                <a:lnTo>
                  <a:pt x="852" y="154"/>
                </a:lnTo>
                <a:lnTo>
                  <a:pt x="861" y="154"/>
                </a:lnTo>
                <a:lnTo>
                  <a:pt x="861" y="199"/>
                </a:lnTo>
                <a:lnTo>
                  <a:pt x="878" y="199"/>
                </a:lnTo>
                <a:lnTo>
                  <a:pt x="878" y="240"/>
                </a:lnTo>
                <a:lnTo>
                  <a:pt x="889" y="240"/>
                </a:lnTo>
                <a:lnTo>
                  <a:pt x="889" y="159"/>
                </a:lnTo>
                <a:lnTo>
                  <a:pt x="915" y="159"/>
                </a:lnTo>
                <a:lnTo>
                  <a:pt x="915" y="101"/>
                </a:lnTo>
                <a:lnTo>
                  <a:pt x="940" y="101"/>
                </a:lnTo>
                <a:lnTo>
                  <a:pt x="940" y="64"/>
                </a:lnTo>
                <a:lnTo>
                  <a:pt x="990" y="64"/>
                </a:lnTo>
                <a:lnTo>
                  <a:pt x="990" y="101"/>
                </a:lnTo>
                <a:lnTo>
                  <a:pt x="1015" y="101"/>
                </a:lnTo>
                <a:lnTo>
                  <a:pt x="1015" y="159"/>
                </a:lnTo>
                <a:lnTo>
                  <a:pt x="1041" y="159"/>
                </a:lnTo>
                <a:lnTo>
                  <a:pt x="1041" y="240"/>
                </a:lnTo>
                <a:lnTo>
                  <a:pt x="1053" y="240"/>
                </a:lnTo>
                <a:lnTo>
                  <a:pt x="1053" y="199"/>
                </a:lnTo>
                <a:lnTo>
                  <a:pt x="1069" y="199"/>
                </a:lnTo>
                <a:lnTo>
                  <a:pt x="1069" y="154"/>
                </a:lnTo>
                <a:lnTo>
                  <a:pt x="1079" y="154"/>
                </a:lnTo>
                <a:lnTo>
                  <a:pt x="1079" y="121"/>
                </a:lnTo>
                <a:lnTo>
                  <a:pt x="1113" y="121"/>
                </a:lnTo>
                <a:lnTo>
                  <a:pt x="1113" y="154"/>
                </a:lnTo>
                <a:lnTo>
                  <a:pt x="1123" y="154"/>
                </a:lnTo>
                <a:lnTo>
                  <a:pt x="1123" y="199"/>
                </a:lnTo>
                <a:lnTo>
                  <a:pt x="1140" y="199"/>
                </a:lnTo>
                <a:lnTo>
                  <a:pt x="1140" y="240"/>
                </a:lnTo>
                <a:lnTo>
                  <a:pt x="1150" y="240"/>
                </a:lnTo>
                <a:lnTo>
                  <a:pt x="1150" y="159"/>
                </a:lnTo>
                <a:lnTo>
                  <a:pt x="1161" y="159"/>
                </a:lnTo>
                <a:lnTo>
                  <a:pt x="1161" y="126"/>
                </a:lnTo>
                <a:lnTo>
                  <a:pt x="1227" y="126"/>
                </a:lnTo>
                <a:lnTo>
                  <a:pt x="1227" y="159"/>
                </a:lnTo>
                <a:lnTo>
                  <a:pt x="1237" y="159"/>
                </a:lnTo>
                <a:lnTo>
                  <a:pt x="1237" y="293"/>
                </a:lnTo>
                <a:lnTo>
                  <a:pt x="1248" y="293"/>
                </a:lnTo>
                <a:lnTo>
                  <a:pt x="1248" y="234"/>
                </a:lnTo>
                <a:lnTo>
                  <a:pt x="1335" y="234"/>
                </a:lnTo>
                <a:lnTo>
                  <a:pt x="1335" y="264"/>
                </a:lnTo>
                <a:lnTo>
                  <a:pt x="1348" y="264"/>
                </a:lnTo>
                <a:lnTo>
                  <a:pt x="1348" y="211"/>
                </a:lnTo>
                <a:lnTo>
                  <a:pt x="1377" y="211"/>
                </a:lnTo>
                <a:lnTo>
                  <a:pt x="1377" y="182"/>
                </a:lnTo>
                <a:lnTo>
                  <a:pt x="1408" y="182"/>
                </a:lnTo>
                <a:lnTo>
                  <a:pt x="1408" y="264"/>
                </a:lnTo>
                <a:lnTo>
                  <a:pt x="1422" y="264"/>
                </a:lnTo>
                <a:lnTo>
                  <a:pt x="1422" y="293"/>
                </a:lnTo>
                <a:lnTo>
                  <a:pt x="1433" y="293"/>
                </a:lnTo>
                <a:lnTo>
                  <a:pt x="1433" y="244"/>
                </a:lnTo>
                <a:lnTo>
                  <a:pt x="1443" y="244"/>
                </a:lnTo>
                <a:lnTo>
                  <a:pt x="1443" y="177"/>
                </a:lnTo>
                <a:lnTo>
                  <a:pt x="1459" y="177"/>
                </a:lnTo>
                <a:lnTo>
                  <a:pt x="1459" y="108"/>
                </a:lnTo>
                <a:lnTo>
                  <a:pt x="1465" y="108"/>
                </a:lnTo>
                <a:lnTo>
                  <a:pt x="1465" y="39"/>
                </a:lnTo>
                <a:lnTo>
                  <a:pt x="1492" y="39"/>
                </a:lnTo>
                <a:lnTo>
                  <a:pt x="1495" y="108"/>
                </a:lnTo>
                <a:lnTo>
                  <a:pt x="1492" y="108"/>
                </a:lnTo>
                <a:lnTo>
                  <a:pt x="1492" y="177"/>
                </a:lnTo>
                <a:lnTo>
                  <a:pt x="1531" y="177"/>
                </a:lnTo>
                <a:lnTo>
                  <a:pt x="1531" y="124"/>
                </a:lnTo>
                <a:lnTo>
                  <a:pt x="1540" y="124"/>
                </a:lnTo>
                <a:lnTo>
                  <a:pt x="1540" y="43"/>
                </a:lnTo>
                <a:lnTo>
                  <a:pt x="1616" y="43"/>
                </a:lnTo>
                <a:lnTo>
                  <a:pt x="1616" y="124"/>
                </a:lnTo>
                <a:lnTo>
                  <a:pt x="1618" y="124"/>
                </a:lnTo>
                <a:lnTo>
                  <a:pt x="1618" y="172"/>
                </a:lnTo>
                <a:lnTo>
                  <a:pt x="1624" y="172"/>
                </a:lnTo>
                <a:lnTo>
                  <a:pt x="1624" y="84"/>
                </a:lnTo>
                <a:lnTo>
                  <a:pt x="1639" y="84"/>
                </a:lnTo>
                <a:lnTo>
                  <a:pt x="1639" y="51"/>
                </a:lnTo>
                <a:lnTo>
                  <a:pt x="1645" y="51"/>
                </a:lnTo>
                <a:lnTo>
                  <a:pt x="1645" y="0"/>
                </a:lnTo>
                <a:lnTo>
                  <a:pt x="1695" y="0"/>
                </a:lnTo>
                <a:lnTo>
                  <a:pt x="1695" y="51"/>
                </a:lnTo>
                <a:lnTo>
                  <a:pt x="1700" y="51"/>
                </a:lnTo>
                <a:lnTo>
                  <a:pt x="1700" y="84"/>
                </a:lnTo>
                <a:lnTo>
                  <a:pt x="1716" y="84"/>
                </a:lnTo>
                <a:lnTo>
                  <a:pt x="1716" y="243"/>
                </a:lnTo>
                <a:lnTo>
                  <a:pt x="1726" y="243"/>
                </a:lnTo>
                <a:lnTo>
                  <a:pt x="1726" y="159"/>
                </a:lnTo>
                <a:lnTo>
                  <a:pt x="1735" y="159"/>
                </a:lnTo>
                <a:lnTo>
                  <a:pt x="1735" y="132"/>
                </a:lnTo>
                <a:lnTo>
                  <a:pt x="1743" y="132"/>
                </a:lnTo>
                <a:lnTo>
                  <a:pt x="1743" y="105"/>
                </a:lnTo>
                <a:lnTo>
                  <a:pt x="1759" y="105"/>
                </a:lnTo>
                <a:lnTo>
                  <a:pt x="1759" y="78"/>
                </a:lnTo>
                <a:lnTo>
                  <a:pt x="1782" y="78"/>
                </a:lnTo>
                <a:lnTo>
                  <a:pt x="1782" y="105"/>
                </a:lnTo>
                <a:lnTo>
                  <a:pt x="1799" y="105"/>
                </a:lnTo>
                <a:lnTo>
                  <a:pt x="1799" y="132"/>
                </a:lnTo>
                <a:lnTo>
                  <a:pt x="1806" y="132"/>
                </a:lnTo>
                <a:lnTo>
                  <a:pt x="1806" y="159"/>
                </a:lnTo>
                <a:lnTo>
                  <a:pt x="1813" y="159"/>
                </a:lnTo>
                <a:lnTo>
                  <a:pt x="1813" y="293"/>
                </a:lnTo>
                <a:lnTo>
                  <a:pt x="1823" y="293"/>
                </a:lnTo>
                <a:lnTo>
                  <a:pt x="1823" y="264"/>
                </a:lnTo>
                <a:lnTo>
                  <a:pt x="1836" y="264"/>
                </a:lnTo>
                <a:lnTo>
                  <a:pt x="1836" y="211"/>
                </a:lnTo>
                <a:lnTo>
                  <a:pt x="1896" y="211"/>
                </a:lnTo>
                <a:lnTo>
                  <a:pt x="1896" y="264"/>
                </a:lnTo>
                <a:lnTo>
                  <a:pt x="1909" y="264"/>
                </a:lnTo>
                <a:lnTo>
                  <a:pt x="1909" y="293"/>
                </a:lnTo>
                <a:lnTo>
                  <a:pt x="1921" y="293"/>
                </a:lnTo>
                <a:lnTo>
                  <a:pt x="1921" y="180"/>
                </a:lnTo>
                <a:lnTo>
                  <a:pt x="1921" y="180"/>
                </a:lnTo>
                <a:lnTo>
                  <a:pt x="1921" y="122"/>
                </a:lnTo>
                <a:lnTo>
                  <a:pt x="1989" y="122"/>
                </a:lnTo>
                <a:lnTo>
                  <a:pt x="1989" y="159"/>
                </a:lnTo>
                <a:lnTo>
                  <a:pt x="2008" y="159"/>
                </a:lnTo>
                <a:lnTo>
                  <a:pt x="2008" y="253"/>
                </a:lnTo>
                <a:lnTo>
                  <a:pt x="2019" y="253"/>
                </a:lnTo>
                <a:lnTo>
                  <a:pt x="2019" y="224"/>
                </a:lnTo>
                <a:lnTo>
                  <a:pt x="2019" y="224"/>
                </a:lnTo>
                <a:lnTo>
                  <a:pt x="2019" y="161"/>
                </a:lnTo>
                <a:lnTo>
                  <a:pt x="2038" y="174"/>
                </a:lnTo>
                <a:lnTo>
                  <a:pt x="2038" y="134"/>
                </a:lnTo>
                <a:lnTo>
                  <a:pt x="2086" y="134"/>
                </a:lnTo>
                <a:lnTo>
                  <a:pt x="2086" y="174"/>
                </a:lnTo>
                <a:lnTo>
                  <a:pt x="2106" y="161"/>
                </a:lnTo>
                <a:lnTo>
                  <a:pt x="2106" y="218"/>
                </a:lnTo>
                <a:lnTo>
                  <a:pt x="2116" y="218"/>
                </a:lnTo>
                <a:lnTo>
                  <a:pt x="2116" y="159"/>
                </a:lnTo>
                <a:lnTo>
                  <a:pt x="2127" y="159"/>
                </a:lnTo>
                <a:lnTo>
                  <a:pt x="2127" y="126"/>
                </a:lnTo>
                <a:lnTo>
                  <a:pt x="2140" y="126"/>
                </a:lnTo>
                <a:lnTo>
                  <a:pt x="2140" y="90"/>
                </a:lnTo>
                <a:lnTo>
                  <a:pt x="2182" y="90"/>
                </a:lnTo>
                <a:lnTo>
                  <a:pt x="2182" y="126"/>
                </a:lnTo>
                <a:lnTo>
                  <a:pt x="2193" y="126"/>
                </a:lnTo>
                <a:lnTo>
                  <a:pt x="2193" y="159"/>
                </a:lnTo>
                <a:lnTo>
                  <a:pt x="2203" y="159"/>
                </a:lnTo>
                <a:lnTo>
                  <a:pt x="2203" y="260"/>
                </a:lnTo>
                <a:lnTo>
                  <a:pt x="2214" y="260"/>
                </a:lnTo>
                <a:lnTo>
                  <a:pt x="2214" y="234"/>
                </a:lnTo>
                <a:lnTo>
                  <a:pt x="2236" y="234"/>
                </a:lnTo>
                <a:lnTo>
                  <a:pt x="2236" y="176"/>
                </a:lnTo>
                <a:lnTo>
                  <a:pt x="2255" y="176"/>
                </a:lnTo>
                <a:lnTo>
                  <a:pt x="2255" y="125"/>
                </a:lnTo>
                <a:lnTo>
                  <a:pt x="2263" y="125"/>
                </a:lnTo>
                <a:lnTo>
                  <a:pt x="2263" y="176"/>
                </a:lnTo>
                <a:lnTo>
                  <a:pt x="2281" y="176"/>
                </a:lnTo>
                <a:lnTo>
                  <a:pt x="2281" y="234"/>
                </a:lnTo>
                <a:lnTo>
                  <a:pt x="2301" y="23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4A0A9EA-1D72-4B03-B077-A762734DCADB}"/>
              </a:ext>
            </a:extLst>
          </p:cNvPr>
          <p:cNvGrpSpPr/>
          <p:nvPr userDrawn="1"/>
        </p:nvGrpSpPr>
        <p:grpSpPr>
          <a:xfrm>
            <a:off x="8203269" y="2925966"/>
            <a:ext cx="2361568" cy="2089069"/>
            <a:chOff x="8219218" y="1658816"/>
            <a:chExt cx="3816414" cy="3146214"/>
          </a:xfrm>
        </p:grpSpPr>
        <p:sp>
          <p:nvSpPr>
            <p:cNvPr id="17" name="Rectangle 117">
              <a:extLst>
                <a:ext uri="{FF2B5EF4-FFF2-40B4-BE49-F238E27FC236}">
                  <a16:creationId xmlns:a16="http://schemas.microsoft.com/office/drawing/2014/main" id="{152D6DEB-F313-4840-9689-F5E12007300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474472" y="2182741"/>
              <a:ext cx="2660" cy="266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Freeform 118">
              <a:extLst>
                <a:ext uri="{FF2B5EF4-FFF2-40B4-BE49-F238E27FC236}">
                  <a16:creationId xmlns:a16="http://schemas.microsoft.com/office/drawing/2014/main" id="{47EE5AC8-4E33-401B-A686-655AC85D8F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60164" y="2653477"/>
              <a:ext cx="2287188" cy="2029215"/>
            </a:xfrm>
            <a:custGeom>
              <a:avLst/>
              <a:gdLst>
                <a:gd name="T0" fmla="*/ 162 w 590"/>
                <a:gd name="T1" fmla="*/ 526 h 526"/>
                <a:gd name="T2" fmla="*/ 0 w 590"/>
                <a:gd name="T3" fmla="*/ 526 h 526"/>
                <a:gd name="T4" fmla="*/ 0 w 590"/>
                <a:gd name="T5" fmla="*/ 514 h 526"/>
                <a:gd name="T6" fmla="*/ 162 w 590"/>
                <a:gd name="T7" fmla="*/ 514 h 526"/>
                <a:gd name="T8" fmla="*/ 241 w 590"/>
                <a:gd name="T9" fmla="*/ 434 h 526"/>
                <a:gd name="T10" fmla="*/ 241 w 590"/>
                <a:gd name="T11" fmla="*/ 283 h 526"/>
                <a:gd name="T12" fmla="*/ 333 w 590"/>
                <a:gd name="T13" fmla="*/ 192 h 526"/>
                <a:gd name="T14" fmla="*/ 499 w 590"/>
                <a:gd name="T15" fmla="*/ 192 h 526"/>
                <a:gd name="T16" fmla="*/ 578 w 590"/>
                <a:gd name="T17" fmla="*/ 112 h 526"/>
                <a:gd name="T18" fmla="*/ 578 w 590"/>
                <a:gd name="T19" fmla="*/ 0 h 526"/>
                <a:gd name="T20" fmla="*/ 590 w 590"/>
                <a:gd name="T21" fmla="*/ 0 h 526"/>
                <a:gd name="T22" fmla="*/ 590 w 590"/>
                <a:gd name="T23" fmla="*/ 112 h 526"/>
                <a:gd name="T24" fmla="*/ 499 w 590"/>
                <a:gd name="T25" fmla="*/ 204 h 526"/>
                <a:gd name="T26" fmla="*/ 333 w 590"/>
                <a:gd name="T27" fmla="*/ 204 h 526"/>
                <a:gd name="T28" fmla="*/ 253 w 590"/>
                <a:gd name="T29" fmla="*/ 283 h 526"/>
                <a:gd name="T30" fmla="*/ 253 w 590"/>
                <a:gd name="T31" fmla="*/ 434 h 526"/>
                <a:gd name="T32" fmla="*/ 162 w 590"/>
                <a:gd name="T33" fmla="*/ 526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0" h="526">
                  <a:moveTo>
                    <a:pt x="162" y="526"/>
                  </a:moveTo>
                  <a:cubicBezTo>
                    <a:pt x="0" y="526"/>
                    <a:pt x="0" y="526"/>
                    <a:pt x="0" y="526"/>
                  </a:cubicBezTo>
                  <a:cubicBezTo>
                    <a:pt x="0" y="514"/>
                    <a:pt x="0" y="514"/>
                    <a:pt x="0" y="514"/>
                  </a:cubicBezTo>
                  <a:cubicBezTo>
                    <a:pt x="162" y="514"/>
                    <a:pt x="162" y="514"/>
                    <a:pt x="162" y="514"/>
                  </a:cubicBezTo>
                  <a:cubicBezTo>
                    <a:pt x="206" y="514"/>
                    <a:pt x="241" y="478"/>
                    <a:pt x="241" y="434"/>
                  </a:cubicBezTo>
                  <a:cubicBezTo>
                    <a:pt x="241" y="283"/>
                    <a:pt x="241" y="283"/>
                    <a:pt x="241" y="283"/>
                  </a:cubicBezTo>
                  <a:cubicBezTo>
                    <a:pt x="241" y="233"/>
                    <a:pt x="282" y="192"/>
                    <a:pt x="333" y="192"/>
                  </a:cubicBezTo>
                  <a:cubicBezTo>
                    <a:pt x="499" y="192"/>
                    <a:pt x="499" y="192"/>
                    <a:pt x="499" y="192"/>
                  </a:cubicBezTo>
                  <a:cubicBezTo>
                    <a:pt x="542" y="192"/>
                    <a:pt x="578" y="156"/>
                    <a:pt x="578" y="112"/>
                  </a:cubicBezTo>
                  <a:cubicBezTo>
                    <a:pt x="578" y="0"/>
                    <a:pt x="578" y="0"/>
                    <a:pt x="578" y="0"/>
                  </a:cubicBezTo>
                  <a:cubicBezTo>
                    <a:pt x="590" y="0"/>
                    <a:pt x="590" y="0"/>
                    <a:pt x="590" y="0"/>
                  </a:cubicBezTo>
                  <a:cubicBezTo>
                    <a:pt x="590" y="112"/>
                    <a:pt x="590" y="112"/>
                    <a:pt x="590" y="112"/>
                  </a:cubicBezTo>
                  <a:cubicBezTo>
                    <a:pt x="590" y="163"/>
                    <a:pt x="549" y="204"/>
                    <a:pt x="499" y="204"/>
                  </a:cubicBezTo>
                  <a:cubicBezTo>
                    <a:pt x="333" y="204"/>
                    <a:pt x="333" y="204"/>
                    <a:pt x="333" y="204"/>
                  </a:cubicBezTo>
                  <a:cubicBezTo>
                    <a:pt x="289" y="204"/>
                    <a:pt x="253" y="239"/>
                    <a:pt x="253" y="283"/>
                  </a:cubicBezTo>
                  <a:cubicBezTo>
                    <a:pt x="253" y="434"/>
                    <a:pt x="253" y="434"/>
                    <a:pt x="253" y="434"/>
                  </a:cubicBezTo>
                  <a:cubicBezTo>
                    <a:pt x="253" y="485"/>
                    <a:pt x="212" y="526"/>
                    <a:pt x="162" y="5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119">
              <a:extLst>
                <a:ext uri="{FF2B5EF4-FFF2-40B4-BE49-F238E27FC236}">
                  <a16:creationId xmlns:a16="http://schemas.microsoft.com/office/drawing/2014/main" id="{FA277C21-003B-4A3A-8D1B-1FE9E3B81F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13859" y="1658816"/>
              <a:ext cx="1821773" cy="1021256"/>
            </a:xfrm>
            <a:custGeom>
              <a:avLst/>
              <a:gdLst>
                <a:gd name="T0" fmla="*/ 194 w 470"/>
                <a:gd name="T1" fmla="*/ 52 h 265"/>
                <a:gd name="T2" fmla="*/ 283 w 470"/>
                <a:gd name="T3" fmla="*/ 0 h 265"/>
                <a:gd name="T4" fmla="*/ 386 w 470"/>
                <a:gd name="T5" fmla="*/ 101 h 265"/>
                <a:gd name="T6" fmla="*/ 387 w 470"/>
                <a:gd name="T7" fmla="*/ 101 h 265"/>
                <a:gd name="T8" fmla="*/ 470 w 470"/>
                <a:gd name="T9" fmla="*/ 183 h 265"/>
                <a:gd name="T10" fmla="*/ 387 w 470"/>
                <a:gd name="T11" fmla="*/ 265 h 265"/>
                <a:gd name="T12" fmla="*/ 66 w 470"/>
                <a:gd name="T13" fmla="*/ 265 h 265"/>
                <a:gd name="T14" fmla="*/ 0 w 470"/>
                <a:gd name="T15" fmla="*/ 200 h 265"/>
                <a:gd name="T16" fmla="*/ 64 w 470"/>
                <a:gd name="T17" fmla="*/ 134 h 265"/>
                <a:gd name="T18" fmla="*/ 63 w 470"/>
                <a:gd name="T19" fmla="*/ 118 h 265"/>
                <a:gd name="T20" fmla="*/ 145 w 470"/>
                <a:gd name="T21" fmla="*/ 35 h 265"/>
                <a:gd name="T22" fmla="*/ 194 w 470"/>
                <a:gd name="T23" fmla="*/ 52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0" h="265">
                  <a:moveTo>
                    <a:pt x="194" y="52"/>
                  </a:moveTo>
                  <a:cubicBezTo>
                    <a:pt x="212" y="21"/>
                    <a:pt x="245" y="0"/>
                    <a:pt x="283" y="0"/>
                  </a:cubicBezTo>
                  <a:cubicBezTo>
                    <a:pt x="340" y="0"/>
                    <a:pt x="385" y="45"/>
                    <a:pt x="386" y="101"/>
                  </a:cubicBezTo>
                  <a:cubicBezTo>
                    <a:pt x="387" y="101"/>
                    <a:pt x="387" y="101"/>
                    <a:pt x="387" y="101"/>
                  </a:cubicBezTo>
                  <a:cubicBezTo>
                    <a:pt x="433" y="101"/>
                    <a:pt x="470" y="138"/>
                    <a:pt x="470" y="183"/>
                  </a:cubicBezTo>
                  <a:cubicBezTo>
                    <a:pt x="470" y="229"/>
                    <a:pt x="433" y="265"/>
                    <a:pt x="387" y="265"/>
                  </a:cubicBezTo>
                  <a:cubicBezTo>
                    <a:pt x="66" y="265"/>
                    <a:pt x="66" y="265"/>
                    <a:pt x="66" y="265"/>
                  </a:cubicBezTo>
                  <a:cubicBezTo>
                    <a:pt x="30" y="265"/>
                    <a:pt x="0" y="236"/>
                    <a:pt x="0" y="200"/>
                  </a:cubicBezTo>
                  <a:cubicBezTo>
                    <a:pt x="0" y="164"/>
                    <a:pt x="29" y="135"/>
                    <a:pt x="64" y="134"/>
                  </a:cubicBezTo>
                  <a:cubicBezTo>
                    <a:pt x="63" y="129"/>
                    <a:pt x="63" y="123"/>
                    <a:pt x="63" y="118"/>
                  </a:cubicBezTo>
                  <a:cubicBezTo>
                    <a:pt x="63" y="72"/>
                    <a:pt x="99" y="35"/>
                    <a:pt x="145" y="35"/>
                  </a:cubicBezTo>
                  <a:cubicBezTo>
                    <a:pt x="163" y="35"/>
                    <a:pt x="180" y="41"/>
                    <a:pt x="194" y="5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Freeform 120">
              <a:extLst>
                <a:ext uri="{FF2B5EF4-FFF2-40B4-BE49-F238E27FC236}">
                  <a16:creationId xmlns:a16="http://schemas.microsoft.com/office/drawing/2014/main" id="{30DBB117-27A2-40E1-B084-487DC0D15B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77688" y="2076360"/>
              <a:ext cx="1757944" cy="603712"/>
            </a:xfrm>
            <a:custGeom>
              <a:avLst/>
              <a:gdLst>
                <a:gd name="T0" fmla="*/ 405 w 454"/>
                <a:gd name="T1" fmla="*/ 0 h 157"/>
                <a:gd name="T2" fmla="*/ 428 w 454"/>
                <a:gd name="T3" fmla="*/ 57 h 157"/>
                <a:gd name="T4" fmla="*/ 346 w 454"/>
                <a:gd name="T5" fmla="*/ 139 h 157"/>
                <a:gd name="T6" fmla="*/ 24 w 454"/>
                <a:gd name="T7" fmla="*/ 139 h 157"/>
                <a:gd name="T8" fmla="*/ 0 w 454"/>
                <a:gd name="T9" fmla="*/ 135 h 157"/>
                <a:gd name="T10" fmla="*/ 50 w 454"/>
                <a:gd name="T11" fmla="*/ 157 h 157"/>
                <a:gd name="T12" fmla="*/ 371 w 454"/>
                <a:gd name="T13" fmla="*/ 157 h 157"/>
                <a:gd name="T14" fmla="*/ 454 w 454"/>
                <a:gd name="T15" fmla="*/ 75 h 157"/>
                <a:gd name="T16" fmla="*/ 405 w 454"/>
                <a:gd name="T17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4" h="157">
                  <a:moveTo>
                    <a:pt x="405" y="0"/>
                  </a:moveTo>
                  <a:cubicBezTo>
                    <a:pt x="420" y="15"/>
                    <a:pt x="428" y="35"/>
                    <a:pt x="428" y="57"/>
                  </a:cubicBezTo>
                  <a:cubicBezTo>
                    <a:pt x="428" y="102"/>
                    <a:pt x="391" y="139"/>
                    <a:pt x="346" y="139"/>
                  </a:cubicBezTo>
                  <a:cubicBezTo>
                    <a:pt x="24" y="139"/>
                    <a:pt x="24" y="139"/>
                    <a:pt x="24" y="139"/>
                  </a:cubicBezTo>
                  <a:cubicBezTo>
                    <a:pt x="16" y="139"/>
                    <a:pt x="8" y="138"/>
                    <a:pt x="0" y="135"/>
                  </a:cubicBezTo>
                  <a:cubicBezTo>
                    <a:pt x="12" y="149"/>
                    <a:pt x="30" y="157"/>
                    <a:pt x="50" y="157"/>
                  </a:cubicBezTo>
                  <a:cubicBezTo>
                    <a:pt x="371" y="157"/>
                    <a:pt x="371" y="157"/>
                    <a:pt x="371" y="157"/>
                  </a:cubicBezTo>
                  <a:cubicBezTo>
                    <a:pt x="417" y="157"/>
                    <a:pt x="454" y="121"/>
                    <a:pt x="454" y="75"/>
                  </a:cubicBezTo>
                  <a:cubicBezTo>
                    <a:pt x="454" y="42"/>
                    <a:pt x="434" y="13"/>
                    <a:pt x="405" y="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Freeform 121">
              <a:extLst>
                <a:ext uri="{FF2B5EF4-FFF2-40B4-BE49-F238E27FC236}">
                  <a16:creationId xmlns:a16="http://schemas.microsoft.com/office/drawing/2014/main" id="{A979BB99-0B05-4B6E-BF6C-40B84C979F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19218" y="4560352"/>
              <a:ext cx="119679" cy="196804"/>
            </a:xfrm>
            <a:custGeom>
              <a:avLst/>
              <a:gdLst>
                <a:gd name="T0" fmla="*/ 22 w 31"/>
                <a:gd name="T1" fmla="*/ 0 h 51"/>
                <a:gd name="T2" fmla="*/ 0 w 31"/>
                <a:gd name="T3" fmla="*/ 0 h 51"/>
                <a:gd name="T4" fmla="*/ 0 w 31"/>
                <a:gd name="T5" fmla="*/ 51 h 51"/>
                <a:gd name="T6" fmla="*/ 22 w 31"/>
                <a:gd name="T7" fmla="*/ 51 h 51"/>
                <a:gd name="T8" fmla="*/ 31 w 31"/>
                <a:gd name="T9" fmla="*/ 43 h 51"/>
                <a:gd name="T10" fmla="*/ 31 w 31"/>
                <a:gd name="T11" fmla="*/ 9 h 51"/>
                <a:gd name="T12" fmla="*/ 22 w 31"/>
                <a:gd name="T13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51">
                  <a:moveTo>
                    <a:pt x="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7" y="51"/>
                    <a:pt x="31" y="48"/>
                    <a:pt x="31" y="43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4"/>
                    <a:pt x="27" y="0"/>
                    <a:pt x="2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Freeform 122">
              <a:extLst>
                <a:ext uri="{FF2B5EF4-FFF2-40B4-BE49-F238E27FC236}">
                  <a16:creationId xmlns:a16="http://schemas.microsoft.com/office/drawing/2014/main" id="{5CBBC5E3-D11E-4195-A716-BA2A2BB035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60164" y="4597585"/>
              <a:ext cx="101062" cy="119679"/>
            </a:xfrm>
            <a:custGeom>
              <a:avLst/>
              <a:gdLst>
                <a:gd name="T0" fmla="*/ 11 w 26"/>
                <a:gd name="T1" fmla="*/ 31 h 31"/>
                <a:gd name="T2" fmla="*/ 26 w 26"/>
                <a:gd name="T3" fmla="*/ 16 h 31"/>
                <a:gd name="T4" fmla="*/ 11 w 26"/>
                <a:gd name="T5" fmla="*/ 0 h 31"/>
                <a:gd name="T6" fmla="*/ 0 w 26"/>
                <a:gd name="T7" fmla="*/ 0 h 31"/>
                <a:gd name="T8" fmla="*/ 0 w 26"/>
                <a:gd name="T9" fmla="*/ 31 h 31"/>
                <a:gd name="T10" fmla="*/ 11 w 26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31">
                  <a:moveTo>
                    <a:pt x="11" y="31"/>
                  </a:moveTo>
                  <a:cubicBezTo>
                    <a:pt x="19" y="31"/>
                    <a:pt x="26" y="24"/>
                    <a:pt x="26" y="16"/>
                  </a:cubicBezTo>
                  <a:cubicBezTo>
                    <a:pt x="26" y="7"/>
                    <a:pt x="19" y="0"/>
                    <a:pt x="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0" y="31"/>
                    <a:pt x="0" y="31"/>
                  </a:cubicBezTo>
                  <a:lnTo>
                    <a:pt x="11" y="31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Freeform 123">
              <a:extLst>
                <a:ext uri="{FF2B5EF4-FFF2-40B4-BE49-F238E27FC236}">
                  <a16:creationId xmlns:a16="http://schemas.microsoft.com/office/drawing/2014/main" id="{662702DC-698E-454A-8ED3-DE28379639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7090" y="4509822"/>
              <a:ext cx="598393" cy="295208"/>
            </a:xfrm>
            <a:custGeom>
              <a:avLst/>
              <a:gdLst>
                <a:gd name="T0" fmla="*/ 154 w 154"/>
                <a:gd name="T1" fmla="*/ 23 h 77"/>
                <a:gd name="T2" fmla="*/ 121 w 154"/>
                <a:gd name="T3" fmla="*/ 4 h 77"/>
                <a:gd name="T4" fmla="*/ 105 w 154"/>
                <a:gd name="T5" fmla="*/ 0 h 77"/>
                <a:gd name="T6" fmla="*/ 8 w 154"/>
                <a:gd name="T7" fmla="*/ 0 h 77"/>
                <a:gd name="T8" fmla="*/ 0 w 154"/>
                <a:gd name="T9" fmla="*/ 9 h 77"/>
                <a:gd name="T10" fmla="*/ 0 w 154"/>
                <a:gd name="T11" fmla="*/ 68 h 77"/>
                <a:gd name="T12" fmla="*/ 8 w 154"/>
                <a:gd name="T13" fmla="*/ 77 h 77"/>
                <a:gd name="T14" fmla="*/ 105 w 154"/>
                <a:gd name="T15" fmla="*/ 77 h 77"/>
                <a:gd name="T16" fmla="*/ 121 w 154"/>
                <a:gd name="T17" fmla="*/ 73 h 77"/>
                <a:gd name="T18" fmla="*/ 154 w 154"/>
                <a:gd name="T19" fmla="*/ 54 h 77"/>
                <a:gd name="T20" fmla="*/ 154 w 154"/>
                <a:gd name="T21" fmla="*/ 23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4" h="77">
                  <a:moveTo>
                    <a:pt x="154" y="23"/>
                  </a:moveTo>
                  <a:cubicBezTo>
                    <a:pt x="121" y="4"/>
                    <a:pt x="121" y="4"/>
                    <a:pt x="121" y="4"/>
                  </a:cubicBezTo>
                  <a:cubicBezTo>
                    <a:pt x="117" y="2"/>
                    <a:pt x="110" y="0"/>
                    <a:pt x="10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73"/>
                    <a:pt x="4" y="77"/>
                    <a:pt x="8" y="77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110" y="77"/>
                    <a:pt x="117" y="75"/>
                    <a:pt x="121" y="73"/>
                  </a:cubicBezTo>
                  <a:cubicBezTo>
                    <a:pt x="154" y="54"/>
                    <a:pt x="154" y="54"/>
                    <a:pt x="154" y="54"/>
                  </a:cubicBezTo>
                  <a:lnTo>
                    <a:pt x="154" y="23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Freeform 124">
              <a:extLst>
                <a:ext uri="{FF2B5EF4-FFF2-40B4-BE49-F238E27FC236}">
                  <a16:creationId xmlns:a16="http://schemas.microsoft.com/office/drawing/2014/main" id="{2F26795F-DD2F-495C-B65F-D1743C314C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7090" y="4512480"/>
              <a:ext cx="598393" cy="292547"/>
            </a:xfrm>
            <a:custGeom>
              <a:avLst/>
              <a:gdLst>
                <a:gd name="T0" fmla="*/ 5 w 154"/>
                <a:gd name="T1" fmla="*/ 0 h 76"/>
                <a:gd name="T2" fmla="*/ 5 w 154"/>
                <a:gd name="T3" fmla="*/ 59 h 76"/>
                <a:gd name="T4" fmla="*/ 13 w 154"/>
                <a:gd name="T5" fmla="*/ 67 h 76"/>
                <a:gd name="T6" fmla="*/ 110 w 154"/>
                <a:gd name="T7" fmla="*/ 67 h 76"/>
                <a:gd name="T8" fmla="*/ 126 w 154"/>
                <a:gd name="T9" fmla="*/ 64 h 76"/>
                <a:gd name="T10" fmla="*/ 154 w 154"/>
                <a:gd name="T11" fmla="*/ 47 h 76"/>
                <a:gd name="T12" fmla="*/ 154 w 154"/>
                <a:gd name="T13" fmla="*/ 53 h 76"/>
                <a:gd name="T14" fmla="*/ 121 w 154"/>
                <a:gd name="T15" fmla="*/ 72 h 76"/>
                <a:gd name="T16" fmla="*/ 105 w 154"/>
                <a:gd name="T17" fmla="*/ 76 h 76"/>
                <a:gd name="T18" fmla="*/ 8 w 154"/>
                <a:gd name="T19" fmla="*/ 76 h 76"/>
                <a:gd name="T20" fmla="*/ 0 w 154"/>
                <a:gd name="T21" fmla="*/ 67 h 76"/>
                <a:gd name="T22" fmla="*/ 0 w 154"/>
                <a:gd name="T23" fmla="*/ 8 h 76"/>
                <a:gd name="T24" fmla="*/ 5 w 154"/>
                <a:gd name="T25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4" h="76">
                  <a:moveTo>
                    <a:pt x="5" y="0"/>
                  </a:moveTo>
                  <a:cubicBezTo>
                    <a:pt x="5" y="59"/>
                    <a:pt x="5" y="59"/>
                    <a:pt x="5" y="59"/>
                  </a:cubicBezTo>
                  <a:cubicBezTo>
                    <a:pt x="5" y="64"/>
                    <a:pt x="9" y="67"/>
                    <a:pt x="13" y="67"/>
                  </a:cubicBezTo>
                  <a:cubicBezTo>
                    <a:pt x="110" y="67"/>
                    <a:pt x="110" y="67"/>
                    <a:pt x="110" y="67"/>
                  </a:cubicBezTo>
                  <a:cubicBezTo>
                    <a:pt x="115" y="67"/>
                    <a:pt x="122" y="66"/>
                    <a:pt x="126" y="64"/>
                  </a:cubicBezTo>
                  <a:cubicBezTo>
                    <a:pt x="154" y="47"/>
                    <a:pt x="154" y="47"/>
                    <a:pt x="154" y="47"/>
                  </a:cubicBezTo>
                  <a:cubicBezTo>
                    <a:pt x="154" y="53"/>
                    <a:pt x="154" y="53"/>
                    <a:pt x="154" y="53"/>
                  </a:cubicBezTo>
                  <a:cubicBezTo>
                    <a:pt x="121" y="72"/>
                    <a:pt x="121" y="72"/>
                    <a:pt x="121" y="72"/>
                  </a:cubicBezTo>
                  <a:cubicBezTo>
                    <a:pt x="117" y="74"/>
                    <a:pt x="110" y="76"/>
                    <a:pt x="105" y="76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4" y="76"/>
                    <a:pt x="0" y="72"/>
                    <a:pt x="0" y="6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5"/>
                    <a:pt x="2" y="2"/>
                    <a:pt x="5" y="0"/>
                  </a:cubicBezTo>
                  <a:close/>
                </a:path>
              </a:pathLst>
            </a:custGeom>
            <a:solidFill>
              <a:srgbClr val="C86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Rectangle 125">
              <a:extLst>
                <a:ext uri="{FF2B5EF4-FFF2-40B4-BE49-F238E27FC236}">
                  <a16:creationId xmlns:a16="http://schemas.microsoft.com/office/drawing/2014/main" id="{0AFFE1CB-5B49-4478-9448-59BC06330D8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219218" y="4706626"/>
              <a:ext cx="47871" cy="50532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6" name="Freeform 126">
              <a:extLst>
                <a:ext uri="{FF2B5EF4-FFF2-40B4-BE49-F238E27FC236}">
                  <a16:creationId xmlns:a16="http://schemas.microsoft.com/office/drawing/2014/main" id="{90FEE50E-B757-4A7D-8439-3AD720E575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60164" y="4648117"/>
              <a:ext cx="101062" cy="69148"/>
            </a:xfrm>
            <a:custGeom>
              <a:avLst/>
              <a:gdLst>
                <a:gd name="T0" fmla="*/ 26 w 26"/>
                <a:gd name="T1" fmla="*/ 0 h 18"/>
                <a:gd name="T2" fmla="*/ 26 w 26"/>
                <a:gd name="T3" fmla="*/ 3 h 18"/>
                <a:gd name="T4" fmla="*/ 11 w 26"/>
                <a:gd name="T5" fmla="*/ 18 h 18"/>
                <a:gd name="T6" fmla="*/ 0 w 26"/>
                <a:gd name="T7" fmla="*/ 18 h 18"/>
                <a:gd name="T8" fmla="*/ 0 w 26"/>
                <a:gd name="T9" fmla="*/ 13 h 18"/>
                <a:gd name="T10" fmla="*/ 11 w 26"/>
                <a:gd name="T11" fmla="*/ 13 h 18"/>
                <a:gd name="T12" fmla="*/ 26 w 26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8">
                  <a:moveTo>
                    <a:pt x="26" y="0"/>
                  </a:moveTo>
                  <a:cubicBezTo>
                    <a:pt x="26" y="1"/>
                    <a:pt x="26" y="2"/>
                    <a:pt x="26" y="3"/>
                  </a:cubicBezTo>
                  <a:cubicBezTo>
                    <a:pt x="26" y="11"/>
                    <a:pt x="19" y="18"/>
                    <a:pt x="11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9" y="13"/>
                    <a:pt x="25" y="7"/>
                    <a:pt x="26" y="0"/>
                  </a:cubicBez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black">
          <a:xfrm>
            <a:off x="459102" y="470067"/>
            <a:ext cx="1419662" cy="304828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</p:spTree>
    <p:extLst>
      <p:ext uri="{BB962C8B-B14F-4D97-AF65-F5344CB8AC3E}">
        <p14:creationId xmlns:p14="http://schemas.microsoft.com/office/powerpoint/2010/main" val="3855147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black">
          <a:xfrm>
            <a:off x="459102" y="470067"/>
            <a:ext cx="1419662" cy="304828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</p:spTree>
    <p:extLst>
      <p:ext uri="{BB962C8B-B14F-4D97-AF65-F5344CB8AC3E}">
        <p14:creationId xmlns:p14="http://schemas.microsoft.com/office/powerpoint/2010/main" val="2028473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89759154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21464054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0557612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B27273-82A0-4F03-B551-F05C0A270C9F}" type="datetimeFigureOut">
              <a:rPr lang="en-US" smtClean="0"/>
              <a:t>1/28/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8363C5-1D77-4ABE-8C60-573DC6EF2A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644901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42488416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35993211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625600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4107321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66409904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595346995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3012559"/>
            <a:ext cx="5378548" cy="832882"/>
          </a:xfrm>
        </p:spPr>
        <p:txBody>
          <a:bodyPr anchor="ctr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51062970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917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5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34350" y="0"/>
            <a:ext cx="6857650" cy="6858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34608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4493891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89315899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B27273-82A0-4F03-B551-F05C0A270C9F}" type="datetimeFigureOut">
              <a:rPr lang="en-US" smtClean="0"/>
              <a:t>1/28/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8363C5-1D77-4ABE-8C60-573DC6EF2A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890516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33681398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>
            <a:grpSpLocks noChangeAspect="1"/>
          </p:cNvGrpSpPr>
          <p:nvPr userDrawn="1"/>
        </p:nvGrpSpPr>
        <p:grpSpPr bwMode="black">
          <a:xfrm>
            <a:off x="459102" y="470067"/>
            <a:ext cx="1419662" cy="304828"/>
            <a:chOff x="457200" y="1643393"/>
            <a:chExt cx="4492753" cy="964540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7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sp>
        <p:nvSpPr>
          <p:cNvPr id="8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983605187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79346740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604953" y="298255"/>
            <a:ext cx="4322760" cy="6275864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269302" y="1187644"/>
            <a:ext cx="9860610" cy="268963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7170265" cy="3407696"/>
          </a:xfrm>
          <a:noFill/>
        </p:spPr>
        <p:txBody>
          <a:bodyPr tIns="91440" bIns="91440" anchor="t" anchorCtr="0"/>
          <a:lstStyle>
            <a:lvl1pPr>
              <a:defRPr sz="7058" spc="-98" baseline="0">
                <a:gradFill>
                  <a:gsLst>
                    <a:gs pos="75912">
                      <a:schemeClr val="tx1"/>
                    </a:gs>
                    <a:gs pos="34307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4594052"/>
            <a:ext cx="7171399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75912">
                      <a:schemeClr val="tx1"/>
                    </a:gs>
                    <a:gs pos="34307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321467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796217"/>
          </a:xfrm>
          <a:noFill/>
        </p:spPr>
        <p:txBody>
          <a:bodyPr tIns="91440" bIns="91440" anchor="t" anchorCtr="0"/>
          <a:lstStyle>
            <a:lvl1pPr>
              <a:defRPr sz="8627" spc="-98" baseline="0">
                <a:gradFill>
                  <a:gsLst>
                    <a:gs pos="75912">
                      <a:schemeClr val="tx1"/>
                    </a:gs>
                    <a:gs pos="34307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680047261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0" y="1189176"/>
            <a:ext cx="11655840" cy="2018835"/>
          </a:xfrm>
        </p:spPr>
        <p:txBody>
          <a:bodyPr/>
          <a:lstStyle>
            <a:lvl1pPr marL="0" indent="0">
              <a:buNone/>
              <a:defRPr/>
            </a:lvl1pPr>
            <a:lvl2pPr marL="28012" indent="0">
              <a:buNone/>
              <a:defRPr sz="1961"/>
            </a:lvl2pPr>
            <a:lvl3pPr marL="219428" indent="0">
              <a:buNone/>
              <a:defRPr sz="1961"/>
            </a:lvl3pPr>
            <a:lvl4pPr marL="466868" indent="0">
              <a:buNone/>
              <a:defRPr sz="1765"/>
            </a:lvl4pPr>
            <a:lvl5pPr marL="725201" indent="0">
              <a:buNone/>
              <a:defRPr sz="176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97705895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184808"/>
          </a:xfrm>
        </p:spPr>
        <p:txBody>
          <a:bodyPr>
            <a:spAutoFit/>
          </a:bodyPr>
          <a:lstStyle>
            <a:lvl3pPr>
              <a:defRPr sz="2353"/>
            </a:lvl3pPr>
            <a:lvl4pPr>
              <a:defRPr sz="1961"/>
            </a:lvl4pPr>
            <a:lvl5pPr>
              <a:defRPr sz="196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38209378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48978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48978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26395500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19639810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6176" y="1974980"/>
            <a:ext cx="8871457" cy="2387600"/>
          </a:xfrm>
        </p:spPr>
        <p:txBody>
          <a:bodyPr anchor="ctr">
            <a:noAutofit/>
          </a:bodyPr>
          <a:lstStyle>
            <a:lvl1pPr algn="l">
              <a:defRPr sz="9598"/>
            </a:lvl1pPr>
          </a:lstStyle>
          <a:p>
            <a:r>
              <a:rPr lang="en-US"/>
              <a:t>Title of the talk goes he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6176" y="5115698"/>
            <a:ext cx="8871457" cy="1297459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00B0F0"/>
                </a:solidFill>
              </a:defRPr>
            </a:lvl1pPr>
            <a:lvl2pPr marL="457112" indent="0" algn="ctr">
              <a:buNone/>
              <a:defRPr sz="2000"/>
            </a:lvl2pPr>
            <a:lvl3pPr marL="914225" indent="0" algn="ctr">
              <a:buNone/>
              <a:defRPr sz="1800"/>
            </a:lvl3pPr>
            <a:lvl4pPr marL="1371337" indent="0" algn="ctr">
              <a:buNone/>
              <a:defRPr sz="1600"/>
            </a:lvl4pPr>
            <a:lvl5pPr marL="1828449" indent="0" algn="ctr">
              <a:buNone/>
              <a:defRPr sz="1600"/>
            </a:lvl5pPr>
            <a:lvl6pPr marL="2285561" indent="0" algn="ctr">
              <a:buNone/>
              <a:defRPr sz="1600"/>
            </a:lvl6pPr>
            <a:lvl7pPr marL="2742674" indent="0" algn="ctr">
              <a:buNone/>
              <a:defRPr sz="1600"/>
            </a:lvl7pPr>
            <a:lvl8pPr marL="3199785" indent="0" algn="ctr">
              <a:buNone/>
              <a:defRPr sz="1600"/>
            </a:lvl8pPr>
            <a:lvl9pPr marL="3656897" indent="0" algn="ctr">
              <a:buNone/>
              <a:defRPr sz="1600"/>
            </a:lvl9pPr>
          </a:lstStyle>
          <a:p>
            <a:r>
              <a:rPr lang="en-US"/>
              <a:t>Presenter Name</a:t>
            </a:r>
          </a:p>
          <a:p>
            <a:r>
              <a:rPr lang="en-US"/>
              <a:t>Presenter Title</a:t>
            </a:r>
          </a:p>
          <a:p>
            <a:r>
              <a:rPr lang="en-US"/>
              <a:t>04/02/2014</a:t>
            </a:r>
          </a:p>
        </p:txBody>
      </p:sp>
    </p:spTree>
    <p:extLst>
      <p:ext uri="{BB962C8B-B14F-4D97-AF65-F5344CB8AC3E}">
        <p14:creationId xmlns:p14="http://schemas.microsoft.com/office/powerpoint/2010/main" val="24126044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13" Type="http://schemas.openxmlformats.org/officeDocument/2006/relationships/slideLayout" Target="../slideLayouts/slideLayout105.xml"/><Relationship Id="rId3" Type="http://schemas.openxmlformats.org/officeDocument/2006/relationships/slideLayout" Target="../slideLayouts/slideLayout95.xml"/><Relationship Id="rId7" Type="http://schemas.openxmlformats.org/officeDocument/2006/relationships/slideLayout" Target="../slideLayouts/slideLayout99.xml"/><Relationship Id="rId12" Type="http://schemas.openxmlformats.org/officeDocument/2006/relationships/slideLayout" Target="../slideLayouts/slideLayout104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94.xml"/><Relationship Id="rId16" Type="http://schemas.openxmlformats.org/officeDocument/2006/relationships/theme" Target="../theme/theme10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97.xml"/><Relationship Id="rId15" Type="http://schemas.openxmlformats.org/officeDocument/2006/relationships/slideLayout" Target="../slideLayouts/slideLayout107.xml"/><Relationship Id="rId10" Type="http://schemas.openxmlformats.org/officeDocument/2006/relationships/slideLayout" Target="../slideLayouts/slideLayout102.xml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Relationship Id="rId14" Type="http://schemas.openxmlformats.org/officeDocument/2006/relationships/slideLayout" Target="../slideLayouts/slideLayout106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.xml"/><Relationship Id="rId13" Type="http://schemas.openxmlformats.org/officeDocument/2006/relationships/slideLayout" Target="../slideLayouts/slideLayout120.xml"/><Relationship Id="rId18" Type="http://schemas.openxmlformats.org/officeDocument/2006/relationships/slideLayout" Target="../slideLayouts/slideLayout125.xml"/><Relationship Id="rId3" Type="http://schemas.openxmlformats.org/officeDocument/2006/relationships/slideLayout" Target="../slideLayouts/slideLayout110.xml"/><Relationship Id="rId21" Type="http://schemas.openxmlformats.org/officeDocument/2006/relationships/theme" Target="../theme/theme11.xml"/><Relationship Id="rId7" Type="http://schemas.openxmlformats.org/officeDocument/2006/relationships/slideLayout" Target="../slideLayouts/slideLayout114.xml"/><Relationship Id="rId12" Type="http://schemas.openxmlformats.org/officeDocument/2006/relationships/slideLayout" Target="../slideLayouts/slideLayout119.xml"/><Relationship Id="rId17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109.xml"/><Relationship Id="rId16" Type="http://schemas.openxmlformats.org/officeDocument/2006/relationships/slideLayout" Target="../slideLayouts/slideLayout123.xml"/><Relationship Id="rId20" Type="http://schemas.openxmlformats.org/officeDocument/2006/relationships/slideLayout" Target="../slideLayouts/slideLayout127.xml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11" Type="http://schemas.openxmlformats.org/officeDocument/2006/relationships/slideLayout" Target="../slideLayouts/slideLayout118.xml"/><Relationship Id="rId5" Type="http://schemas.openxmlformats.org/officeDocument/2006/relationships/slideLayout" Target="../slideLayouts/slideLayout112.xml"/><Relationship Id="rId15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117.xml"/><Relationship Id="rId19" Type="http://schemas.openxmlformats.org/officeDocument/2006/relationships/slideLayout" Target="../slideLayouts/slideLayout126.xml"/><Relationship Id="rId4" Type="http://schemas.openxmlformats.org/officeDocument/2006/relationships/slideLayout" Target="../slideLayouts/slideLayout111.xml"/><Relationship Id="rId9" Type="http://schemas.openxmlformats.org/officeDocument/2006/relationships/slideLayout" Target="../slideLayouts/slideLayout116.xml"/><Relationship Id="rId14" Type="http://schemas.openxmlformats.org/officeDocument/2006/relationships/slideLayout" Target="../slideLayouts/slideLayout121.xml"/><Relationship Id="rId22" Type="http://schemas.openxmlformats.org/officeDocument/2006/relationships/image" Target="../media/image11.emf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5.xml"/><Relationship Id="rId13" Type="http://schemas.openxmlformats.org/officeDocument/2006/relationships/slideLayout" Target="../slideLayouts/slideLayout140.xml"/><Relationship Id="rId18" Type="http://schemas.openxmlformats.org/officeDocument/2006/relationships/image" Target="../media/image19.png"/><Relationship Id="rId3" Type="http://schemas.openxmlformats.org/officeDocument/2006/relationships/slideLayout" Target="../slideLayouts/slideLayout130.xml"/><Relationship Id="rId7" Type="http://schemas.openxmlformats.org/officeDocument/2006/relationships/slideLayout" Target="../slideLayouts/slideLayout134.xml"/><Relationship Id="rId12" Type="http://schemas.openxmlformats.org/officeDocument/2006/relationships/slideLayout" Target="../slideLayouts/slideLayout139.xml"/><Relationship Id="rId17" Type="http://schemas.openxmlformats.org/officeDocument/2006/relationships/theme" Target="../theme/theme12.xml"/><Relationship Id="rId2" Type="http://schemas.openxmlformats.org/officeDocument/2006/relationships/slideLayout" Target="../slideLayouts/slideLayout129.xml"/><Relationship Id="rId16" Type="http://schemas.openxmlformats.org/officeDocument/2006/relationships/slideLayout" Target="../slideLayouts/slideLayout143.xml"/><Relationship Id="rId1" Type="http://schemas.openxmlformats.org/officeDocument/2006/relationships/slideLayout" Target="../slideLayouts/slideLayout128.xml"/><Relationship Id="rId6" Type="http://schemas.openxmlformats.org/officeDocument/2006/relationships/slideLayout" Target="../slideLayouts/slideLayout133.xml"/><Relationship Id="rId11" Type="http://schemas.openxmlformats.org/officeDocument/2006/relationships/slideLayout" Target="../slideLayouts/slideLayout138.xml"/><Relationship Id="rId5" Type="http://schemas.openxmlformats.org/officeDocument/2006/relationships/slideLayout" Target="../slideLayouts/slideLayout132.xml"/><Relationship Id="rId15" Type="http://schemas.openxmlformats.org/officeDocument/2006/relationships/slideLayout" Target="../slideLayouts/slideLayout142.xml"/><Relationship Id="rId10" Type="http://schemas.openxmlformats.org/officeDocument/2006/relationships/slideLayout" Target="../slideLayouts/slideLayout137.xml"/><Relationship Id="rId4" Type="http://schemas.openxmlformats.org/officeDocument/2006/relationships/slideLayout" Target="../slideLayouts/slideLayout131.xml"/><Relationship Id="rId9" Type="http://schemas.openxmlformats.org/officeDocument/2006/relationships/slideLayout" Target="../slideLayouts/slideLayout136.xml"/><Relationship Id="rId14" Type="http://schemas.openxmlformats.org/officeDocument/2006/relationships/slideLayout" Target="../slideLayouts/slideLayout141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1.xml"/><Relationship Id="rId13" Type="http://schemas.openxmlformats.org/officeDocument/2006/relationships/slideLayout" Target="../slideLayouts/slideLayout156.xml"/><Relationship Id="rId18" Type="http://schemas.openxmlformats.org/officeDocument/2006/relationships/slideLayout" Target="../slideLayouts/slideLayout161.xml"/><Relationship Id="rId26" Type="http://schemas.openxmlformats.org/officeDocument/2006/relationships/image" Target="../media/image20.emf"/><Relationship Id="rId3" Type="http://schemas.openxmlformats.org/officeDocument/2006/relationships/slideLayout" Target="../slideLayouts/slideLayout146.xml"/><Relationship Id="rId21" Type="http://schemas.openxmlformats.org/officeDocument/2006/relationships/slideLayout" Target="../slideLayouts/slideLayout164.xml"/><Relationship Id="rId7" Type="http://schemas.openxmlformats.org/officeDocument/2006/relationships/slideLayout" Target="../slideLayouts/slideLayout150.xml"/><Relationship Id="rId12" Type="http://schemas.openxmlformats.org/officeDocument/2006/relationships/slideLayout" Target="../slideLayouts/slideLayout155.xml"/><Relationship Id="rId17" Type="http://schemas.openxmlformats.org/officeDocument/2006/relationships/slideLayout" Target="../slideLayouts/slideLayout160.xml"/><Relationship Id="rId25" Type="http://schemas.openxmlformats.org/officeDocument/2006/relationships/theme" Target="../theme/theme13.xml"/><Relationship Id="rId2" Type="http://schemas.openxmlformats.org/officeDocument/2006/relationships/slideLayout" Target="../slideLayouts/slideLayout145.xml"/><Relationship Id="rId16" Type="http://schemas.openxmlformats.org/officeDocument/2006/relationships/slideLayout" Target="../slideLayouts/slideLayout159.xml"/><Relationship Id="rId20" Type="http://schemas.openxmlformats.org/officeDocument/2006/relationships/slideLayout" Target="../slideLayouts/slideLayout163.xml"/><Relationship Id="rId1" Type="http://schemas.openxmlformats.org/officeDocument/2006/relationships/slideLayout" Target="../slideLayouts/slideLayout144.xml"/><Relationship Id="rId6" Type="http://schemas.openxmlformats.org/officeDocument/2006/relationships/slideLayout" Target="../slideLayouts/slideLayout149.xml"/><Relationship Id="rId11" Type="http://schemas.openxmlformats.org/officeDocument/2006/relationships/slideLayout" Target="../slideLayouts/slideLayout154.xml"/><Relationship Id="rId24" Type="http://schemas.openxmlformats.org/officeDocument/2006/relationships/slideLayout" Target="../slideLayouts/slideLayout167.xml"/><Relationship Id="rId5" Type="http://schemas.openxmlformats.org/officeDocument/2006/relationships/slideLayout" Target="../slideLayouts/slideLayout148.xml"/><Relationship Id="rId15" Type="http://schemas.openxmlformats.org/officeDocument/2006/relationships/slideLayout" Target="../slideLayouts/slideLayout158.xml"/><Relationship Id="rId23" Type="http://schemas.openxmlformats.org/officeDocument/2006/relationships/slideLayout" Target="../slideLayouts/slideLayout166.xml"/><Relationship Id="rId10" Type="http://schemas.openxmlformats.org/officeDocument/2006/relationships/slideLayout" Target="../slideLayouts/slideLayout153.xml"/><Relationship Id="rId19" Type="http://schemas.openxmlformats.org/officeDocument/2006/relationships/slideLayout" Target="../slideLayouts/slideLayout162.xml"/><Relationship Id="rId4" Type="http://schemas.openxmlformats.org/officeDocument/2006/relationships/slideLayout" Target="../slideLayouts/slideLayout147.xml"/><Relationship Id="rId9" Type="http://schemas.openxmlformats.org/officeDocument/2006/relationships/slideLayout" Target="../slideLayouts/slideLayout152.xml"/><Relationship Id="rId14" Type="http://schemas.openxmlformats.org/officeDocument/2006/relationships/slideLayout" Target="../slideLayouts/slideLayout157.xml"/><Relationship Id="rId22" Type="http://schemas.openxmlformats.org/officeDocument/2006/relationships/slideLayout" Target="../slideLayouts/slideLayout165.xml"/></Relationships>
</file>

<file path=ppt/slideMasters/_rels/slideMaster1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80.xml"/><Relationship Id="rId18" Type="http://schemas.openxmlformats.org/officeDocument/2006/relationships/slideLayout" Target="../slideLayouts/slideLayout185.xml"/><Relationship Id="rId26" Type="http://schemas.openxmlformats.org/officeDocument/2006/relationships/slideLayout" Target="../slideLayouts/slideLayout193.xml"/><Relationship Id="rId3" Type="http://schemas.openxmlformats.org/officeDocument/2006/relationships/slideLayout" Target="../slideLayouts/slideLayout170.xml"/><Relationship Id="rId21" Type="http://schemas.openxmlformats.org/officeDocument/2006/relationships/slideLayout" Target="../slideLayouts/slideLayout188.xml"/><Relationship Id="rId7" Type="http://schemas.openxmlformats.org/officeDocument/2006/relationships/slideLayout" Target="../slideLayouts/slideLayout174.xml"/><Relationship Id="rId12" Type="http://schemas.openxmlformats.org/officeDocument/2006/relationships/slideLayout" Target="../slideLayouts/slideLayout179.xml"/><Relationship Id="rId17" Type="http://schemas.openxmlformats.org/officeDocument/2006/relationships/slideLayout" Target="../slideLayouts/slideLayout184.xml"/><Relationship Id="rId25" Type="http://schemas.openxmlformats.org/officeDocument/2006/relationships/slideLayout" Target="../slideLayouts/slideLayout192.xml"/><Relationship Id="rId33" Type="http://schemas.openxmlformats.org/officeDocument/2006/relationships/theme" Target="../theme/theme14.xml"/><Relationship Id="rId2" Type="http://schemas.openxmlformats.org/officeDocument/2006/relationships/slideLayout" Target="../slideLayouts/slideLayout169.xml"/><Relationship Id="rId16" Type="http://schemas.openxmlformats.org/officeDocument/2006/relationships/slideLayout" Target="../slideLayouts/slideLayout183.xml"/><Relationship Id="rId20" Type="http://schemas.openxmlformats.org/officeDocument/2006/relationships/slideLayout" Target="../slideLayouts/slideLayout187.xml"/><Relationship Id="rId29" Type="http://schemas.openxmlformats.org/officeDocument/2006/relationships/slideLayout" Target="../slideLayouts/slideLayout196.xml"/><Relationship Id="rId1" Type="http://schemas.openxmlformats.org/officeDocument/2006/relationships/slideLayout" Target="../slideLayouts/slideLayout168.xml"/><Relationship Id="rId6" Type="http://schemas.openxmlformats.org/officeDocument/2006/relationships/slideLayout" Target="../slideLayouts/slideLayout173.xml"/><Relationship Id="rId11" Type="http://schemas.openxmlformats.org/officeDocument/2006/relationships/slideLayout" Target="../slideLayouts/slideLayout178.xml"/><Relationship Id="rId24" Type="http://schemas.openxmlformats.org/officeDocument/2006/relationships/slideLayout" Target="../slideLayouts/slideLayout191.xml"/><Relationship Id="rId32" Type="http://schemas.openxmlformats.org/officeDocument/2006/relationships/slideLayout" Target="../slideLayouts/slideLayout199.xml"/><Relationship Id="rId5" Type="http://schemas.openxmlformats.org/officeDocument/2006/relationships/slideLayout" Target="../slideLayouts/slideLayout172.xml"/><Relationship Id="rId15" Type="http://schemas.openxmlformats.org/officeDocument/2006/relationships/slideLayout" Target="../slideLayouts/slideLayout182.xml"/><Relationship Id="rId23" Type="http://schemas.openxmlformats.org/officeDocument/2006/relationships/slideLayout" Target="../slideLayouts/slideLayout190.xml"/><Relationship Id="rId28" Type="http://schemas.openxmlformats.org/officeDocument/2006/relationships/slideLayout" Target="../slideLayouts/slideLayout195.xml"/><Relationship Id="rId10" Type="http://schemas.openxmlformats.org/officeDocument/2006/relationships/slideLayout" Target="../slideLayouts/slideLayout177.xml"/><Relationship Id="rId19" Type="http://schemas.openxmlformats.org/officeDocument/2006/relationships/slideLayout" Target="../slideLayouts/slideLayout186.xml"/><Relationship Id="rId31" Type="http://schemas.openxmlformats.org/officeDocument/2006/relationships/slideLayout" Target="../slideLayouts/slideLayout198.xml"/><Relationship Id="rId4" Type="http://schemas.openxmlformats.org/officeDocument/2006/relationships/slideLayout" Target="../slideLayouts/slideLayout171.xml"/><Relationship Id="rId9" Type="http://schemas.openxmlformats.org/officeDocument/2006/relationships/slideLayout" Target="../slideLayouts/slideLayout176.xml"/><Relationship Id="rId14" Type="http://schemas.openxmlformats.org/officeDocument/2006/relationships/slideLayout" Target="../slideLayouts/slideLayout181.xml"/><Relationship Id="rId22" Type="http://schemas.openxmlformats.org/officeDocument/2006/relationships/slideLayout" Target="../slideLayouts/slideLayout189.xml"/><Relationship Id="rId27" Type="http://schemas.openxmlformats.org/officeDocument/2006/relationships/slideLayout" Target="../slideLayouts/slideLayout194.xml"/><Relationship Id="rId30" Type="http://schemas.openxmlformats.org/officeDocument/2006/relationships/slideLayout" Target="../slideLayouts/slideLayout197.xml"/><Relationship Id="rId8" Type="http://schemas.openxmlformats.org/officeDocument/2006/relationships/slideLayout" Target="../slideLayouts/slideLayout175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15.xml"/><Relationship Id="rId1" Type="http://schemas.openxmlformats.org/officeDocument/2006/relationships/slideLayout" Target="../slideLayouts/slideLayout200.xml"/></Relationships>
</file>

<file path=ppt/slideMasters/_rels/slideMaster1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13.xml"/><Relationship Id="rId18" Type="http://schemas.openxmlformats.org/officeDocument/2006/relationships/slideLayout" Target="../slideLayouts/slideLayout218.xml"/><Relationship Id="rId26" Type="http://schemas.openxmlformats.org/officeDocument/2006/relationships/slideLayout" Target="../slideLayouts/slideLayout226.xml"/><Relationship Id="rId39" Type="http://schemas.openxmlformats.org/officeDocument/2006/relationships/slideLayout" Target="../slideLayouts/slideLayout239.xml"/><Relationship Id="rId21" Type="http://schemas.openxmlformats.org/officeDocument/2006/relationships/slideLayout" Target="../slideLayouts/slideLayout221.xml"/><Relationship Id="rId34" Type="http://schemas.openxmlformats.org/officeDocument/2006/relationships/slideLayout" Target="../slideLayouts/slideLayout234.xml"/><Relationship Id="rId42" Type="http://schemas.openxmlformats.org/officeDocument/2006/relationships/image" Target="../media/image27.png"/><Relationship Id="rId7" Type="http://schemas.openxmlformats.org/officeDocument/2006/relationships/slideLayout" Target="../slideLayouts/slideLayout207.xml"/><Relationship Id="rId2" Type="http://schemas.openxmlformats.org/officeDocument/2006/relationships/slideLayout" Target="../slideLayouts/slideLayout202.xml"/><Relationship Id="rId16" Type="http://schemas.openxmlformats.org/officeDocument/2006/relationships/slideLayout" Target="../slideLayouts/slideLayout216.xml"/><Relationship Id="rId20" Type="http://schemas.openxmlformats.org/officeDocument/2006/relationships/slideLayout" Target="../slideLayouts/slideLayout220.xml"/><Relationship Id="rId29" Type="http://schemas.openxmlformats.org/officeDocument/2006/relationships/slideLayout" Target="../slideLayouts/slideLayout229.xml"/><Relationship Id="rId41" Type="http://schemas.openxmlformats.org/officeDocument/2006/relationships/theme" Target="../theme/theme16.xml"/><Relationship Id="rId1" Type="http://schemas.openxmlformats.org/officeDocument/2006/relationships/slideLayout" Target="../slideLayouts/slideLayout201.xml"/><Relationship Id="rId6" Type="http://schemas.openxmlformats.org/officeDocument/2006/relationships/slideLayout" Target="../slideLayouts/slideLayout206.xml"/><Relationship Id="rId11" Type="http://schemas.openxmlformats.org/officeDocument/2006/relationships/slideLayout" Target="../slideLayouts/slideLayout211.xml"/><Relationship Id="rId24" Type="http://schemas.openxmlformats.org/officeDocument/2006/relationships/slideLayout" Target="../slideLayouts/slideLayout224.xml"/><Relationship Id="rId32" Type="http://schemas.openxmlformats.org/officeDocument/2006/relationships/slideLayout" Target="../slideLayouts/slideLayout232.xml"/><Relationship Id="rId37" Type="http://schemas.openxmlformats.org/officeDocument/2006/relationships/slideLayout" Target="../slideLayouts/slideLayout237.xml"/><Relationship Id="rId40" Type="http://schemas.openxmlformats.org/officeDocument/2006/relationships/slideLayout" Target="../slideLayouts/slideLayout240.xml"/><Relationship Id="rId5" Type="http://schemas.openxmlformats.org/officeDocument/2006/relationships/slideLayout" Target="../slideLayouts/slideLayout205.xml"/><Relationship Id="rId15" Type="http://schemas.openxmlformats.org/officeDocument/2006/relationships/slideLayout" Target="../slideLayouts/slideLayout215.xml"/><Relationship Id="rId23" Type="http://schemas.openxmlformats.org/officeDocument/2006/relationships/slideLayout" Target="../slideLayouts/slideLayout223.xml"/><Relationship Id="rId28" Type="http://schemas.openxmlformats.org/officeDocument/2006/relationships/slideLayout" Target="../slideLayouts/slideLayout228.xml"/><Relationship Id="rId36" Type="http://schemas.openxmlformats.org/officeDocument/2006/relationships/slideLayout" Target="../slideLayouts/slideLayout236.xml"/><Relationship Id="rId10" Type="http://schemas.openxmlformats.org/officeDocument/2006/relationships/slideLayout" Target="../slideLayouts/slideLayout210.xml"/><Relationship Id="rId19" Type="http://schemas.openxmlformats.org/officeDocument/2006/relationships/slideLayout" Target="../slideLayouts/slideLayout219.xml"/><Relationship Id="rId31" Type="http://schemas.openxmlformats.org/officeDocument/2006/relationships/slideLayout" Target="../slideLayouts/slideLayout231.xml"/><Relationship Id="rId4" Type="http://schemas.openxmlformats.org/officeDocument/2006/relationships/slideLayout" Target="../slideLayouts/slideLayout204.xml"/><Relationship Id="rId9" Type="http://schemas.openxmlformats.org/officeDocument/2006/relationships/slideLayout" Target="../slideLayouts/slideLayout209.xml"/><Relationship Id="rId14" Type="http://schemas.openxmlformats.org/officeDocument/2006/relationships/slideLayout" Target="../slideLayouts/slideLayout214.xml"/><Relationship Id="rId22" Type="http://schemas.openxmlformats.org/officeDocument/2006/relationships/slideLayout" Target="../slideLayouts/slideLayout222.xml"/><Relationship Id="rId27" Type="http://schemas.openxmlformats.org/officeDocument/2006/relationships/slideLayout" Target="../slideLayouts/slideLayout227.xml"/><Relationship Id="rId30" Type="http://schemas.openxmlformats.org/officeDocument/2006/relationships/slideLayout" Target="../slideLayouts/slideLayout230.xml"/><Relationship Id="rId35" Type="http://schemas.openxmlformats.org/officeDocument/2006/relationships/slideLayout" Target="../slideLayouts/slideLayout235.xml"/><Relationship Id="rId8" Type="http://schemas.openxmlformats.org/officeDocument/2006/relationships/slideLayout" Target="../slideLayouts/slideLayout208.xml"/><Relationship Id="rId3" Type="http://schemas.openxmlformats.org/officeDocument/2006/relationships/slideLayout" Target="../slideLayouts/slideLayout203.xml"/><Relationship Id="rId12" Type="http://schemas.openxmlformats.org/officeDocument/2006/relationships/slideLayout" Target="../slideLayouts/slideLayout212.xml"/><Relationship Id="rId17" Type="http://schemas.openxmlformats.org/officeDocument/2006/relationships/slideLayout" Target="../slideLayouts/slideLayout217.xml"/><Relationship Id="rId25" Type="http://schemas.openxmlformats.org/officeDocument/2006/relationships/slideLayout" Target="../slideLayouts/slideLayout225.xml"/><Relationship Id="rId33" Type="http://schemas.openxmlformats.org/officeDocument/2006/relationships/slideLayout" Target="../slideLayouts/slideLayout233.xml"/><Relationship Id="rId38" Type="http://schemas.openxmlformats.org/officeDocument/2006/relationships/slideLayout" Target="../slideLayouts/slideLayout238.xml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theme" Target="../theme/theme17.xml"/><Relationship Id="rId2" Type="http://schemas.openxmlformats.org/officeDocument/2006/relationships/slideLayout" Target="../slideLayouts/slideLayout242.xml"/><Relationship Id="rId1" Type="http://schemas.openxmlformats.org/officeDocument/2006/relationships/slideLayout" Target="../slideLayouts/slideLayout241.xml"/><Relationship Id="rId4" Type="http://schemas.openxmlformats.org/officeDocument/2006/relationships/image" Target="../media/image19.png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26" Type="http://schemas.openxmlformats.org/officeDocument/2006/relationships/theme" Target="../theme/theme5.xml"/><Relationship Id="rId3" Type="http://schemas.openxmlformats.org/officeDocument/2006/relationships/slideLayout" Target="../slideLayouts/slideLayout17.xml"/><Relationship Id="rId21" Type="http://schemas.openxmlformats.org/officeDocument/2006/relationships/slideLayout" Target="../slideLayouts/slideLayout35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slideLayout" Target="../slideLayouts/slideLayout39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slideLayout" Target="../slideLayouts/slideLayout34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slideLayout" Target="../slideLayouts/slideLayout38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24.xml"/><Relationship Id="rId19" Type="http://schemas.openxmlformats.org/officeDocument/2006/relationships/slideLayout" Target="../slideLayouts/slideLayout33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slideLayout" Target="../slideLayouts/slideLayout36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2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5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3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18" Type="http://schemas.openxmlformats.org/officeDocument/2006/relationships/theme" Target="../theme/theme7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slideLayout" Target="../slideLayouts/slideLayout62.xml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4.xml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5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72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slideLayout" Target="../slideLayouts/slideLayout87.xml"/><Relationship Id="rId18" Type="http://schemas.openxmlformats.org/officeDocument/2006/relationships/slideLayout" Target="../slideLayouts/slideLayout92.xml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17" Type="http://schemas.openxmlformats.org/officeDocument/2006/relationships/slideLayout" Target="../slideLayouts/slideLayout91.xml"/><Relationship Id="rId2" Type="http://schemas.openxmlformats.org/officeDocument/2006/relationships/slideLayout" Target="../slideLayouts/slideLayout76.xml"/><Relationship Id="rId16" Type="http://schemas.openxmlformats.org/officeDocument/2006/relationships/slideLayout" Target="../slideLayouts/slideLayout90.xml"/><Relationship Id="rId20" Type="http://schemas.openxmlformats.org/officeDocument/2006/relationships/image" Target="../media/image11.emf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5" Type="http://schemas.openxmlformats.org/officeDocument/2006/relationships/slideLayout" Target="../slideLayouts/slideLayout79.xml"/><Relationship Id="rId15" Type="http://schemas.openxmlformats.org/officeDocument/2006/relationships/slideLayout" Target="../slideLayouts/slideLayout89.xml"/><Relationship Id="rId10" Type="http://schemas.openxmlformats.org/officeDocument/2006/relationships/slideLayout" Target="../slideLayouts/slideLayout84.xml"/><Relationship Id="rId19" Type="http://schemas.openxmlformats.org/officeDocument/2006/relationships/theme" Target="../theme/theme9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8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B27273-82A0-4F03-B551-F05C0A270C9F}" type="datetimeFigureOut">
              <a:rPr lang="en-US" smtClean="0"/>
              <a:t>1/28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8363C5-1D77-4ABE-8C60-573DC6EF2A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8777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18480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02126" y="2991033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13427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88" r:id="rId1"/>
    <p:sldLayoutId id="2147483889" r:id="rId2"/>
    <p:sldLayoutId id="2147483890" r:id="rId3"/>
    <p:sldLayoutId id="2147483891" r:id="rId4"/>
    <p:sldLayoutId id="2147483892" r:id="rId5"/>
    <p:sldLayoutId id="2147483893" r:id="rId6"/>
    <p:sldLayoutId id="2147483894" r:id="rId7"/>
    <p:sldLayoutId id="2147483895" r:id="rId8"/>
    <p:sldLayoutId id="2147483897" r:id="rId9"/>
    <p:sldLayoutId id="2147483898" r:id="rId10"/>
    <p:sldLayoutId id="2147483899" r:id="rId11"/>
    <p:sldLayoutId id="2147483900" r:id="rId12"/>
    <p:sldLayoutId id="2147483901" r:id="rId13"/>
    <p:sldLayoutId id="2147483902" r:id="rId14"/>
    <p:sldLayoutId id="2147483903" r:id="rId15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529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661">
          <p15:clr>
            <a:srgbClr val="5ACBF0"/>
          </p15:clr>
        </p15:guide>
        <p15:guide id="4" orient="horz" pos="4219">
          <p15:clr>
            <a:srgbClr val="5ACBF0"/>
          </p15:clr>
        </p15:guide>
        <p15:guide id="5" pos="749">
          <p15:clr>
            <a:srgbClr val="5ACBF0"/>
          </p15:clr>
        </p15:guide>
        <p15:guide id="6" pos="1325">
          <p15:clr>
            <a:srgbClr val="5ACBF0"/>
          </p15:clr>
        </p15:guide>
        <p15:guide id="7" pos="1901">
          <p15:clr>
            <a:srgbClr val="5ACBF0"/>
          </p15:clr>
        </p15:guide>
        <p15:guide id="8" pos="2477">
          <p15:clr>
            <a:srgbClr val="5ACBF0"/>
          </p15:clr>
        </p15:guide>
        <p15:guide id="9" pos="3053">
          <p15:clr>
            <a:srgbClr val="5ACBF0"/>
          </p15:clr>
        </p15:guide>
        <p15:guide id="10" pos="3629">
          <p15:clr>
            <a:srgbClr val="5ACBF0"/>
          </p15:clr>
        </p15:guide>
        <p15:guide id="11" pos="4205">
          <p15:clr>
            <a:srgbClr val="5ACBF0"/>
          </p15:clr>
        </p15:guide>
        <p15:guide id="12" pos="4781">
          <p15:clr>
            <a:srgbClr val="5ACBF0"/>
          </p15:clr>
        </p15:guide>
        <p15:guide id="13" pos="5357">
          <p15:clr>
            <a:srgbClr val="5ACBF0"/>
          </p15:clr>
        </p15:guide>
        <p15:guide id="14" pos="5933">
          <p15:clr>
            <a:srgbClr val="5ACBF0"/>
          </p15:clr>
        </p15:guide>
        <p15:guide id="15" pos="6509">
          <p15:clr>
            <a:srgbClr val="5ACBF0"/>
          </p15:clr>
        </p15:guide>
        <p15:guide id="16" pos="7085">
          <p15:clr>
            <a:srgbClr val="5ACBF0"/>
          </p15:clr>
        </p15:guide>
        <p15:guide id="17" orient="horz" pos="763">
          <p15:clr>
            <a:srgbClr val="5ACBF0"/>
          </p15:clr>
        </p15:guide>
        <p15:guide id="18" orient="horz" pos="1339">
          <p15:clr>
            <a:srgbClr val="5ACBF0"/>
          </p15:clr>
        </p15:guide>
        <p15:guide id="19" orient="horz" pos="1915">
          <p15:clr>
            <a:srgbClr val="5ACBF0"/>
          </p15:clr>
        </p15:guide>
        <p15:guide id="20" orient="horz" pos="2491">
          <p15:clr>
            <a:srgbClr val="5ACBF0"/>
          </p15:clr>
        </p15:guide>
        <p15:guide id="21" orient="horz" pos="3067">
          <p15:clr>
            <a:srgbClr val="5ACBF0"/>
          </p15:clr>
        </p15:guide>
        <p15:guide id="22" orient="horz" pos="3643">
          <p15:clr>
            <a:srgbClr val="5ACBF0"/>
          </p15:clr>
        </p15:guide>
        <p15:guide id="23" pos="288">
          <p15:clr>
            <a:srgbClr val="C35EA4"/>
          </p15:clr>
        </p15:guide>
        <p15:guide id="24" pos="7546">
          <p15:clr>
            <a:srgbClr val="C35EA4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96075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20" r:id="rId1"/>
    <p:sldLayoutId id="2147483921" r:id="rId2"/>
    <p:sldLayoutId id="2147483922" r:id="rId3"/>
    <p:sldLayoutId id="2147483923" r:id="rId4"/>
    <p:sldLayoutId id="2147483924" r:id="rId5"/>
    <p:sldLayoutId id="2147483925" r:id="rId6"/>
    <p:sldLayoutId id="2147483926" r:id="rId7"/>
    <p:sldLayoutId id="2147483927" r:id="rId8"/>
    <p:sldLayoutId id="2147483928" r:id="rId9"/>
    <p:sldLayoutId id="2147483929" r:id="rId10"/>
    <p:sldLayoutId id="2147483930" r:id="rId11"/>
    <p:sldLayoutId id="2147483931" r:id="rId12"/>
    <p:sldLayoutId id="2147483932" r:id="rId13"/>
    <p:sldLayoutId id="2147483933" r:id="rId14"/>
    <p:sldLayoutId id="2147483934" r:id="rId15"/>
    <p:sldLayoutId id="2147483935" r:id="rId16"/>
    <p:sldLayoutId id="2147483936" r:id="rId17"/>
    <p:sldLayoutId id="2147483937" r:id="rId18"/>
    <p:sldLayoutId id="2147483938" r:id="rId19"/>
    <p:sldLayoutId id="2147483939" r:id="rId20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18480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02126" y="2991033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102539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41" r:id="rId1"/>
    <p:sldLayoutId id="2147483942" r:id="rId2"/>
    <p:sldLayoutId id="2147483943" r:id="rId3"/>
    <p:sldLayoutId id="2147483944" r:id="rId4"/>
    <p:sldLayoutId id="2147483945" r:id="rId5"/>
    <p:sldLayoutId id="2147483946" r:id="rId6"/>
    <p:sldLayoutId id="2147483947" r:id="rId7"/>
    <p:sldLayoutId id="2147483948" r:id="rId8"/>
    <p:sldLayoutId id="2147483949" r:id="rId9"/>
    <p:sldLayoutId id="2147483950" r:id="rId10"/>
    <p:sldLayoutId id="2147483951" r:id="rId11"/>
    <p:sldLayoutId id="2147483952" r:id="rId12"/>
    <p:sldLayoutId id="2147483953" r:id="rId13"/>
    <p:sldLayoutId id="2147483954" r:id="rId14"/>
    <p:sldLayoutId id="2147483955" r:id="rId15"/>
    <p:sldLayoutId id="2147483956" r:id="rId16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529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661">
          <p15:clr>
            <a:srgbClr val="5ACBF0"/>
          </p15:clr>
        </p15:guide>
        <p15:guide id="4" orient="horz" pos="4219">
          <p15:clr>
            <a:srgbClr val="5ACBF0"/>
          </p15:clr>
        </p15:guide>
        <p15:guide id="5" pos="749">
          <p15:clr>
            <a:srgbClr val="5ACBF0"/>
          </p15:clr>
        </p15:guide>
        <p15:guide id="6" pos="1325">
          <p15:clr>
            <a:srgbClr val="5ACBF0"/>
          </p15:clr>
        </p15:guide>
        <p15:guide id="7" pos="1901">
          <p15:clr>
            <a:srgbClr val="5ACBF0"/>
          </p15:clr>
        </p15:guide>
        <p15:guide id="8" pos="2477">
          <p15:clr>
            <a:srgbClr val="5ACBF0"/>
          </p15:clr>
        </p15:guide>
        <p15:guide id="9" pos="3053">
          <p15:clr>
            <a:srgbClr val="5ACBF0"/>
          </p15:clr>
        </p15:guide>
        <p15:guide id="10" pos="3629">
          <p15:clr>
            <a:srgbClr val="5ACBF0"/>
          </p15:clr>
        </p15:guide>
        <p15:guide id="11" pos="4205">
          <p15:clr>
            <a:srgbClr val="5ACBF0"/>
          </p15:clr>
        </p15:guide>
        <p15:guide id="12" pos="4781">
          <p15:clr>
            <a:srgbClr val="5ACBF0"/>
          </p15:clr>
        </p15:guide>
        <p15:guide id="13" pos="5357">
          <p15:clr>
            <a:srgbClr val="5ACBF0"/>
          </p15:clr>
        </p15:guide>
        <p15:guide id="14" pos="5933">
          <p15:clr>
            <a:srgbClr val="5ACBF0"/>
          </p15:clr>
        </p15:guide>
        <p15:guide id="15" pos="6509">
          <p15:clr>
            <a:srgbClr val="5ACBF0"/>
          </p15:clr>
        </p15:guide>
        <p15:guide id="16" pos="7085">
          <p15:clr>
            <a:srgbClr val="5ACBF0"/>
          </p15:clr>
        </p15:guide>
        <p15:guide id="17" orient="horz" pos="763">
          <p15:clr>
            <a:srgbClr val="5ACBF0"/>
          </p15:clr>
        </p15:guide>
        <p15:guide id="18" orient="horz" pos="1339">
          <p15:clr>
            <a:srgbClr val="5ACBF0"/>
          </p15:clr>
        </p15:guide>
        <p15:guide id="19" orient="horz" pos="1915">
          <p15:clr>
            <a:srgbClr val="5ACBF0"/>
          </p15:clr>
        </p15:guide>
        <p15:guide id="20" orient="horz" pos="2491">
          <p15:clr>
            <a:srgbClr val="5ACBF0"/>
          </p15:clr>
        </p15:guide>
        <p15:guide id="21" orient="horz" pos="3067">
          <p15:clr>
            <a:srgbClr val="5ACBF0"/>
          </p15:clr>
        </p15:guide>
        <p15:guide id="22" orient="horz" pos="3643">
          <p15:clr>
            <a:srgbClr val="5ACBF0"/>
          </p15:clr>
        </p15:guide>
        <p15:guide id="23" pos="288">
          <p15:clr>
            <a:srgbClr val="C35EA4"/>
          </p15:clr>
        </p15:guide>
        <p15:guide id="24" pos="7546">
          <p15:clr>
            <a:srgbClr val="C35EA4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50194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8" r:id="rId1"/>
    <p:sldLayoutId id="2147483959" r:id="rId2"/>
    <p:sldLayoutId id="2147483960" r:id="rId3"/>
    <p:sldLayoutId id="2147483961" r:id="rId4"/>
    <p:sldLayoutId id="2147483962" r:id="rId5"/>
    <p:sldLayoutId id="2147483963" r:id="rId6"/>
    <p:sldLayoutId id="2147483964" r:id="rId7"/>
    <p:sldLayoutId id="2147483965" r:id="rId8"/>
    <p:sldLayoutId id="2147483966" r:id="rId9"/>
    <p:sldLayoutId id="2147483967" r:id="rId10"/>
    <p:sldLayoutId id="2147483968" r:id="rId11"/>
    <p:sldLayoutId id="2147483969" r:id="rId12"/>
    <p:sldLayoutId id="2147483970" r:id="rId13"/>
    <p:sldLayoutId id="2147483971" r:id="rId14"/>
    <p:sldLayoutId id="2147483972" r:id="rId15"/>
    <p:sldLayoutId id="2147483973" r:id="rId16"/>
    <p:sldLayoutId id="2147483974" r:id="rId17"/>
    <p:sldLayoutId id="2147483975" r:id="rId18"/>
    <p:sldLayoutId id="2147483976" r:id="rId19"/>
    <p:sldLayoutId id="2147483977" r:id="rId20"/>
    <p:sldLayoutId id="2147483978" r:id="rId21"/>
    <p:sldLayoutId id="2147483979" r:id="rId22"/>
    <p:sldLayoutId id="2147483980" r:id="rId23"/>
    <p:sldLayoutId id="2147483981" r:id="rId24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57200" y="1866900"/>
            <a:ext cx="11277600" cy="45339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599" cy="71237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8" name="Slide Number Placeholder 27">
            <a:extLst>
              <a:ext uri="{FF2B5EF4-FFF2-40B4-BE49-F238E27FC236}">
                <a16:creationId xmlns:a16="http://schemas.microsoft.com/office/drawing/2014/main" id="{5CFBB3EC-AC91-8E45-9E42-0DA1434795C3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010899" y="6442502"/>
            <a:ext cx="1180135" cy="415498"/>
          </a:xfrm>
          <a:prstGeom prst="rect">
            <a:avLst/>
          </a:prstGeom>
        </p:spPr>
        <p:txBody>
          <a:bodyPr vert="horz" lIns="91440" tIns="45720" rIns="182880" bIns="182880" rtlCol="0" anchor="b" anchorCtr="0">
            <a:spAutoFit/>
          </a:bodyPr>
          <a:lstStyle>
            <a:lvl1pPr algn="r">
              <a:defRPr sz="1200">
                <a:solidFill>
                  <a:schemeClr val="accent6"/>
                </a:solidFill>
              </a:defRPr>
            </a:lvl1pPr>
          </a:lstStyle>
          <a:p>
            <a:fld id="{529AFA16-AEC4-7D4A-82F3-BDAE8E49079E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66" name="Group 65"/>
          <p:cNvGrpSpPr/>
          <p:nvPr userDrawn="1"/>
        </p:nvGrpSpPr>
        <p:grpSpPr>
          <a:xfrm>
            <a:off x="12478437" y="16476"/>
            <a:ext cx="1054899" cy="6900254"/>
            <a:chOff x="12478437" y="16476"/>
            <a:chExt cx="1054899" cy="6900254"/>
          </a:xfrm>
        </p:grpSpPr>
        <p:grpSp>
          <p:nvGrpSpPr>
            <p:cNvPr id="5" name="Group 4"/>
            <p:cNvGrpSpPr/>
            <p:nvPr userDrawn="1"/>
          </p:nvGrpSpPr>
          <p:grpSpPr>
            <a:xfrm>
              <a:off x="12481674" y="2825291"/>
              <a:ext cx="899599" cy="830046"/>
              <a:chOff x="12481674" y="567"/>
              <a:chExt cx="899599" cy="830046"/>
            </a:xfrm>
          </p:grpSpPr>
          <p:sp>
            <p:nvSpPr>
              <p:cNvPr id="57" name="Rectangle 56"/>
              <p:cNvSpPr/>
              <p:nvPr userDrawn="1"/>
            </p:nvSpPr>
            <p:spPr>
              <a:xfrm>
                <a:off x="12481674" y="567"/>
                <a:ext cx="899599" cy="830046"/>
              </a:xfrm>
              <a:prstGeom prst="rect">
                <a:avLst/>
              </a:prstGeom>
              <a:solidFill>
                <a:srgbClr val="424242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endParaRPr lang="en-US" sz="900">
                  <a:solidFill>
                    <a:schemeClr val="tx1"/>
                  </a:solidFill>
                  <a:latin typeface="Segoe UI" charset="0"/>
                  <a:ea typeface="Segoe UI" charset="0"/>
                  <a:cs typeface="Segoe UI" charset="0"/>
                </a:endParaRPr>
              </a:p>
            </p:txBody>
          </p:sp>
          <p:sp>
            <p:nvSpPr>
              <p:cNvPr id="58" name="Content Placeholder 17"/>
              <p:cNvSpPr txBox="1">
                <a:spLocks/>
              </p:cNvSpPr>
              <p:nvPr userDrawn="1"/>
            </p:nvSpPr>
            <p:spPr>
              <a:xfrm>
                <a:off x="12538855" y="37543"/>
                <a:ext cx="749483" cy="312688"/>
              </a:xfrm>
              <a:prstGeom prst="rect">
                <a:avLst/>
              </a:prstGeom>
            </p:spPr>
            <p:txBody>
              <a:bodyPr vert="horz" lIns="0" tIns="0" rIns="0" bIns="0" rtlCol="0" anchor="t" anchorCtr="0">
                <a:noAutofit/>
              </a:bodyPr>
              <a:lstStyle>
                <a:lvl1pPr marL="0" indent="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bg1"/>
                  </a:buClr>
                  <a:buSzPct val="120000"/>
                  <a:buFontTx/>
                  <a:buNone/>
                  <a:defRPr kumimoji="0" lang="en-US" sz="1800" b="1" i="0" u="none" strike="noStrike" kern="1200" cap="none" spc="0" normalizeH="0" baseline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/>
                    <a:ea typeface="Segoe UI" charset="0"/>
                    <a:cs typeface="+mn-cs"/>
                  </a:defRPr>
                </a:lvl1pPr>
                <a:lvl2pPr marL="228600" indent="-230188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20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2pPr>
                <a:lvl3pPr marL="4572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17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3pPr>
                <a:lvl4pPr marL="6858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tabLst/>
                  <a:defRPr lang="en-US" sz="14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4pPr>
                <a:lvl5pPr marL="1254125" indent="-285750" algn="l" defTabSz="914132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bg2"/>
                  </a:buClr>
                  <a:buFont typeface="Arial"/>
                  <a:buChar char="•"/>
                  <a:defRPr lang="en-US" sz="1800" b="0" i="0" kern="1200" dirty="0">
                    <a:solidFill>
                      <a:schemeClr val="tx1"/>
                    </a:solidFill>
                    <a:effectLst/>
                    <a:latin typeface="Segoe UI Light" charset="0"/>
                    <a:ea typeface="+mn-ea"/>
                    <a:cs typeface="Segoe UI Light" charset="0"/>
                  </a:defRPr>
                </a:lvl5pPr>
                <a:lvl6pPr marL="2513861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0926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7992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057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700" b="1" i="0">
                    <a:solidFill>
                      <a:schemeClr val="tx1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BACKGROUND 1</a:t>
                </a:r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700" b="1" i="0" dirty="0">
                    <a:solidFill>
                      <a:schemeClr val="tx1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R66 G66 B66</a:t>
                </a:r>
                <a:br>
                  <a:rPr lang="en-US" sz="700" b="1" i="0" dirty="0">
                    <a:solidFill>
                      <a:schemeClr val="tx1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</a:br>
                <a:r>
                  <a:rPr lang="tr-TR" sz="700" b="1" i="0" dirty="0">
                    <a:solidFill>
                      <a:schemeClr val="tx1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424242</a:t>
                </a:r>
                <a:endParaRPr lang="en-US" sz="700" b="1" i="0" dirty="0">
                  <a:solidFill>
                    <a:schemeClr val="tx1"/>
                  </a:solidFill>
                  <a:latin typeface="Segoe UI Semibold" charset="0"/>
                  <a:ea typeface="Segoe UI Semibold" charset="0"/>
                  <a:cs typeface="Segoe UI Semibold" charset="0"/>
                </a:endParaRPr>
              </a:p>
            </p:txBody>
          </p:sp>
        </p:grpSp>
        <p:sp>
          <p:nvSpPr>
            <p:cNvPr id="13" name="Text Placeholder 16"/>
            <p:cNvSpPr txBox="1">
              <a:spLocks/>
            </p:cNvSpPr>
            <p:nvPr/>
          </p:nvSpPr>
          <p:spPr>
            <a:xfrm>
              <a:off x="12559431" y="201180"/>
              <a:ext cx="973905" cy="25602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lIns="0" tIns="0" rIns="0" bIns="0" rtlCol="0">
              <a:noAutofit/>
            </a:bodyPr>
            <a:lstStyle>
              <a:lvl1pPr marL="0" indent="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bg1"/>
                </a:buClr>
                <a:buSzPct val="120000"/>
                <a:buFontTx/>
                <a:buNone/>
                <a:defRPr lang="en-US" sz="1800" b="0" i="0" kern="1200" dirty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1pPr>
              <a:lvl2pPr marL="228600" indent="-230188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lang="en-US" sz="20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2pPr>
              <a:lvl3pPr marL="457200" indent="-22860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lang="en-US" sz="17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3pPr>
              <a:lvl4pPr marL="685800" indent="-22860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tabLst/>
                <a:defRPr lang="en-US" sz="14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4pPr>
              <a:lvl5pPr marL="1254125" indent="-285750" algn="l" defTabSz="914132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bg2"/>
                </a:buClr>
                <a:buFont typeface="Arial"/>
                <a:buChar char="•"/>
                <a:defRPr lang="en-US" sz="1800" b="0" i="0" kern="1200" dirty="0">
                  <a:solidFill>
                    <a:schemeClr val="tx1"/>
                  </a:solidFill>
                  <a:effectLst/>
                  <a:latin typeface="Segoe UI Light" charset="0"/>
                  <a:ea typeface="+mn-ea"/>
                  <a:cs typeface="Segoe UI Light" charset="0"/>
                </a:defRPr>
              </a:lvl5pPr>
              <a:lvl6pPr marL="2513861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26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92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57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100" dirty="0">
                  <a:solidFill>
                    <a:schemeClr val="tx1"/>
                  </a:solidFill>
                </a:rPr>
                <a:t>Chart Colors</a:t>
              </a:r>
            </a:p>
          </p:txBody>
        </p:sp>
        <p:grpSp>
          <p:nvGrpSpPr>
            <p:cNvPr id="6" name="Group 5"/>
            <p:cNvGrpSpPr/>
            <p:nvPr userDrawn="1"/>
          </p:nvGrpSpPr>
          <p:grpSpPr>
            <a:xfrm>
              <a:off x="12481674" y="174765"/>
              <a:ext cx="899599" cy="830046"/>
              <a:chOff x="12481674" y="1038535"/>
              <a:chExt cx="899599" cy="830046"/>
            </a:xfrm>
          </p:grpSpPr>
          <p:sp>
            <p:nvSpPr>
              <p:cNvPr id="8" name="Rectangle 7"/>
              <p:cNvSpPr/>
              <p:nvPr/>
            </p:nvSpPr>
            <p:spPr>
              <a:xfrm>
                <a:off x="12481674" y="1038535"/>
                <a:ext cx="899599" cy="83004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endParaRPr lang="en-US" sz="900">
                  <a:solidFill>
                    <a:schemeClr val="tx1"/>
                  </a:solidFill>
                  <a:latin typeface="Segoe UI" charset="0"/>
                  <a:ea typeface="Segoe UI" charset="0"/>
                  <a:cs typeface="Segoe UI" charset="0"/>
                </a:endParaRPr>
              </a:p>
            </p:txBody>
          </p:sp>
          <p:sp>
            <p:nvSpPr>
              <p:cNvPr id="14" name="Content Placeholder 17"/>
              <p:cNvSpPr txBox="1">
                <a:spLocks/>
              </p:cNvSpPr>
              <p:nvPr/>
            </p:nvSpPr>
            <p:spPr>
              <a:xfrm>
                <a:off x="12538855" y="1075511"/>
                <a:ext cx="749483" cy="312688"/>
              </a:xfrm>
              <a:prstGeom prst="rect">
                <a:avLst/>
              </a:prstGeom>
            </p:spPr>
            <p:txBody>
              <a:bodyPr vert="horz" lIns="0" tIns="0" rIns="0" bIns="0" rtlCol="0" anchor="t" anchorCtr="0">
                <a:noAutofit/>
              </a:bodyPr>
              <a:lstStyle>
                <a:lvl1pPr marL="0" indent="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bg1"/>
                  </a:buClr>
                  <a:buSzPct val="120000"/>
                  <a:buFontTx/>
                  <a:buNone/>
                  <a:defRPr kumimoji="0" lang="en-US" sz="1800" b="1" i="0" u="none" strike="noStrike" kern="1200" cap="none" spc="0" normalizeH="0" baseline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/>
                    <a:ea typeface="Segoe UI" charset="0"/>
                    <a:cs typeface="+mn-cs"/>
                  </a:defRPr>
                </a:lvl1pPr>
                <a:lvl2pPr marL="228600" indent="-230188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20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2pPr>
                <a:lvl3pPr marL="4572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17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3pPr>
                <a:lvl4pPr marL="6858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tabLst/>
                  <a:defRPr lang="en-US" sz="14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4pPr>
                <a:lvl5pPr marL="1254125" indent="-285750" algn="l" defTabSz="914132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bg2"/>
                  </a:buClr>
                  <a:buFont typeface="Arial"/>
                  <a:buChar char="•"/>
                  <a:defRPr lang="en-US" sz="1800" b="0" i="0" kern="1200" dirty="0">
                    <a:solidFill>
                      <a:schemeClr val="tx1"/>
                    </a:solidFill>
                    <a:effectLst/>
                    <a:latin typeface="Segoe UI Light" charset="0"/>
                    <a:ea typeface="+mn-ea"/>
                    <a:cs typeface="Segoe UI Light" charset="0"/>
                  </a:defRPr>
                </a:lvl5pPr>
                <a:lvl6pPr marL="2513861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0926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7992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057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700" b="1" i="0" dirty="0">
                    <a:solidFill>
                      <a:schemeClr val="tx1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AZURE Blue</a:t>
                </a:r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700" b="1" i="0" dirty="0">
                    <a:solidFill>
                      <a:schemeClr val="tx1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R0 G120 B215</a:t>
                </a:r>
                <a:br>
                  <a:rPr lang="en-US" sz="700" b="1" i="0" dirty="0">
                    <a:solidFill>
                      <a:schemeClr val="tx1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</a:br>
                <a:r>
                  <a:rPr lang="tr-TR" sz="700" b="1" i="0" dirty="0">
                    <a:solidFill>
                      <a:schemeClr val="tx1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0078D7</a:t>
                </a:r>
                <a:endParaRPr lang="en-US" sz="700" b="1" i="0" dirty="0">
                  <a:solidFill>
                    <a:schemeClr val="tx1"/>
                  </a:solidFill>
                  <a:latin typeface="Segoe UI Semibold" charset="0"/>
                  <a:ea typeface="Segoe UI Semibold" charset="0"/>
                  <a:cs typeface="Segoe UI Semibold" charset="0"/>
                </a:endParaRPr>
              </a:p>
            </p:txBody>
          </p:sp>
        </p:grp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DCDFBAE3-68D9-4F23-BC09-995958797A9A}"/>
                </a:ext>
              </a:extLst>
            </p:cNvPr>
            <p:cNvGrpSpPr/>
            <p:nvPr userDrawn="1"/>
          </p:nvGrpSpPr>
          <p:grpSpPr>
            <a:xfrm>
              <a:off x="12482262" y="5456419"/>
              <a:ext cx="896684" cy="324884"/>
              <a:chOff x="12442099" y="7665719"/>
              <a:chExt cx="896684" cy="324884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12442099" y="7665719"/>
                <a:ext cx="896684" cy="308780"/>
              </a:xfrm>
              <a:prstGeom prst="rect">
                <a:avLst/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endParaRPr lang="en-US" sz="900" b="1" i="0">
                  <a:latin typeface="Segoe UI Semibold" charset="0"/>
                  <a:ea typeface="Segoe UI Semibold" charset="0"/>
                  <a:cs typeface="Segoe UI Semibold" charset="0"/>
                </a:endParaRPr>
              </a:p>
            </p:txBody>
          </p:sp>
          <p:sp>
            <p:nvSpPr>
              <p:cNvPr id="15" name="Content Placeholder 17"/>
              <p:cNvSpPr txBox="1">
                <a:spLocks/>
              </p:cNvSpPr>
              <p:nvPr/>
            </p:nvSpPr>
            <p:spPr>
              <a:xfrm>
                <a:off x="12500301" y="7707561"/>
                <a:ext cx="808679" cy="283042"/>
              </a:xfrm>
              <a:prstGeom prst="rect">
                <a:avLst/>
              </a:prstGeom>
            </p:spPr>
            <p:txBody>
              <a:bodyPr vert="horz" lIns="0" tIns="0" rIns="0" bIns="0" rtlCol="0" anchor="t" anchorCtr="0">
                <a:noAutofit/>
              </a:bodyPr>
              <a:lstStyle>
                <a:lvl1pPr marL="0" indent="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bg1"/>
                  </a:buClr>
                  <a:buSzPct val="120000"/>
                  <a:buFontTx/>
                  <a:buNone/>
                  <a:defRPr kumimoji="0" lang="en-US" sz="1800" b="1" i="0" u="none" strike="noStrike" kern="1200" cap="none" spc="0" normalizeH="0" baseline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/>
                    <a:ea typeface="Segoe UI" charset="0"/>
                    <a:cs typeface="+mn-cs"/>
                  </a:defRPr>
                </a:lvl1pPr>
                <a:lvl2pPr marL="228600" indent="-230188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20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2pPr>
                <a:lvl3pPr marL="4572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17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3pPr>
                <a:lvl4pPr marL="6858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tabLst/>
                  <a:defRPr lang="en-US" sz="14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4pPr>
                <a:lvl5pPr marL="1254125" indent="-285750" algn="l" defTabSz="914132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bg2"/>
                  </a:buClr>
                  <a:buFont typeface="Arial"/>
                  <a:buChar char="•"/>
                  <a:defRPr lang="en-US" sz="1800" b="0" i="0" kern="1200" dirty="0">
                    <a:solidFill>
                      <a:schemeClr val="tx1"/>
                    </a:solidFill>
                    <a:effectLst/>
                    <a:latin typeface="Segoe UI Light" charset="0"/>
                    <a:ea typeface="+mn-ea"/>
                    <a:cs typeface="Segoe UI Light" charset="0"/>
                  </a:defRPr>
                </a:lvl5pPr>
                <a:lvl6pPr marL="2513861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0926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7992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057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700" b="1" i="0" dirty="0">
                    <a:solidFill>
                      <a:schemeClr val="tx1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R0 G138 B249</a:t>
                </a:r>
                <a:br>
                  <a:rPr lang="en-US" sz="700" b="1" i="0" dirty="0">
                    <a:solidFill>
                      <a:schemeClr val="tx1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</a:br>
                <a:r>
                  <a:rPr lang="is-IS" sz="700" b="1" i="0" dirty="0">
                    <a:solidFill>
                      <a:schemeClr val="tx1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008AF9</a:t>
                </a:r>
                <a:endParaRPr lang="en-US" sz="700" b="1" i="0" dirty="0">
                  <a:solidFill>
                    <a:schemeClr val="tx1"/>
                  </a:solidFill>
                  <a:latin typeface="Segoe UI Semibold" charset="0"/>
                  <a:ea typeface="Segoe UI Semibold" charset="0"/>
                  <a:cs typeface="Segoe UI Semibold" charset="0"/>
                </a:endParaRPr>
              </a:p>
            </p:txBody>
          </p:sp>
        </p:grpSp>
        <p:grpSp>
          <p:nvGrpSpPr>
            <p:cNvPr id="59" name="Group 58"/>
            <p:cNvGrpSpPr/>
            <p:nvPr userDrawn="1"/>
          </p:nvGrpSpPr>
          <p:grpSpPr>
            <a:xfrm>
              <a:off x="12481674" y="1058688"/>
              <a:ext cx="896685" cy="830046"/>
              <a:chOff x="12481674" y="1905452"/>
              <a:chExt cx="896685" cy="830046"/>
            </a:xfrm>
          </p:grpSpPr>
          <p:sp>
            <p:nvSpPr>
              <p:cNvPr id="10" name="Rectangle 9"/>
              <p:cNvSpPr/>
              <p:nvPr/>
            </p:nvSpPr>
            <p:spPr>
              <a:xfrm>
                <a:off x="12481674" y="1905452"/>
                <a:ext cx="896685" cy="83004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endParaRPr lang="en-US" sz="900">
                  <a:latin typeface="Segoe UI" charset="0"/>
                  <a:ea typeface="Segoe UI" charset="0"/>
                  <a:cs typeface="Segoe UI" charset="0"/>
                </a:endParaRPr>
              </a:p>
            </p:txBody>
          </p:sp>
          <p:sp>
            <p:nvSpPr>
              <p:cNvPr id="16" name="Content Placeholder 17"/>
              <p:cNvSpPr txBox="1">
                <a:spLocks/>
              </p:cNvSpPr>
              <p:nvPr/>
            </p:nvSpPr>
            <p:spPr>
              <a:xfrm>
                <a:off x="12538855" y="1949994"/>
                <a:ext cx="749483" cy="312688"/>
              </a:xfrm>
              <a:prstGeom prst="rect">
                <a:avLst/>
              </a:prstGeom>
            </p:spPr>
            <p:txBody>
              <a:bodyPr vert="horz" lIns="0" tIns="0" rIns="0" bIns="0" rtlCol="0" anchor="t" anchorCtr="0">
                <a:noAutofit/>
              </a:bodyPr>
              <a:lstStyle>
                <a:lvl1pPr marL="0" indent="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bg1"/>
                  </a:buClr>
                  <a:buSzPct val="120000"/>
                  <a:buFontTx/>
                  <a:buNone/>
                  <a:defRPr kumimoji="0" lang="en-US" sz="1800" b="1" i="0" u="none" strike="noStrike" kern="1200" cap="none" spc="0" normalizeH="0" baseline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/>
                    <a:ea typeface="Segoe UI" charset="0"/>
                    <a:cs typeface="+mn-cs"/>
                  </a:defRPr>
                </a:lvl1pPr>
                <a:lvl2pPr marL="228600" indent="-230188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20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2pPr>
                <a:lvl3pPr marL="4572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17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3pPr>
                <a:lvl4pPr marL="6858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tabLst/>
                  <a:defRPr lang="en-US" sz="14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4pPr>
                <a:lvl5pPr marL="1254125" indent="-285750" algn="l" defTabSz="914132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bg2"/>
                  </a:buClr>
                  <a:buFont typeface="Arial"/>
                  <a:buChar char="•"/>
                  <a:defRPr lang="en-US" sz="1800" b="0" i="0" kern="1200" dirty="0">
                    <a:solidFill>
                      <a:schemeClr val="tx1"/>
                    </a:solidFill>
                    <a:effectLst/>
                    <a:latin typeface="Segoe UI Light" charset="0"/>
                    <a:ea typeface="+mn-ea"/>
                    <a:cs typeface="Segoe UI Light" charset="0"/>
                  </a:defRPr>
                </a:lvl5pPr>
                <a:lvl6pPr marL="2513861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0926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7992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057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700" b="1" i="0" dirty="0">
                    <a:solidFill>
                      <a:schemeClr val="tx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Medium Blue</a:t>
                </a:r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700" b="1" i="0" dirty="0">
                    <a:solidFill>
                      <a:schemeClr val="tx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R77 G176 B255</a:t>
                </a:r>
                <a:br>
                  <a:rPr lang="en-US" sz="700" b="1" i="0" dirty="0">
                    <a:solidFill>
                      <a:schemeClr val="tx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</a:br>
                <a:r>
                  <a:rPr lang="cs-CZ" sz="700" b="1" i="0" dirty="0">
                    <a:solidFill>
                      <a:schemeClr val="tx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4DB0FF</a:t>
                </a:r>
                <a:endParaRPr lang="en-US" sz="700" b="1" i="0" dirty="0">
                  <a:solidFill>
                    <a:schemeClr val="tx2"/>
                  </a:solidFill>
                  <a:latin typeface="Segoe UI Semibold" charset="0"/>
                  <a:ea typeface="Segoe UI Semibold" charset="0"/>
                  <a:cs typeface="Segoe UI Semibold" charset="0"/>
                </a:endParaRPr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DC330CFF-4FDE-4352-9D1C-62BD69F6DBA6}"/>
                </a:ext>
              </a:extLst>
            </p:cNvPr>
            <p:cNvGrpSpPr/>
            <p:nvPr userDrawn="1"/>
          </p:nvGrpSpPr>
          <p:grpSpPr>
            <a:xfrm rot="5400000">
              <a:off x="12753338" y="5555171"/>
              <a:ext cx="354532" cy="896684"/>
              <a:chOff x="12516568" y="4568745"/>
              <a:chExt cx="354532" cy="896684"/>
            </a:xfrm>
          </p:grpSpPr>
          <p:sp>
            <p:nvSpPr>
              <p:cNvPr id="11" name="Rectangle 10"/>
              <p:cNvSpPr/>
              <p:nvPr/>
            </p:nvSpPr>
            <p:spPr>
              <a:xfrm rot="16200000">
                <a:off x="12222616" y="4862697"/>
                <a:ext cx="896684" cy="308780"/>
              </a:xfrm>
              <a:prstGeom prst="rect">
                <a:avLst/>
              </a:prstGeom>
              <a:solidFill>
                <a:srgbClr val="94D0FF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endParaRPr lang="en-US" sz="900" b="1" i="0">
                  <a:latin typeface="Segoe UI Semibold" charset="0"/>
                  <a:ea typeface="Segoe UI Semibold" charset="0"/>
                  <a:cs typeface="Segoe UI Semibold" charset="0"/>
                </a:endParaRPr>
              </a:p>
            </p:txBody>
          </p:sp>
          <p:sp>
            <p:nvSpPr>
              <p:cNvPr id="17" name="Content Placeholder 17"/>
              <p:cNvSpPr txBox="1">
                <a:spLocks/>
              </p:cNvSpPr>
              <p:nvPr/>
            </p:nvSpPr>
            <p:spPr>
              <a:xfrm rot="16200000">
                <a:off x="12340014" y="4888515"/>
                <a:ext cx="749483" cy="312688"/>
              </a:xfrm>
              <a:prstGeom prst="rect">
                <a:avLst/>
              </a:prstGeom>
            </p:spPr>
            <p:txBody>
              <a:bodyPr vert="horz" lIns="0" tIns="0" rIns="0" bIns="0" rtlCol="0" anchor="t" anchorCtr="0">
                <a:noAutofit/>
              </a:bodyPr>
              <a:lstStyle>
                <a:lvl1pPr marL="0" indent="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bg1"/>
                  </a:buClr>
                  <a:buSzPct val="120000"/>
                  <a:buFontTx/>
                  <a:buNone/>
                  <a:defRPr kumimoji="0" lang="en-US" sz="1800" b="1" i="0" u="none" strike="noStrike" kern="1200" cap="none" spc="0" normalizeH="0" baseline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/>
                    <a:ea typeface="Segoe UI" charset="0"/>
                    <a:cs typeface="+mn-cs"/>
                  </a:defRPr>
                </a:lvl1pPr>
                <a:lvl2pPr marL="228600" indent="-230188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20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2pPr>
                <a:lvl3pPr marL="4572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17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3pPr>
                <a:lvl4pPr marL="6858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tabLst/>
                  <a:defRPr lang="en-US" sz="14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4pPr>
                <a:lvl5pPr marL="1254125" indent="-285750" algn="l" defTabSz="914132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bg2"/>
                  </a:buClr>
                  <a:buFont typeface="Arial"/>
                  <a:buChar char="•"/>
                  <a:defRPr lang="en-US" sz="1800" b="0" i="0" kern="1200" dirty="0">
                    <a:solidFill>
                      <a:schemeClr val="tx1"/>
                    </a:solidFill>
                    <a:effectLst/>
                    <a:latin typeface="Segoe UI Light" charset="0"/>
                    <a:ea typeface="+mn-ea"/>
                    <a:cs typeface="Segoe UI Light" charset="0"/>
                  </a:defRPr>
                </a:lvl5pPr>
                <a:lvl6pPr marL="2513861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0926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7992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057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700" b="1" i="0" dirty="0">
                    <a:solidFill>
                      <a:schemeClr val="tx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R148 G208 B255</a:t>
                </a:r>
                <a:br>
                  <a:rPr lang="en-US" sz="700" b="1" i="0" dirty="0">
                    <a:solidFill>
                      <a:schemeClr val="tx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</a:br>
                <a:r>
                  <a:rPr lang="en-US" sz="700" b="1" i="0" dirty="0">
                    <a:solidFill>
                      <a:schemeClr val="tx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94D0FF</a:t>
                </a:r>
              </a:p>
            </p:txBody>
          </p:sp>
        </p:grpSp>
        <p:sp>
          <p:nvSpPr>
            <p:cNvPr id="12" name="Rectangle 11"/>
            <p:cNvSpPr/>
            <p:nvPr/>
          </p:nvSpPr>
          <p:spPr>
            <a:xfrm>
              <a:off x="12481674" y="1941403"/>
              <a:ext cx="890209" cy="830046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 lang="en-US" sz="900">
                <a:latin typeface="Segoe UI" charset="0"/>
                <a:ea typeface="Segoe UI" charset="0"/>
                <a:cs typeface="Segoe UI" charset="0"/>
              </a:endParaRPr>
            </a:p>
          </p:txBody>
        </p:sp>
        <p:sp>
          <p:nvSpPr>
            <p:cNvPr id="18" name="Content Placeholder 17"/>
            <p:cNvSpPr txBox="1">
              <a:spLocks/>
            </p:cNvSpPr>
            <p:nvPr/>
          </p:nvSpPr>
          <p:spPr>
            <a:xfrm>
              <a:off x="12538855" y="1998507"/>
              <a:ext cx="749483" cy="312688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0" indent="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bg1"/>
                </a:buClr>
                <a:buSzPct val="120000"/>
                <a:buFontTx/>
                <a:buNone/>
                <a:defRPr kumimoji="0" lang="en-US" sz="1800" b="1" i="0" u="none" strike="noStrike" kern="1200" cap="none" spc="0" normalizeH="0" baseline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Segoe UI Light"/>
                  <a:ea typeface="Segoe UI" charset="0"/>
                  <a:cs typeface="+mn-cs"/>
                </a:defRPr>
              </a:lvl1pPr>
              <a:lvl2pPr marL="228600" indent="-230188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lang="en-US" sz="20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2pPr>
              <a:lvl3pPr marL="457200" indent="-22860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lang="en-US" sz="17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3pPr>
              <a:lvl4pPr marL="685800" indent="-22860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tabLst/>
                <a:defRPr lang="en-US" sz="14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4pPr>
              <a:lvl5pPr marL="1254125" indent="-285750" algn="l" defTabSz="914132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bg2"/>
                </a:buClr>
                <a:buFont typeface="Arial"/>
                <a:buChar char="•"/>
                <a:defRPr lang="en-US" sz="1800" b="0" i="0" kern="1200" dirty="0">
                  <a:solidFill>
                    <a:schemeClr val="tx1"/>
                  </a:solidFill>
                  <a:effectLst/>
                  <a:latin typeface="Segoe UI Light" charset="0"/>
                  <a:ea typeface="+mn-ea"/>
                  <a:cs typeface="Segoe UI Light" charset="0"/>
                </a:defRPr>
              </a:lvl5pPr>
              <a:lvl6pPr marL="2513861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26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92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57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700" b="1" i="0" dirty="0">
                  <a:solidFill>
                    <a:schemeClr val="tx2"/>
                  </a:solidFill>
                  <a:latin typeface="Segoe UI Semibold" charset="0"/>
                  <a:ea typeface="Segoe UI Semibold" charset="0"/>
                  <a:cs typeface="Segoe UI Semibold" charset="0"/>
                </a:rPr>
                <a:t>Light Blue</a:t>
              </a:r>
            </a:p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700" b="1" i="0" dirty="0">
                  <a:solidFill>
                    <a:schemeClr val="tx2"/>
                  </a:solidFill>
                  <a:latin typeface="Segoe UI Semibold" charset="0"/>
                  <a:ea typeface="Segoe UI Semibold" charset="0"/>
                  <a:cs typeface="Segoe UI Semibold" charset="0"/>
                </a:rPr>
                <a:t>R177 G214 B242</a:t>
              </a:r>
              <a:br>
                <a:rPr lang="en-US" sz="700" b="1" i="0" dirty="0">
                  <a:solidFill>
                    <a:schemeClr val="tx2"/>
                  </a:solidFill>
                  <a:latin typeface="Segoe UI Semibold" charset="0"/>
                  <a:ea typeface="Segoe UI Semibold" charset="0"/>
                  <a:cs typeface="Segoe UI Semibold" charset="0"/>
                </a:rPr>
              </a:br>
              <a:r>
                <a:rPr lang="en-US" sz="700" b="1" i="0" dirty="0">
                  <a:solidFill>
                    <a:schemeClr val="tx2"/>
                  </a:solidFill>
                  <a:latin typeface="Segoe UI Semibold" charset="0"/>
                  <a:ea typeface="Segoe UI Semibold" charset="0"/>
                  <a:cs typeface="Segoe UI Semibold" charset="0"/>
                </a:rPr>
                <a:t>B1D6F2</a:t>
              </a:r>
            </a:p>
          </p:txBody>
        </p:sp>
        <p:sp>
          <p:nvSpPr>
            <p:cNvPr id="64" name="Content Placeholder 17"/>
            <p:cNvSpPr txBox="1">
              <a:spLocks/>
            </p:cNvSpPr>
            <p:nvPr userDrawn="1"/>
          </p:nvSpPr>
          <p:spPr>
            <a:xfrm>
              <a:off x="12484913" y="4810897"/>
              <a:ext cx="803425" cy="246338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0" indent="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bg1"/>
                </a:buClr>
                <a:buSzPct val="120000"/>
                <a:buFontTx/>
                <a:buNone/>
                <a:defRPr kumimoji="0" lang="en-US" sz="1800" b="1" i="0" u="none" strike="noStrike" kern="1200" cap="none" spc="0" normalizeH="0" baseline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Segoe UI Light"/>
                  <a:ea typeface="Segoe UI" charset="0"/>
                  <a:cs typeface="+mn-cs"/>
                </a:defRPr>
              </a:lvl1pPr>
              <a:lvl2pPr marL="228600" indent="-230188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lang="en-US" sz="20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2pPr>
              <a:lvl3pPr marL="457200" indent="-22860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lang="en-US" sz="17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3pPr>
              <a:lvl4pPr marL="685800" indent="-22860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tabLst/>
                <a:defRPr lang="en-US" sz="14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4pPr>
              <a:lvl5pPr marL="1254125" indent="-285750" algn="l" defTabSz="914132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bg2"/>
                </a:buClr>
                <a:buFont typeface="Arial"/>
                <a:buChar char="•"/>
                <a:defRPr lang="en-US" sz="1800" b="0" i="0" kern="1200" dirty="0">
                  <a:solidFill>
                    <a:schemeClr val="tx1"/>
                  </a:solidFill>
                  <a:effectLst/>
                  <a:latin typeface="Segoe UI Light" charset="0"/>
                  <a:ea typeface="+mn-ea"/>
                  <a:cs typeface="Segoe UI Light" charset="0"/>
                </a:defRPr>
              </a:lvl5pPr>
              <a:lvl6pPr marL="2513861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26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92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57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700" b="1" i="0" dirty="0">
                  <a:solidFill>
                    <a:schemeClr val="tx2"/>
                  </a:solidFill>
                  <a:latin typeface="Segoe UI Semibold" charset="0"/>
                  <a:ea typeface="Segoe UI Semibold" charset="0"/>
                  <a:cs typeface="Segoe UI Semibold" charset="0"/>
                </a:rPr>
                <a:t>Secondary (Chart) Colors</a:t>
              </a: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5555B8AF-F664-4114-91EF-FDD01AB85822}"/>
                </a:ext>
              </a:extLst>
            </p:cNvPr>
            <p:cNvGrpSpPr/>
            <p:nvPr userDrawn="1"/>
          </p:nvGrpSpPr>
          <p:grpSpPr>
            <a:xfrm rot="5400000">
              <a:off x="12751547" y="6295566"/>
              <a:ext cx="354531" cy="887798"/>
              <a:chOff x="12516569" y="1875457"/>
              <a:chExt cx="354531" cy="911749"/>
            </a:xfrm>
          </p:grpSpPr>
          <p:sp>
            <p:nvSpPr>
              <p:cNvPr id="20" name="Rectangle 19"/>
              <p:cNvSpPr/>
              <p:nvPr userDrawn="1"/>
            </p:nvSpPr>
            <p:spPr>
              <a:xfrm rot="16200000">
                <a:off x="12215084" y="2176942"/>
                <a:ext cx="911749" cy="308780"/>
              </a:xfrm>
              <a:prstGeom prst="rect">
                <a:avLst/>
              </a:prstGeom>
              <a:solidFill>
                <a:schemeClr val="bg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endParaRPr lang="en-US" sz="900" b="1" i="0">
                  <a:latin typeface="Segoe UI Semibold" charset="0"/>
                  <a:ea typeface="Segoe UI Semibold" charset="0"/>
                  <a:cs typeface="Segoe UI Semibold" charset="0"/>
                </a:endParaRPr>
              </a:p>
            </p:txBody>
          </p:sp>
          <p:sp>
            <p:nvSpPr>
              <p:cNvPr id="24" name="Content Placeholder 17"/>
              <p:cNvSpPr txBox="1">
                <a:spLocks/>
              </p:cNvSpPr>
              <p:nvPr userDrawn="1"/>
            </p:nvSpPr>
            <p:spPr>
              <a:xfrm rot="16200000">
                <a:off x="12340014" y="2196348"/>
                <a:ext cx="749483" cy="312688"/>
              </a:xfrm>
              <a:prstGeom prst="rect">
                <a:avLst/>
              </a:prstGeom>
            </p:spPr>
            <p:txBody>
              <a:bodyPr vert="horz" lIns="0" tIns="0" rIns="0" bIns="0" rtlCol="0" anchor="t" anchorCtr="0">
                <a:noAutofit/>
              </a:bodyPr>
              <a:lstStyle>
                <a:lvl1pPr marL="0" indent="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bg1"/>
                  </a:buClr>
                  <a:buSzPct val="120000"/>
                  <a:buFontTx/>
                  <a:buNone/>
                  <a:defRPr kumimoji="0" lang="en-US" sz="1800" b="1" i="0" u="none" strike="noStrike" kern="1200" cap="none" spc="0" normalizeH="0" baseline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/>
                    <a:ea typeface="Segoe UI" charset="0"/>
                    <a:cs typeface="+mn-cs"/>
                  </a:defRPr>
                </a:lvl1pPr>
                <a:lvl2pPr marL="228600" indent="-230188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20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2pPr>
                <a:lvl3pPr marL="4572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17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3pPr>
                <a:lvl4pPr marL="6858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tabLst/>
                  <a:defRPr lang="en-US" sz="14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4pPr>
                <a:lvl5pPr marL="1254125" indent="-285750" algn="l" defTabSz="914132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bg2"/>
                  </a:buClr>
                  <a:buFont typeface="Arial"/>
                  <a:buChar char="•"/>
                  <a:defRPr lang="en-US" sz="1800" b="0" i="0" kern="1200" dirty="0">
                    <a:solidFill>
                      <a:schemeClr val="tx1"/>
                    </a:solidFill>
                    <a:effectLst/>
                    <a:latin typeface="Segoe UI Light" charset="0"/>
                    <a:ea typeface="+mn-ea"/>
                    <a:cs typeface="Segoe UI Light" charset="0"/>
                  </a:defRPr>
                </a:lvl5pPr>
                <a:lvl6pPr marL="2513861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0926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7992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057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700" b="1" i="0" dirty="0">
                    <a:solidFill>
                      <a:schemeClr val="tx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R217 G217 B217</a:t>
                </a:r>
                <a:br>
                  <a:rPr lang="en-US" sz="700" b="1" i="0" dirty="0">
                    <a:solidFill>
                      <a:schemeClr val="tx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</a:br>
                <a:r>
                  <a:rPr lang="en-US" sz="700" b="1" i="0" dirty="0">
                    <a:solidFill>
                      <a:schemeClr val="tx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D9D9D9</a:t>
                </a:r>
              </a:p>
            </p:txBody>
          </p:sp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3371ED8C-D29F-4855-89B3-9562BCBD74AF}"/>
                </a:ext>
              </a:extLst>
            </p:cNvPr>
            <p:cNvGrpSpPr/>
            <p:nvPr userDrawn="1"/>
          </p:nvGrpSpPr>
          <p:grpSpPr>
            <a:xfrm rot="5400000">
              <a:off x="12749513" y="4819221"/>
              <a:ext cx="354532" cy="896684"/>
              <a:chOff x="12494037" y="985248"/>
              <a:chExt cx="354532" cy="896684"/>
            </a:xfrm>
          </p:grpSpPr>
          <p:sp>
            <p:nvSpPr>
              <p:cNvPr id="21" name="Rectangle 20"/>
              <p:cNvSpPr/>
              <p:nvPr userDrawn="1"/>
            </p:nvSpPr>
            <p:spPr>
              <a:xfrm rot="16200000">
                <a:off x="12200085" y="1279200"/>
                <a:ext cx="896684" cy="30878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endParaRPr lang="en-US" sz="900" b="1" i="0">
                  <a:latin typeface="Segoe UI Semibold" charset="0"/>
                  <a:ea typeface="Segoe UI Semibold" charset="0"/>
                  <a:cs typeface="Segoe UI Semibold" charset="0"/>
                </a:endParaRPr>
              </a:p>
            </p:txBody>
          </p:sp>
          <p:sp>
            <p:nvSpPr>
              <p:cNvPr id="25" name="Content Placeholder 17"/>
              <p:cNvSpPr txBox="1">
                <a:spLocks/>
              </p:cNvSpPr>
              <p:nvPr userDrawn="1"/>
            </p:nvSpPr>
            <p:spPr>
              <a:xfrm rot="16200000">
                <a:off x="12317483" y="1305019"/>
                <a:ext cx="749483" cy="312688"/>
              </a:xfrm>
              <a:prstGeom prst="rect">
                <a:avLst/>
              </a:prstGeom>
            </p:spPr>
            <p:txBody>
              <a:bodyPr vert="horz" lIns="0" tIns="0" rIns="0" bIns="0" rtlCol="0" anchor="t" anchorCtr="0">
                <a:noAutofit/>
              </a:bodyPr>
              <a:lstStyle>
                <a:lvl1pPr marL="0" indent="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bg1"/>
                  </a:buClr>
                  <a:buSzPct val="120000"/>
                  <a:buFontTx/>
                  <a:buNone/>
                  <a:defRPr kumimoji="0" lang="en-US" sz="1800" b="1" i="0" u="none" strike="noStrike" kern="1200" cap="none" spc="0" normalizeH="0" baseline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/>
                    <a:ea typeface="Segoe UI" charset="0"/>
                    <a:cs typeface="+mn-cs"/>
                  </a:defRPr>
                </a:lvl1pPr>
                <a:lvl2pPr marL="228600" indent="-230188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20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2pPr>
                <a:lvl3pPr marL="4572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17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3pPr>
                <a:lvl4pPr marL="6858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tabLst/>
                  <a:defRPr lang="en-US" sz="14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4pPr>
                <a:lvl5pPr marL="1254125" indent="-285750" algn="l" defTabSz="914132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bg2"/>
                  </a:buClr>
                  <a:buFont typeface="Arial"/>
                  <a:buChar char="•"/>
                  <a:defRPr lang="en-US" sz="1800" b="0" i="0" kern="1200" dirty="0">
                    <a:solidFill>
                      <a:schemeClr val="tx1"/>
                    </a:solidFill>
                    <a:effectLst/>
                    <a:latin typeface="Segoe UI Light" charset="0"/>
                    <a:ea typeface="+mn-ea"/>
                    <a:cs typeface="Segoe UI Light" charset="0"/>
                  </a:defRPr>
                </a:lvl5pPr>
                <a:lvl6pPr marL="2513861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0926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7992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057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700" b="1" i="0" dirty="0">
                    <a:solidFill>
                      <a:schemeClr val="bg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R3 G90 B160</a:t>
                </a:r>
                <a:br>
                  <a:rPr lang="en-US" sz="700" b="1" i="0" dirty="0">
                    <a:solidFill>
                      <a:schemeClr val="bg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</a:br>
                <a:r>
                  <a:rPr lang="en-US" sz="700" b="1" i="0" dirty="0">
                    <a:solidFill>
                      <a:schemeClr val="bg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0359A0</a:t>
                </a:r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B6F8C03F-B065-4D7E-A94A-2F3C1CB6E429}"/>
                </a:ext>
              </a:extLst>
            </p:cNvPr>
            <p:cNvGrpSpPr/>
            <p:nvPr userDrawn="1"/>
          </p:nvGrpSpPr>
          <p:grpSpPr>
            <a:xfrm rot="5400000">
              <a:off x="12749513" y="5928237"/>
              <a:ext cx="354531" cy="890209"/>
              <a:chOff x="12516569" y="100392"/>
              <a:chExt cx="354531" cy="890209"/>
            </a:xfrm>
          </p:grpSpPr>
          <p:sp>
            <p:nvSpPr>
              <p:cNvPr id="22" name="Rectangle 21"/>
              <p:cNvSpPr/>
              <p:nvPr userDrawn="1"/>
            </p:nvSpPr>
            <p:spPr>
              <a:xfrm rot="16200000">
                <a:off x="12225854" y="391107"/>
                <a:ext cx="890209" cy="308780"/>
              </a:xfrm>
              <a:prstGeom prst="rect">
                <a:avLst/>
              </a:prstGeom>
              <a:solidFill>
                <a:srgbClr val="797979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endParaRPr lang="en-US" sz="900" b="1" i="0">
                  <a:latin typeface="Segoe UI Semibold" charset="0"/>
                  <a:ea typeface="Segoe UI Semibold" charset="0"/>
                  <a:cs typeface="Segoe UI Semibold" charset="0"/>
                </a:endParaRPr>
              </a:p>
            </p:txBody>
          </p:sp>
          <p:sp>
            <p:nvSpPr>
              <p:cNvPr id="26" name="Content Placeholder 17"/>
              <p:cNvSpPr txBox="1">
                <a:spLocks/>
              </p:cNvSpPr>
              <p:nvPr userDrawn="1"/>
            </p:nvSpPr>
            <p:spPr>
              <a:xfrm rot="16200000">
                <a:off x="12340014" y="402335"/>
                <a:ext cx="749483" cy="312688"/>
              </a:xfrm>
              <a:prstGeom prst="rect">
                <a:avLst/>
              </a:prstGeom>
            </p:spPr>
            <p:txBody>
              <a:bodyPr vert="horz" lIns="0" tIns="0" rIns="0" bIns="0" rtlCol="0" anchor="t" anchorCtr="0">
                <a:noAutofit/>
              </a:bodyPr>
              <a:lstStyle>
                <a:lvl1pPr marL="0" indent="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bg1"/>
                  </a:buClr>
                  <a:buSzPct val="120000"/>
                  <a:buFontTx/>
                  <a:buNone/>
                  <a:defRPr kumimoji="0" lang="en-US" sz="1800" b="1" i="0" u="none" strike="noStrike" kern="1200" cap="none" spc="0" normalizeH="0" baseline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/>
                    <a:ea typeface="Segoe UI" charset="0"/>
                    <a:cs typeface="+mn-cs"/>
                  </a:defRPr>
                </a:lvl1pPr>
                <a:lvl2pPr marL="228600" indent="-230188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20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2pPr>
                <a:lvl3pPr marL="4572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17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3pPr>
                <a:lvl4pPr marL="6858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tabLst/>
                  <a:defRPr lang="en-US" sz="14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4pPr>
                <a:lvl5pPr marL="1254125" indent="-285750" algn="l" defTabSz="914132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bg2"/>
                  </a:buClr>
                  <a:buFont typeface="Arial"/>
                  <a:buChar char="•"/>
                  <a:defRPr lang="en-US" sz="1800" b="0" i="0" kern="1200" dirty="0">
                    <a:solidFill>
                      <a:schemeClr val="tx1"/>
                    </a:solidFill>
                    <a:effectLst/>
                    <a:latin typeface="Segoe UI Light" charset="0"/>
                    <a:ea typeface="+mn-ea"/>
                    <a:cs typeface="Segoe UI Light" charset="0"/>
                  </a:defRPr>
                </a:lvl5pPr>
                <a:lvl6pPr marL="2513861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0926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7992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057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700" b="1" i="0" dirty="0">
                    <a:solidFill>
                      <a:schemeClr val="bg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R121 G121 B121</a:t>
                </a:r>
                <a:br>
                  <a:rPr lang="en-US" sz="700" b="1" i="0" dirty="0">
                    <a:solidFill>
                      <a:schemeClr val="bg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</a:br>
                <a:r>
                  <a:rPr lang="fi-FI" sz="700" b="1" i="0" dirty="0">
                    <a:solidFill>
                      <a:schemeClr val="bg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797979</a:t>
                </a:r>
                <a:endParaRPr lang="en-US" sz="700" b="1" i="0" dirty="0">
                  <a:solidFill>
                    <a:schemeClr val="bg2"/>
                  </a:solidFill>
                  <a:latin typeface="Segoe UI Semibold" charset="0"/>
                  <a:ea typeface="Segoe UI Semibold" charset="0"/>
                  <a:cs typeface="Segoe UI Semibold" charset="0"/>
                </a:endParaRPr>
              </a:p>
            </p:txBody>
          </p:sp>
        </p:grpSp>
        <p:grpSp>
          <p:nvGrpSpPr>
            <p:cNvPr id="61" name="Group 60"/>
            <p:cNvGrpSpPr/>
            <p:nvPr userDrawn="1"/>
          </p:nvGrpSpPr>
          <p:grpSpPr>
            <a:xfrm>
              <a:off x="12481674" y="3709179"/>
              <a:ext cx="890209" cy="830046"/>
              <a:chOff x="12481674" y="2772369"/>
              <a:chExt cx="890209" cy="830046"/>
            </a:xfrm>
          </p:grpSpPr>
          <p:sp>
            <p:nvSpPr>
              <p:cNvPr id="62" name="Rectangle 61"/>
              <p:cNvSpPr/>
              <p:nvPr/>
            </p:nvSpPr>
            <p:spPr>
              <a:xfrm>
                <a:off x="12481674" y="2772369"/>
                <a:ext cx="890209" cy="830046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endParaRPr lang="en-US" sz="900">
                  <a:latin typeface="Segoe UI" charset="0"/>
                  <a:ea typeface="Segoe UI" charset="0"/>
                  <a:cs typeface="Segoe UI" charset="0"/>
                </a:endParaRPr>
              </a:p>
            </p:txBody>
          </p:sp>
          <p:sp>
            <p:nvSpPr>
              <p:cNvPr id="63" name="Content Placeholder 17"/>
              <p:cNvSpPr txBox="1">
                <a:spLocks/>
              </p:cNvSpPr>
              <p:nvPr/>
            </p:nvSpPr>
            <p:spPr>
              <a:xfrm>
                <a:off x="12538855" y="2822450"/>
                <a:ext cx="749483" cy="312688"/>
              </a:xfrm>
              <a:prstGeom prst="rect">
                <a:avLst/>
              </a:prstGeom>
            </p:spPr>
            <p:txBody>
              <a:bodyPr vert="horz" lIns="0" tIns="0" rIns="0" bIns="0" rtlCol="0" anchor="t" anchorCtr="0">
                <a:noAutofit/>
              </a:bodyPr>
              <a:lstStyle>
                <a:lvl1pPr marL="0" indent="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bg1"/>
                  </a:buClr>
                  <a:buSzPct val="120000"/>
                  <a:buFontTx/>
                  <a:buNone/>
                  <a:defRPr kumimoji="0" lang="en-US" sz="1800" b="1" i="0" u="none" strike="noStrike" kern="1200" cap="none" spc="0" normalizeH="0" baseline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/>
                    <a:ea typeface="Segoe UI" charset="0"/>
                    <a:cs typeface="+mn-cs"/>
                  </a:defRPr>
                </a:lvl1pPr>
                <a:lvl2pPr marL="228600" indent="-230188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20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2pPr>
                <a:lvl3pPr marL="4572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17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3pPr>
                <a:lvl4pPr marL="6858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tabLst/>
                  <a:defRPr lang="en-US" sz="14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4pPr>
                <a:lvl5pPr marL="1254125" indent="-285750" algn="l" defTabSz="914132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bg2"/>
                  </a:buClr>
                  <a:buFont typeface="Arial"/>
                  <a:buChar char="•"/>
                  <a:defRPr lang="en-US" sz="1800" b="0" i="0" kern="1200" dirty="0">
                    <a:solidFill>
                      <a:schemeClr val="tx1"/>
                    </a:solidFill>
                    <a:effectLst/>
                    <a:latin typeface="Segoe UI Light" charset="0"/>
                    <a:ea typeface="+mn-ea"/>
                    <a:cs typeface="Segoe UI Light" charset="0"/>
                  </a:defRPr>
                </a:lvl5pPr>
                <a:lvl6pPr marL="2513861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0926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7992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057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700" b="1" i="0">
                    <a:solidFill>
                      <a:schemeClr val="tx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BACKGROUND 2</a:t>
                </a:r>
                <a:endParaRPr lang="en-US" sz="700" b="1" i="0" dirty="0">
                  <a:solidFill>
                    <a:schemeClr val="tx2"/>
                  </a:solidFill>
                  <a:latin typeface="Segoe UI Semibold" charset="0"/>
                  <a:ea typeface="Segoe UI Semibold" charset="0"/>
                  <a:cs typeface="Segoe UI Semibold" charset="0"/>
                </a:endParaRPr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700" b="1" i="0" dirty="0">
                    <a:solidFill>
                      <a:schemeClr val="tx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R233 G233 B233</a:t>
                </a:r>
                <a:br>
                  <a:rPr lang="en-US" sz="700" b="1" i="0" dirty="0">
                    <a:solidFill>
                      <a:schemeClr val="tx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</a:br>
                <a:r>
                  <a:rPr lang="en-US" sz="700" b="1" i="0" dirty="0">
                    <a:solidFill>
                      <a:schemeClr val="tx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E9E9E9</a:t>
                </a:r>
              </a:p>
            </p:txBody>
          </p:sp>
        </p:grpSp>
        <p:sp>
          <p:nvSpPr>
            <p:cNvPr id="65" name="Content Placeholder 17"/>
            <p:cNvSpPr txBox="1">
              <a:spLocks/>
            </p:cNvSpPr>
            <p:nvPr userDrawn="1"/>
          </p:nvSpPr>
          <p:spPr>
            <a:xfrm>
              <a:off x="12484913" y="16476"/>
              <a:ext cx="803425" cy="246338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0" indent="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bg1"/>
                </a:buClr>
                <a:buSzPct val="120000"/>
                <a:buFontTx/>
                <a:buNone/>
                <a:defRPr kumimoji="0" lang="en-US" sz="1800" b="1" i="0" u="none" strike="noStrike" kern="1200" cap="none" spc="0" normalizeH="0" baseline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Segoe UI Light"/>
                  <a:ea typeface="Segoe UI" charset="0"/>
                  <a:cs typeface="+mn-cs"/>
                </a:defRPr>
              </a:lvl1pPr>
              <a:lvl2pPr marL="228600" indent="-230188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lang="en-US" sz="20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2pPr>
              <a:lvl3pPr marL="457200" indent="-22860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lang="en-US" sz="17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3pPr>
              <a:lvl4pPr marL="685800" indent="-22860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tabLst/>
                <a:defRPr lang="en-US" sz="14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4pPr>
              <a:lvl5pPr marL="1254125" indent="-285750" algn="l" defTabSz="914132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bg2"/>
                </a:buClr>
                <a:buFont typeface="Arial"/>
                <a:buChar char="•"/>
                <a:defRPr lang="en-US" sz="1800" b="0" i="0" kern="1200" dirty="0">
                  <a:solidFill>
                    <a:schemeClr val="tx1"/>
                  </a:solidFill>
                  <a:effectLst/>
                  <a:latin typeface="Segoe UI Light" charset="0"/>
                  <a:ea typeface="+mn-ea"/>
                  <a:cs typeface="Segoe UI Light" charset="0"/>
                </a:defRPr>
              </a:lvl5pPr>
              <a:lvl6pPr marL="2513861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26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92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57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700" b="1" i="0" dirty="0">
                  <a:solidFill>
                    <a:schemeClr val="tx2"/>
                  </a:solidFill>
                  <a:latin typeface="Segoe UI Semibold" charset="0"/>
                  <a:ea typeface="Segoe UI Semibold" charset="0"/>
                  <a:cs typeface="Segoe UI Semibold" charset="0"/>
                </a:rPr>
                <a:t>Primary Colo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73490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3" r:id="rId1"/>
    <p:sldLayoutId id="2147483984" r:id="rId2"/>
    <p:sldLayoutId id="2147483985" r:id="rId3"/>
    <p:sldLayoutId id="2147483986" r:id="rId4"/>
    <p:sldLayoutId id="2147483987" r:id="rId5"/>
    <p:sldLayoutId id="2147483988" r:id="rId6"/>
    <p:sldLayoutId id="2147483989" r:id="rId7"/>
    <p:sldLayoutId id="2147483990" r:id="rId8"/>
    <p:sldLayoutId id="2147483991" r:id="rId9"/>
    <p:sldLayoutId id="2147483992" r:id="rId10"/>
    <p:sldLayoutId id="2147483993" r:id="rId11"/>
    <p:sldLayoutId id="2147483994" r:id="rId12"/>
    <p:sldLayoutId id="2147483995" r:id="rId13"/>
    <p:sldLayoutId id="2147483996" r:id="rId14"/>
    <p:sldLayoutId id="2147483997" r:id="rId15"/>
    <p:sldLayoutId id="2147483998" r:id="rId16"/>
    <p:sldLayoutId id="2147483999" r:id="rId17"/>
    <p:sldLayoutId id="2147484000" r:id="rId18"/>
    <p:sldLayoutId id="2147484001" r:id="rId19"/>
    <p:sldLayoutId id="2147484002" r:id="rId20"/>
    <p:sldLayoutId id="2147484003" r:id="rId21"/>
    <p:sldLayoutId id="2147484004" r:id="rId22"/>
    <p:sldLayoutId id="2147484005" r:id="rId23"/>
    <p:sldLayoutId id="2147484006" r:id="rId24"/>
    <p:sldLayoutId id="2147484007" r:id="rId25"/>
    <p:sldLayoutId id="2147484008" r:id="rId26"/>
    <p:sldLayoutId id="2147484009" r:id="rId27"/>
    <p:sldLayoutId id="2147484010" r:id="rId28"/>
    <p:sldLayoutId id="2147484011" r:id="rId29"/>
    <p:sldLayoutId id="2147484012" r:id="rId30"/>
    <p:sldLayoutId id="2147484013" r:id="rId31"/>
    <p:sldLayoutId id="2147484014" r:id="rId32"/>
  </p:sldLayoutIdLst>
  <p:hf sldNum="0" hdr="0" ftr="0" dt="0"/>
  <p:txStyles>
    <p:titleStyle>
      <a:lvl1pPr marL="0" indent="0" algn="l" defTabSz="914132" rtl="0" eaLnBrk="1" latinLnBrk="0" hangingPunct="1">
        <a:lnSpc>
          <a:spcPct val="90000"/>
        </a:lnSpc>
        <a:spcBef>
          <a:spcPct val="0"/>
        </a:spcBef>
        <a:buFont typeface="Arial" charset="0"/>
        <a:buNone/>
        <a:defRPr lang="en-US" sz="4400" b="1" i="0" kern="1200" spc="-100" baseline="0">
          <a:solidFill>
            <a:schemeClr val="tx1"/>
          </a:solidFill>
          <a:latin typeface="Segoe UI Semibold" charset="0"/>
          <a:ea typeface="Segoe UI Semibold" charset="0"/>
          <a:cs typeface="Segoe UI Semibold" charset="0"/>
        </a:defRPr>
      </a:lvl1pPr>
    </p:titleStyle>
    <p:bodyStyle>
      <a:lvl1pPr marL="0" indent="0" algn="l" defTabSz="914132" rtl="0" eaLnBrk="1" latinLnBrk="0" hangingPunct="1">
        <a:lnSpc>
          <a:spcPct val="110000"/>
        </a:lnSpc>
        <a:spcBef>
          <a:spcPts val="1200"/>
        </a:spcBef>
        <a:spcAft>
          <a:spcPts val="600"/>
        </a:spcAft>
        <a:buClr>
          <a:schemeClr val="bg1"/>
        </a:buClr>
        <a:buSzPct val="120000"/>
        <a:buFontTx/>
        <a:buNone/>
        <a:defRPr lang="en-US" sz="2800" b="1" i="0" kern="1200" dirty="0" smtClean="0">
          <a:solidFill>
            <a:schemeClr val="tx1"/>
          </a:solidFill>
          <a:effectLst/>
          <a:latin typeface="Segoe UI Semibold" charset="0"/>
          <a:ea typeface="Segoe UI Semibold" charset="0"/>
          <a:cs typeface="Segoe UI Semibold" charset="0"/>
        </a:defRPr>
      </a:lvl1pPr>
      <a:lvl2pPr marL="0" indent="0" algn="l" defTabSz="91413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SzPct val="110000"/>
        <a:buFont typeface="Arial" charset="0"/>
        <a:buNone/>
        <a:defRPr lang="en-US" sz="2000" b="0" i="0" kern="1200" dirty="0" smtClean="0">
          <a:solidFill>
            <a:schemeClr val="tx1"/>
          </a:solidFill>
          <a:effectLst/>
          <a:latin typeface="Segoe UI" charset="0"/>
          <a:ea typeface="Segoe UI" charset="0"/>
          <a:cs typeface="Segoe UI" charset="0"/>
        </a:defRPr>
      </a:lvl2pPr>
      <a:lvl3pPr marL="288925" indent="-222250" algn="l" defTabSz="91413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SzPct val="120000"/>
        <a:buFont typeface="Arial" charset="0"/>
        <a:buChar char="•"/>
        <a:defRPr lang="en-US" sz="2000" b="0" i="0" kern="1200" dirty="0" smtClean="0">
          <a:solidFill>
            <a:schemeClr val="tx1"/>
          </a:solidFill>
          <a:effectLst/>
          <a:latin typeface="Segoe UI" charset="0"/>
          <a:ea typeface="Segoe UI" charset="0"/>
          <a:cs typeface="Segoe UI" charset="0"/>
        </a:defRPr>
      </a:lvl3pPr>
      <a:lvl4pPr marL="631825" indent="-182880" algn="l" defTabSz="91413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charset="0"/>
        <a:buChar char="•"/>
        <a:tabLst/>
        <a:defRPr lang="en-US" sz="1800" b="0" i="0" kern="1200" dirty="0" smtClean="0">
          <a:solidFill>
            <a:schemeClr val="tx1"/>
          </a:solidFill>
          <a:effectLst/>
          <a:latin typeface="Segoe UI" charset="0"/>
          <a:ea typeface="Segoe UI" charset="0"/>
          <a:cs typeface="Segoe UI" charset="0"/>
        </a:defRPr>
      </a:lvl4pPr>
      <a:lvl5pPr marL="1162685" indent="-194310" algn="l" defTabSz="914132" rtl="0" eaLnBrk="1" latinLnBrk="0" hangingPunct="1">
        <a:lnSpc>
          <a:spcPct val="100000"/>
        </a:lnSpc>
        <a:spcBef>
          <a:spcPts val="500"/>
        </a:spcBef>
        <a:buClr>
          <a:schemeClr val="bg2"/>
        </a:buClr>
        <a:buFont typeface="Arial"/>
        <a:buChar char="•"/>
        <a:defRPr lang="en-US" sz="1600" b="0" i="0" kern="1200" dirty="0">
          <a:solidFill>
            <a:schemeClr val="tx1"/>
          </a:solidFill>
          <a:effectLst/>
          <a:latin typeface="Segoe UI" charset="0"/>
          <a:ea typeface="Segoe UI" charset="0"/>
          <a:cs typeface="Segoe UI" charset="0"/>
        </a:defRPr>
      </a:lvl5pPr>
      <a:lvl6pPr marL="1965221" indent="-228533" algn="l" defTabSz="914132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926" indent="-228533" algn="l" defTabSz="9141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992" indent="-228533" algn="l" defTabSz="9141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057" indent="-228533" algn="l" defTabSz="9141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65" algn="l" defTabSz="9141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32" algn="l" defTabSz="9141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97" algn="l" defTabSz="9141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62" algn="l" defTabSz="9141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28" algn="l" defTabSz="9141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94" algn="l" defTabSz="9141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59" algn="l" defTabSz="9141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24" algn="l" defTabSz="9141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">
          <p15:clr>
            <a:srgbClr val="C35EA4"/>
          </p15:clr>
        </p15:guide>
        <p15:guide id="2" pos="7392">
          <p15:clr>
            <a:srgbClr val="F26B43"/>
          </p15:clr>
        </p15:guide>
        <p15:guide id="3" orient="horz" pos="288">
          <p15:clr>
            <a:srgbClr val="F26B43"/>
          </p15:clr>
        </p15:guide>
        <p15:guide id="4" orient="horz" pos="3840">
          <p15:clr>
            <a:srgbClr val="F26B43"/>
          </p15:clr>
        </p15:guide>
        <p15:guide id="7" pos="744">
          <p15:clr>
            <a:srgbClr val="C35EA4"/>
          </p15:clr>
        </p15:guide>
        <p15:guide id="8" pos="1176">
          <p15:clr>
            <a:srgbClr val="C35EA4"/>
          </p15:clr>
        </p15:guide>
        <p15:guide id="10" pos="1632">
          <p15:clr>
            <a:srgbClr val="C35EA4"/>
          </p15:clr>
        </p15:guide>
        <p15:guide id="13" pos="2520">
          <p15:clr>
            <a:srgbClr val="C35EA4"/>
          </p15:clr>
        </p15:guide>
        <p15:guide id="15" pos="2952">
          <p15:clr>
            <a:srgbClr val="C35EA4"/>
          </p15:clr>
        </p15:guide>
        <p15:guide id="16" pos="3408">
          <p15:clr>
            <a:srgbClr val="C35EA4"/>
          </p15:clr>
        </p15:guide>
        <p15:guide id="20" pos="4296">
          <p15:clr>
            <a:srgbClr val="C35EA4"/>
          </p15:clr>
        </p15:guide>
        <p15:guide id="22" pos="4728">
          <p15:clr>
            <a:srgbClr val="C35EA4"/>
          </p15:clr>
        </p15:guide>
        <p15:guide id="23" pos="5184">
          <p15:clr>
            <a:srgbClr val="C35EA4"/>
          </p15:clr>
        </p15:guide>
        <p15:guide id="24" pos="5616">
          <p15:clr>
            <a:srgbClr val="C35EA4"/>
          </p15:clr>
        </p15:guide>
        <p15:guide id="25" pos="6048">
          <p15:clr>
            <a:srgbClr val="C35EA4"/>
          </p15:clr>
        </p15:guide>
        <p15:guide id="28" pos="6504">
          <p15:clr>
            <a:srgbClr val="C35EA4"/>
          </p15:clr>
        </p15:guide>
        <p15:guide id="30" pos="6936">
          <p15:clr>
            <a:srgbClr val="C35EA4"/>
          </p15:clr>
        </p15:guide>
        <p15:guide id="32" pos="2064">
          <p15:clr>
            <a:srgbClr val="C35EA4"/>
          </p15:clr>
        </p15:guide>
        <p15:guide id="33" pos="3840">
          <p15:clr>
            <a:srgbClr val="C35EA4"/>
          </p15:clr>
        </p15:guide>
        <p15:guide id="38" orient="horz" pos="744">
          <p15:clr>
            <a:srgbClr val="F26B43"/>
          </p15:clr>
        </p15:guide>
        <p15:guide id="40" orient="horz" pos="1176">
          <p15:clr>
            <a:srgbClr val="F26B43"/>
          </p15:clr>
        </p15:guide>
        <p15:guide id="41" orient="horz" pos="1632">
          <p15:clr>
            <a:srgbClr val="F26B43"/>
          </p15:clr>
        </p15:guide>
        <p15:guide id="42" orient="horz" pos="2064">
          <p15:clr>
            <a:srgbClr val="F26B43"/>
          </p15:clr>
        </p15:guide>
        <p15:guide id="45" orient="horz" pos="2520">
          <p15:clr>
            <a:srgbClr val="F26B43"/>
          </p15:clr>
        </p15:guide>
        <p15:guide id="46" orient="horz" pos="2952">
          <p15:clr>
            <a:srgbClr val="F26B43"/>
          </p15:clr>
        </p15:guide>
        <p15:guide id="47" orient="horz" pos="4272">
          <p15:clr>
            <a:srgbClr val="F26B43"/>
          </p15:clr>
        </p15:guide>
        <p15:guide id="48" orient="horz" pos="3384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18480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02127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049875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17" r:id="rId1"/>
  </p:sldLayoutIdLst>
  <p:transition>
    <p:fade/>
  </p:transition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5293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661">
          <p15:clr>
            <a:srgbClr val="5ACBF0"/>
          </p15:clr>
        </p15:guide>
        <p15:guide id="4" orient="horz" pos="4219">
          <p15:clr>
            <a:srgbClr val="5ACBF0"/>
          </p15:clr>
        </p15:guide>
        <p15:guide id="5" pos="749">
          <p15:clr>
            <a:srgbClr val="5ACBF0"/>
          </p15:clr>
        </p15:guide>
        <p15:guide id="6" pos="1325">
          <p15:clr>
            <a:srgbClr val="5ACBF0"/>
          </p15:clr>
        </p15:guide>
        <p15:guide id="7" pos="1901">
          <p15:clr>
            <a:srgbClr val="5ACBF0"/>
          </p15:clr>
        </p15:guide>
        <p15:guide id="8" pos="2477">
          <p15:clr>
            <a:srgbClr val="5ACBF0"/>
          </p15:clr>
        </p15:guide>
        <p15:guide id="9" pos="3053">
          <p15:clr>
            <a:srgbClr val="5ACBF0"/>
          </p15:clr>
        </p15:guide>
        <p15:guide id="10" pos="3629">
          <p15:clr>
            <a:srgbClr val="5ACBF0"/>
          </p15:clr>
        </p15:guide>
        <p15:guide id="11" pos="4205">
          <p15:clr>
            <a:srgbClr val="5ACBF0"/>
          </p15:clr>
        </p15:guide>
        <p15:guide id="12" pos="4781">
          <p15:clr>
            <a:srgbClr val="5ACBF0"/>
          </p15:clr>
        </p15:guide>
        <p15:guide id="13" pos="5357">
          <p15:clr>
            <a:srgbClr val="5ACBF0"/>
          </p15:clr>
        </p15:guide>
        <p15:guide id="14" pos="5933">
          <p15:clr>
            <a:srgbClr val="5ACBF0"/>
          </p15:clr>
        </p15:guide>
        <p15:guide id="15" pos="6509">
          <p15:clr>
            <a:srgbClr val="5ACBF0"/>
          </p15:clr>
        </p15:guide>
        <p15:guide id="16" pos="7085">
          <p15:clr>
            <a:srgbClr val="5ACBF0"/>
          </p15:clr>
        </p15:guide>
        <p15:guide id="17" orient="horz" pos="763">
          <p15:clr>
            <a:srgbClr val="5ACBF0"/>
          </p15:clr>
        </p15:guide>
        <p15:guide id="18" orient="horz" pos="1339">
          <p15:clr>
            <a:srgbClr val="5ACBF0"/>
          </p15:clr>
        </p15:guide>
        <p15:guide id="19" orient="horz" pos="1915">
          <p15:clr>
            <a:srgbClr val="5ACBF0"/>
          </p15:clr>
        </p15:guide>
        <p15:guide id="20" orient="horz" pos="2491">
          <p15:clr>
            <a:srgbClr val="5ACBF0"/>
          </p15:clr>
        </p15:guide>
        <p15:guide id="21" orient="horz" pos="3067">
          <p15:clr>
            <a:srgbClr val="5ACBF0"/>
          </p15:clr>
        </p15:guide>
        <p15:guide id="22" orient="horz" pos="3643">
          <p15:clr>
            <a:srgbClr val="5ACBF0"/>
          </p15:clr>
        </p15:guide>
        <p15:guide id="23" pos="286">
          <p15:clr>
            <a:srgbClr val="C35EA4"/>
          </p15:clr>
        </p15:guide>
        <p15:guide id="24" pos="7547">
          <p15:clr>
            <a:srgbClr val="C35EA4"/>
          </p15:clr>
        </p15:guide>
        <p15:guide id="25" orient="horz" pos="305">
          <p15:clr>
            <a:srgbClr val="C35EA4"/>
          </p15:clr>
        </p15:guide>
        <p15:guide id="26" orient="horz" pos="4106">
          <p15:clr>
            <a:srgbClr val="C35EA4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3"/>
            <a:ext cx="11655840" cy="899665"/>
          </a:xfrm>
          <a:prstGeom prst="rect">
            <a:avLst/>
          </a:prstGeom>
        </p:spPr>
        <p:txBody>
          <a:bodyPr vert="horz" wrap="square" lIns="146275" tIns="91422" rIns="146275" bIns="91422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9"/>
            <a:ext cx="11653520" cy="2070122"/>
          </a:xfrm>
          <a:prstGeom prst="rect">
            <a:avLst/>
          </a:prstGeom>
        </p:spPr>
        <p:txBody>
          <a:bodyPr vert="horz" wrap="square" lIns="146275" tIns="91422" rIns="146275" bIns="91422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6" name="Picture 15" descr="Microsoft_logo_(2012).svg.png"/>
          <p:cNvPicPr>
            <a:picLocks noChangeAspect="1"/>
          </p:cNvPicPr>
          <p:nvPr userDrawn="1"/>
        </p:nvPicPr>
        <p:blipFill>
          <a:blip r:embed="rId4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643" y="6268082"/>
            <a:ext cx="1643445" cy="350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73457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9" r:id="rId1"/>
    <p:sldLayoutId id="2147484020" r:id="rId2"/>
    <p:sldLayoutId id="2147484021" r:id="rId3"/>
    <p:sldLayoutId id="2147484022" r:id="rId4"/>
    <p:sldLayoutId id="2147484023" r:id="rId5"/>
    <p:sldLayoutId id="2147484024" r:id="rId6"/>
    <p:sldLayoutId id="2147484025" r:id="rId7"/>
    <p:sldLayoutId id="2147484026" r:id="rId8"/>
    <p:sldLayoutId id="2147484027" r:id="rId9"/>
    <p:sldLayoutId id="2147484028" r:id="rId10"/>
    <p:sldLayoutId id="2147484029" r:id="rId11"/>
    <p:sldLayoutId id="2147484030" r:id="rId12"/>
    <p:sldLayoutId id="2147484031" r:id="rId13"/>
    <p:sldLayoutId id="2147484032" r:id="rId14"/>
    <p:sldLayoutId id="2147484033" r:id="rId15"/>
    <p:sldLayoutId id="2147484034" r:id="rId16"/>
    <p:sldLayoutId id="2147484035" r:id="rId17"/>
    <p:sldLayoutId id="2147484036" r:id="rId18"/>
    <p:sldLayoutId id="2147484037" r:id="rId19"/>
    <p:sldLayoutId id="2147484038" r:id="rId20"/>
    <p:sldLayoutId id="2147484039" r:id="rId21"/>
    <p:sldLayoutId id="2147484040" r:id="rId22"/>
    <p:sldLayoutId id="2147484041" r:id="rId23"/>
    <p:sldLayoutId id="2147484042" r:id="rId24"/>
    <p:sldLayoutId id="2147484043" r:id="rId25"/>
    <p:sldLayoutId id="2147484044" r:id="rId26"/>
    <p:sldLayoutId id="2147484045" r:id="rId27"/>
    <p:sldLayoutId id="2147484046" r:id="rId28"/>
    <p:sldLayoutId id="2147484047" r:id="rId29"/>
    <p:sldLayoutId id="2147484048" r:id="rId30"/>
    <p:sldLayoutId id="2147484049" r:id="rId31"/>
    <p:sldLayoutId id="2147484050" r:id="rId32"/>
    <p:sldLayoutId id="2147484061" r:id="rId33"/>
    <p:sldLayoutId id="2147484062" r:id="rId34"/>
    <p:sldLayoutId id="2147484063" r:id="rId35"/>
    <p:sldLayoutId id="2147484064" r:id="rId36"/>
    <p:sldLayoutId id="2147484065" r:id="rId37"/>
    <p:sldLayoutId id="2147484066" r:id="rId38"/>
    <p:sldLayoutId id="2147484067" r:id="rId39"/>
    <p:sldLayoutId id="2147484069" r:id="rId40"/>
  </p:sldLayoutIdLst>
  <p:transition>
    <p:fade/>
  </p:transition>
  <p:txStyles>
    <p:titleStyle>
      <a:lvl1pPr algn="l" defTabSz="914178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76" marR="0" indent="-336076" algn="l" defTabSz="91417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1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75" marR="0" indent="-236497" algn="l" defTabSz="91417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75" marR="0" indent="-224050" algn="l" defTabSz="91417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27" marR="0" indent="-224050" algn="l" defTabSz="91417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76" marR="0" indent="-224050" algn="l" defTabSz="91417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990" indent="-228544" algn="l" defTabSz="914178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080" indent="-228544" algn="l" defTabSz="914178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170" indent="-228544" algn="l" defTabSz="914178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258" indent="-228544" algn="l" defTabSz="914178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89" algn="l" defTabSz="91417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78" algn="l" defTabSz="91417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68" algn="l" defTabSz="91417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57" algn="l" defTabSz="91417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47" algn="l" defTabSz="91417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34" algn="l" defTabSz="91417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25" algn="l" defTabSz="91417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15" algn="l" defTabSz="91417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18480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02127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798281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59" r:id="rId1"/>
    <p:sldLayoutId id="2147484060" r:id="rId2"/>
  </p:sldLayoutIdLst>
  <p:transition>
    <p:fade/>
  </p:transition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5293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661">
          <p15:clr>
            <a:srgbClr val="5ACBF0"/>
          </p15:clr>
        </p15:guide>
        <p15:guide id="4" orient="horz" pos="4219">
          <p15:clr>
            <a:srgbClr val="5ACBF0"/>
          </p15:clr>
        </p15:guide>
        <p15:guide id="5" pos="749">
          <p15:clr>
            <a:srgbClr val="5ACBF0"/>
          </p15:clr>
        </p15:guide>
        <p15:guide id="6" pos="1325">
          <p15:clr>
            <a:srgbClr val="5ACBF0"/>
          </p15:clr>
        </p15:guide>
        <p15:guide id="7" pos="1901">
          <p15:clr>
            <a:srgbClr val="5ACBF0"/>
          </p15:clr>
        </p15:guide>
        <p15:guide id="8" pos="2477">
          <p15:clr>
            <a:srgbClr val="5ACBF0"/>
          </p15:clr>
        </p15:guide>
        <p15:guide id="9" pos="3053">
          <p15:clr>
            <a:srgbClr val="5ACBF0"/>
          </p15:clr>
        </p15:guide>
        <p15:guide id="10" pos="3629">
          <p15:clr>
            <a:srgbClr val="5ACBF0"/>
          </p15:clr>
        </p15:guide>
        <p15:guide id="11" pos="4205">
          <p15:clr>
            <a:srgbClr val="5ACBF0"/>
          </p15:clr>
        </p15:guide>
        <p15:guide id="12" pos="4781">
          <p15:clr>
            <a:srgbClr val="5ACBF0"/>
          </p15:clr>
        </p15:guide>
        <p15:guide id="13" pos="5357">
          <p15:clr>
            <a:srgbClr val="5ACBF0"/>
          </p15:clr>
        </p15:guide>
        <p15:guide id="14" pos="5933">
          <p15:clr>
            <a:srgbClr val="5ACBF0"/>
          </p15:clr>
        </p15:guide>
        <p15:guide id="15" pos="6509">
          <p15:clr>
            <a:srgbClr val="5ACBF0"/>
          </p15:clr>
        </p15:guide>
        <p15:guide id="16" pos="7085">
          <p15:clr>
            <a:srgbClr val="5ACBF0"/>
          </p15:clr>
        </p15:guide>
        <p15:guide id="17" orient="horz" pos="763">
          <p15:clr>
            <a:srgbClr val="5ACBF0"/>
          </p15:clr>
        </p15:guide>
        <p15:guide id="18" orient="horz" pos="1339">
          <p15:clr>
            <a:srgbClr val="5ACBF0"/>
          </p15:clr>
        </p15:guide>
        <p15:guide id="19" orient="horz" pos="1915">
          <p15:clr>
            <a:srgbClr val="5ACBF0"/>
          </p15:clr>
        </p15:guide>
        <p15:guide id="20" orient="horz" pos="2491">
          <p15:clr>
            <a:srgbClr val="5ACBF0"/>
          </p15:clr>
        </p15:guide>
        <p15:guide id="21" orient="horz" pos="3067">
          <p15:clr>
            <a:srgbClr val="5ACBF0"/>
          </p15:clr>
        </p15:guide>
        <p15:guide id="22" orient="horz" pos="3643">
          <p15:clr>
            <a:srgbClr val="5ACBF0"/>
          </p15:clr>
        </p15:guide>
        <p15:guide id="23" pos="286">
          <p15:clr>
            <a:srgbClr val="C35EA4"/>
          </p15:clr>
        </p15:guide>
        <p15:guide id="24" pos="7547">
          <p15:clr>
            <a:srgbClr val="C35EA4"/>
          </p15:clr>
        </p15:guide>
        <p15:guide id="25" orient="horz" pos="305">
          <p15:clr>
            <a:srgbClr val="C35EA4"/>
          </p15:clr>
        </p15:guide>
        <p15:guide id="26" orient="horz" pos="4106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BBF07C-F70C-4C67-B057-C028B13C04EB}" type="datetimeFigureOut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</a:rPr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28/21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7E8DC5-3D6D-474E-BBD7-49B40684D9EB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5998919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18480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02127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097777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6" r:id="rId1"/>
  </p:sldLayoutIdLst>
  <p:transition>
    <p:fade/>
  </p:transition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5293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661">
          <p15:clr>
            <a:srgbClr val="5ACBF0"/>
          </p15:clr>
        </p15:guide>
        <p15:guide id="4" orient="horz" pos="4219">
          <p15:clr>
            <a:srgbClr val="5ACBF0"/>
          </p15:clr>
        </p15:guide>
        <p15:guide id="5" pos="749">
          <p15:clr>
            <a:srgbClr val="5ACBF0"/>
          </p15:clr>
        </p15:guide>
        <p15:guide id="6" pos="1325">
          <p15:clr>
            <a:srgbClr val="5ACBF0"/>
          </p15:clr>
        </p15:guide>
        <p15:guide id="7" pos="1901">
          <p15:clr>
            <a:srgbClr val="5ACBF0"/>
          </p15:clr>
        </p15:guide>
        <p15:guide id="8" pos="2477">
          <p15:clr>
            <a:srgbClr val="5ACBF0"/>
          </p15:clr>
        </p15:guide>
        <p15:guide id="9" pos="3053">
          <p15:clr>
            <a:srgbClr val="5ACBF0"/>
          </p15:clr>
        </p15:guide>
        <p15:guide id="10" pos="3629">
          <p15:clr>
            <a:srgbClr val="5ACBF0"/>
          </p15:clr>
        </p15:guide>
        <p15:guide id="11" pos="4205">
          <p15:clr>
            <a:srgbClr val="5ACBF0"/>
          </p15:clr>
        </p15:guide>
        <p15:guide id="12" pos="4781">
          <p15:clr>
            <a:srgbClr val="5ACBF0"/>
          </p15:clr>
        </p15:guide>
        <p15:guide id="13" pos="5357">
          <p15:clr>
            <a:srgbClr val="5ACBF0"/>
          </p15:clr>
        </p15:guide>
        <p15:guide id="14" pos="5933">
          <p15:clr>
            <a:srgbClr val="5ACBF0"/>
          </p15:clr>
        </p15:guide>
        <p15:guide id="15" pos="6509">
          <p15:clr>
            <a:srgbClr val="5ACBF0"/>
          </p15:clr>
        </p15:guide>
        <p15:guide id="16" pos="7085">
          <p15:clr>
            <a:srgbClr val="5ACBF0"/>
          </p15:clr>
        </p15:guide>
        <p15:guide id="17" orient="horz" pos="763">
          <p15:clr>
            <a:srgbClr val="5ACBF0"/>
          </p15:clr>
        </p15:guide>
        <p15:guide id="18" orient="horz" pos="1339">
          <p15:clr>
            <a:srgbClr val="5ACBF0"/>
          </p15:clr>
        </p15:guide>
        <p15:guide id="19" orient="horz" pos="1915">
          <p15:clr>
            <a:srgbClr val="5ACBF0"/>
          </p15:clr>
        </p15:guide>
        <p15:guide id="20" orient="horz" pos="2491">
          <p15:clr>
            <a:srgbClr val="5ACBF0"/>
          </p15:clr>
        </p15:guide>
        <p15:guide id="21" orient="horz" pos="3067">
          <p15:clr>
            <a:srgbClr val="5ACBF0"/>
          </p15:clr>
        </p15:guide>
        <p15:guide id="22" orient="horz" pos="3643">
          <p15:clr>
            <a:srgbClr val="5ACBF0"/>
          </p15:clr>
        </p15:guide>
        <p15:guide id="23" pos="286">
          <p15:clr>
            <a:srgbClr val="C35EA4"/>
          </p15:clr>
        </p15:guide>
        <p15:guide id="24" pos="7547">
          <p15:clr>
            <a:srgbClr val="C35EA4"/>
          </p15:clr>
        </p15:guide>
        <p15:guide id="25" orient="horz" pos="305">
          <p15:clr>
            <a:srgbClr val="C35EA4"/>
          </p15:clr>
        </p15:guide>
        <p15:guide id="26" orient="horz" pos="4106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18480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02127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284062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2" r:id="rId1"/>
  </p:sldLayoutIdLst>
  <p:transition>
    <p:fade/>
  </p:transition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5293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661">
          <p15:clr>
            <a:srgbClr val="5ACBF0"/>
          </p15:clr>
        </p15:guide>
        <p15:guide id="4" orient="horz" pos="4219">
          <p15:clr>
            <a:srgbClr val="5ACBF0"/>
          </p15:clr>
        </p15:guide>
        <p15:guide id="5" pos="749">
          <p15:clr>
            <a:srgbClr val="5ACBF0"/>
          </p15:clr>
        </p15:guide>
        <p15:guide id="6" pos="1325">
          <p15:clr>
            <a:srgbClr val="5ACBF0"/>
          </p15:clr>
        </p15:guide>
        <p15:guide id="7" pos="1901">
          <p15:clr>
            <a:srgbClr val="5ACBF0"/>
          </p15:clr>
        </p15:guide>
        <p15:guide id="8" pos="2477">
          <p15:clr>
            <a:srgbClr val="5ACBF0"/>
          </p15:clr>
        </p15:guide>
        <p15:guide id="9" pos="3053">
          <p15:clr>
            <a:srgbClr val="5ACBF0"/>
          </p15:clr>
        </p15:guide>
        <p15:guide id="10" pos="3629">
          <p15:clr>
            <a:srgbClr val="5ACBF0"/>
          </p15:clr>
        </p15:guide>
        <p15:guide id="11" pos="4205">
          <p15:clr>
            <a:srgbClr val="5ACBF0"/>
          </p15:clr>
        </p15:guide>
        <p15:guide id="12" pos="4781">
          <p15:clr>
            <a:srgbClr val="5ACBF0"/>
          </p15:clr>
        </p15:guide>
        <p15:guide id="13" pos="5357">
          <p15:clr>
            <a:srgbClr val="5ACBF0"/>
          </p15:clr>
        </p15:guide>
        <p15:guide id="14" pos="5933">
          <p15:clr>
            <a:srgbClr val="5ACBF0"/>
          </p15:clr>
        </p15:guide>
        <p15:guide id="15" pos="6509">
          <p15:clr>
            <a:srgbClr val="5ACBF0"/>
          </p15:clr>
        </p15:guide>
        <p15:guide id="16" pos="7085">
          <p15:clr>
            <a:srgbClr val="5ACBF0"/>
          </p15:clr>
        </p15:guide>
        <p15:guide id="17" orient="horz" pos="763">
          <p15:clr>
            <a:srgbClr val="5ACBF0"/>
          </p15:clr>
        </p15:guide>
        <p15:guide id="18" orient="horz" pos="1339">
          <p15:clr>
            <a:srgbClr val="5ACBF0"/>
          </p15:clr>
        </p15:guide>
        <p15:guide id="19" orient="horz" pos="1915">
          <p15:clr>
            <a:srgbClr val="5ACBF0"/>
          </p15:clr>
        </p15:guide>
        <p15:guide id="20" orient="horz" pos="2491">
          <p15:clr>
            <a:srgbClr val="5ACBF0"/>
          </p15:clr>
        </p15:guide>
        <p15:guide id="21" orient="horz" pos="3067">
          <p15:clr>
            <a:srgbClr val="5ACBF0"/>
          </p15:clr>
        </p15:guide>
        <p15:guide id="22" orient="horz" pos="3643">
          <p15:clr>
            <a:srgbClr val="5ACBF0"/>
          </p15:clr>
        </p15:guide>
        <p15:guide id="23" pos="286">
          <p15:clr>
            <a:srgbClr val="C35EA4"/>
          </p15:clr>
        </p15:guide>
        <p15:guide id="24" pos="7547">
          <p15:clr>
            <a:srgbClr val="C35EA4"/>
          </p15:clr>
        </p15:guide>
        <p15:guide id="25" orient="horz" pos="305">
          <p15:clr>
            <a:srgbClr val="C35EA4"/>
          </p15:clr>
        </p15:guide>
        <p15:guide id="26" orient="horz" pos="4106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12370906" y="-217"/>
            <a:ext cx="935477" cy="5654618"/>
            <a:chOff x="12618967" y="-221"/>
            <a:chExt cx="954235" cy="5767186"/>
          </a:xfrm>
        </p:grpSpPr>
        <p:grpSp>
          <p:nvGrpSpPr>
            <p:cNvPr id="18" name="Group 17"/>
            <p:cNvGrpSpPr/>
            <p:nvPr userDrawn="1"/>
          </p:nvGrpSpPr>
          <p:grpSpPr>
            <a:xfrm>
              <a:off x="12618967" y="-221"/>
              <a:ext cx="954235" cy="5716010"/>
              <a:chOff x="12618967" y="-221"/>
              <a:chExt cx="954235" cy="5716010"/>
            </a:xfrm>
          </p:grpSpPr>
          <p:grpSp>
            <p:nvGrpSpPr>
              <p:cNvPr id="26" name="Group 25"/>
              <p:cNvGrpSpPr/>
              <p:nvPr userDrawn="1"/>
            </p:nvGrpSpPr>
            <p:grpSpPr>
              <a:xfrm rot="5400000">
                <a:off x="11580864" y="1044098"/>
                <a:ext cx="2705442" cy="629236"/>
                <a:chOff x="1584344" y="4543426"/>
                <a:chExt cx="2705442" cy="629236"/>
              </a:xfrm>
            </p:grpSpPr>
            <p:sp>
              <p:nvSpPr>
                <p:cNvPr id="37" name="Rectangle 36"/>
                <p:cNvSpPr/>
                <p:nvPr userDrawn="1"/>
              </p:nvSpPr>
              <p:spPr bwMode="auto">
                <a:xfrm>
                  <a:off x="1586734" y="4543428"/>
                  <a:ext cx="869930" cy="289766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Orange</a:t>
                  </a:r>
                </a:p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216 G:59 B:1</a:t>
                  </a:r>
                </a:p>
              </p:txBody>
            </p:sp>
            <p:sp>
              <p:nvSpPr>
                <p:cNvPr id="41" name="Rectangle 40"/>
                <p:cNvSpPr/>
                <p:nvPr userDrawn="1"/>
              </p:nvSpPr>
              <p:spPr bwMode="auto">
                <a:xfrm>
                  <a:off x="2505456" y="4543427"/>
                  <a:ext cx="869930" cy="289766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Blue</a:t>
                  </a:r>
                </a:p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0 G:120 B:215</a:t>
                  </a:r>
                </a:p>
              </p:txBody>
            </p:sp>
            <p:sp>
              <p:nvSpPr>
                <p:cNvPr id="42" name="Rectangle 41"/>
                <p:cNvSpPr/>
                <p:nvPr userDrawn="1"/>
              </p:nvSpPr>
              <p:spPr bwMode="auto">
                <a:xfrm>
                  <a:off x="3419856" y="4543426"/>
                  <a:ext cx="869930" cy="289766"/>
                </a:xfrm>
                <a:prstGeom prst="rect">
                  <a:avLst/>
                </a:prstGeom>
                <a:solidFill>
                  <a:schemeClr val="accent3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>
                      <a:gradFill>
                        <a:gsLst>
                          <a:gs pos="14644">
                            <a:srgbClr val="505050"/>
                          </a:gs>
                          <a:gs pos="42000">
                            <a:srgbClr val="505050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Light Green</a:t>
                  </a:r>
                </a:p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>
                      <a:gradFill>
                        <a:gsLst>
                          <a:gs pos="10042">
                            <a:srgbClr val="505050"/>
                          </a:gs>
                          <a:gs pos="39000">
                            <a:srgbClr val="505050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186 G:216 B:10</a:t>
                  </a:r>
                </a:p>
              </p:txBody>
            </p:sp>
            <p:sp>
              <p:nvSpPr>
                <p:cNvPr id="43" name="Rectangle 42"/>
                <p:cNvSpPr/>
                <p:nvPr userDrawn="1"/>
              </p:nvSpPr>
              <p:spPr bwMode="auto">
                <a:xfrm>
                  <a:off x="2498744" y="4882896"/>
                  <a:ext cx="869930" cy="289766"/>
                </a:xfrm>
                <a:prstGeom prst="rect">
                  <a:avLst/>
                </a:prstGeom>
                <a:solidFill>
                  <a:schemeClr val="accent5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Purple</a:t>
                  </a:r>
                </a:p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>
                      <a:gradFill>
                        <a:gsLst>
                          <a:gs pos="2092">
                            <a:srgbClr val="F8F8F8"/>
                          </a:gs>
                          <a:gs pos="10042">
                            <a:srgbClr val="F8F8F8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92 G:45 B:145</a:t>
                  </a:r>
                </a:p>
              </p:txBody>
            </p:sp>
            <p:sp>
              <p:nvSpPr>
                <p:cNvPr id="44" name="Rectangle 43"/>
                <p:cNvSpPr/>
                <p:nvPr userDrawn="1"/>
              </p:nvSpPr>
              <p:spPr bwMode="auto">
                <a:xfrm>
                  <a:off x="3413144" y="4882895"/>
                  <a:ext cx="869930" cy="289766"/>
                </a:xfrm>
                <a:prstGeom prst="rect">
                  <a:avLst/>
                </a:prstGeom>
                <a:solidFill>
                  <a:schemeClr val="accent6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Dark Blue</a:t>
                  </a:r>
                </a:p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>
                      <a:gradFill>
                        <a:gsLst>
                          <a:gs pos="2092">
                            <a:srgbClr val="F8F8F8"/>
                          </a:gs>
                          <a:gs pos="10042">
                            <a:srgbClr val="F8F8F8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0 G:32 B:80</a:t>
                  </a:r>
                </a:p>
              </p:txBody>
            </p:sp>
            <p:sp>
              <p:nvSpPr>
                <p:cNvPr id="45" name="Rectangle 44"/>
                <p:cNvSpPr/>
                <p:nvPr userDrawn="1"/>
              </p:nvSpPr>
              <p:spPr bwMode="auto">
                <a:xfrm>
                  <a:off x="1584344" y="4882896"/>
                  <a:ext cx="869930" cy="289766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>
                      <a:gradFill>
                        <a:gsLst>
                          <a:gs pos="14644">
                            <a:srgbClr val="505050"/>
                          </a:gs>
                          <a:gs pos="42000">
                            <a:srgbClr val="505050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Yellow</a:t>
                  </a:r>
                </a:p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>
                      <a:gradFill>
                        <a:gsLst>
                          <a:gs pos="10042">
                            <a:srgbClr val="505050"/>
                          </a:gs>
                          <a:gs pos="39000">
                            <a:srgbClr val="505050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255 G:185 B:0</a:t>
                  </a:r>
                </a:p>
              </p:txBody>
            </p:sp>
          </p:grpSp>
          <p:grpSp>
            <p:nvGrpSpPr>
              <p:cNvPr id="27" name="Group 26"/>
              <p:cNvGrpSpPr/>
              <p:nvPr userDrawn="1"/>
            </p:nvGrpSpPr>
            <p:grpSpPr>
              <a:xfrm rot="5400000">
                <a:off x="11870606" y="3812276"/>
                <a:ext cx="1786491" cy="289766"/>
                <a:chOff x="4476564" y="4543426"/>
                <a:chExt cx="1786491" cy="289766"/>
              </a:xfrm>
            </p:grpSpPr>
            <p:sp>
              <p:nvSpPr>
                <p:cNvPr id="33" name="Rectangle 32"/>
                <p:cNvSpPr/>
                <p:nvPr userDrawn="1"/>
              </p:nvSpPr>
              <p:spPr bwMode="auto">
                <a:xfrm>
                  <a:off x="4476564" y="4543426"/>
                  <a:ext cx="869930" cy="289766"/>
                </a:xfrm>
                <a:prstGeom prst="rect">
                  <a:avLst/>
                </a:prstGeom>
                <a:solidFill>
                  <a:srgbClr val="00188F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Mid-Blue</a:t>
                  </a:r>
                </a:p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>
                      <a:gradFill>
                        <a:gsLst>
                          <a:gs pos="2092">
                            <a:srgbClr val="F8F8F8"/>
                          </a:gs>
                          <a:gs pos="10042">
                            <a:srgbClr val="F8F8F8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0 G:24 B:143</a:t>
                  </a:r>
                </a:p>
              </p:txBody>
            </p:sp>
            <p:sp>
              <p:nvSpPr>
                <p:cNvPr id="19" name="Rectangle 18"/>
                <p:cNvSpPr/>
                <p:nvPr userDrawn="1"/>
              </p:nvSpPr>
              <p:spPr bwMode="auto">
                <a:xfrm>
                  <a:off x="5393125" y="4543426"/>
                  <a:ext cx="869930" cy="289766"/>
                </a:xfrm>
                <a:prstGeom prst="rect">
                  <a:avLst/>
                </a:prstGeom>
                <a:solidFill>
                  <a:srgbClr val="00BCF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>
                      <a:gradFill>
                        <a:gsLst>
                          <a:gs pos="14644">
                            <a:srgbClr val="505050"/>
                          </a:gs>
                          <a:gs pos="42000">
                            <a:srgbClr val="505050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Light Blue</a:t>
                  </a:r>
                </a:p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>
                      <a:gradFill>
                        <a:gsLst>
                          <a:gs pos="10042">
                            <a:srgbClr val="505050"/>
                          </a:gs>
                          <a:gs pos="39000">
                            <a:srgbClr val="505050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0 G:188 B:242</a:t>
                  </a:r>
                </a:p>
              </p:txBody>
            </p:sp>
          </p:grpSp>
          <p:sp>
            <p:nvSpPr>
              <p:cNvPr id="28" name="TextBox 27"/>
              <p:cNvSpPr txBox="1"/>
              <p:nvPr userDrawn="1"/>
            </p:nvSpPr>
            <p:spPr>
              <a:xfrm rot="5400000">
                <a:off x="12987813" y="258334"/>
                <a:ext cx="843944" cy="326834"/>
              </a:xfrm>
              <a:prstGeom prst="rect">
                <a:avLst/>
              </a:prstGeom>
              <a:noFill/>
            </p:spPr>
            <p:txBody>
              <a:bodyPr wrap="none" lIns="0" tIns="91440" rIns="182880" bIns="91440" rtlCol="0">
                <a:spAutoFit/>
              </a:bodyPr>
              <a:lstStyle/>
              <a:p>
                <a:pPr defTabSz="914367">
                  <a:lnSpc>
                    <a:spcPct val="90000"/>
                  </a:lnSpc>
                  <a:spcAft>
                    <a:spcPts val="588"/>
                  </a:spcAft>
                </a:pPr>
                <a:r>
                  <a:rPr lang="en-US" sz="980">
                    <a:gradFill>
                      <a:gsLst>
                        <a:gs pos="2917">
                          <a:srgbClr val="505050"/>
                        </a:gs>
                        <a:gs pos="30000">
                          <a:srgbClr val="505050"/>
                        </a:gs>
                      </a:gsLst>
                      <a:lin ang="5400000" scaled="0"/>
                    </a:gradFill>
                  </a:rPr>
                  <a:t>Main colors</a:t>
                </a:r>
              </a:p>
            </p:txBody>
          </p:sp>
          <p:sp>
            <p:nvSpPr>
              <p:cNvPr id="32" name="TextBox 31"/>
              <p:cNvSpPr txBox="1"/>
              <p:nvPr userDrawn="1"/>
            </p:nvSpPr>
            <p:spPr>
              <a:xfrm rot="5400000">
                <a:off x="11746691" y="4228746"/>
                <a:ext cx="2647253" cy="326834"/>
              </a:xfrm>
              <a:prstGeom prst="rect">
                <a:avLst/>
              </a:prstGeom>
              <a:noFill/>
            </p:spPr>
            <p:txBody>
              <a:bodyPr wrap="none" lIns="0" tIns="91440" rIns="182880" bIns="91440" rtlCol="0">
                <a:spAutoFit/>
              </a:bodyPr>
              <a:lstStyle/>
              <a:p>
                <a:pPr defTabSz="914367">
                  <a:lnSpc>
                    <a:spcPct val="90000"/>
                  </a:lnSpc>
                  <a:spcAft>
                    <a:spcPts val="588"/>
                  </a:spcAft>
                </a:pPr>
                <a:r>
                  <a:rPr lang="en-US" sz="980">
                    <a:gradFill>
                      <a:gsLst>
                        <a:gs pos="2917">
                          <a:srgbClr val="505050"/>
                        </a:gs>
                        <a:gs pos="30000">
                          <a:srgbClr val="505050"/>
                        </a:gs>
                      </a:gsLst>
                      <a:lin ang="5400000" scaled="0"/>
                    </a:gradFill>
                  </a:rPr>
                  <a:t>Secondary colors (use only when necessary)</a:t>
                </a:r>
              </a:p>
            </p:txBody>
          </p:sp>
        </p:grpSp>
        <p:sp>
          <p:nvSpPr>
            <p:cNvPr id="20" name="Rectangle 19"/>
            <p:cNvSpPr/>
            <p:nvPr userDrawn="1"/>
          </p:nvSpPr>
          <p:spPr bwMode="auto">
            <a:xfrm rot="5400000">
              <a:off x="12328886" y="5187117"/>
              <a:ext cx="869930" cy="289766"/>
            </a:xfrm>
            <a:prstGeom prst="rect">
              <a:avLst/>
            </a:prstGeom>
            <a:solidFill>
              <a:srgbClr val="50505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b="1">
                  <a:gradFill>
                    <a:gsLst>
                      <a:gs pos="12389">
                        <a:srgbClr val="FFFFFF"/>
                      </a:gs>
                      <a:gs pos="46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Gray</a:t>
              </a:r>
            </a:p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>
                  <a:gradFill>
                    <a:gsLst>
                      <a:gs pos="12389">
                        <a:srgbClr val="FFFFFF"/>
                      </a:gs>
                      <a:gs pos="46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80 G:80 B:8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63819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  <p:sldLayoutId id="2147483709" r:id="rId15"/>
    <p:sldLayoutId id="2147483710" r:id="rId16"/>
    <p:sldLayoutId id="2147483711" r:id="rId17"/>
    <p:sldLayoutId id="2147483712" r:id="rId18"/>
    <p:sldLayoutId id="2147483713" r:id="rId19"/>
    <p:sldLayoutId id="2147483714" r:id="rId20"/>
    <p:sldLayoutId id="2147483715" r:id="rId21"/>
    <p:sldLayoutId id="2147483716" r:id="rId22"/>
    <p:sldLayoutId id="2147483717" r:id="rId23"/>
    <p:sldLayoutId id="2147483718" r:id="rId24"/>
    <p:sldLayoutId id="2147483719" r:id="rId25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9248" y="228601"/>
            <a:ext cx="11151917" cy="6647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20835" y="1031106"/>
            <a:ext cx="11155093" cy="153580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83652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6" r:id="rId5"/>
    <p:sldLayoutId id="2147483727" r:id="rId6"/>
  </p:sldLayoutIdLst>
  <p:transition>
    <p:fade/>
  </p:transition>
  <p:txStyles>
    <p:titleStyle>
      <a:lvl1pPr algn="l" defTabSz="914188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Arial" charset="0"/>
        </a:defRPr>
      </a:lvl1pPr>
    </p:titleStyle>
    <p:bodyStyle>
      <a:lvl1pPr marL="339660" marR="0" indent="-339660" algn="l" defTabSz="91418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800" kern="1200" spc="-7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978" marR="0" indent="-233318" algn="l" defTabSz="91418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8359" marR="0" indent="-225382" algn="l" defTabSz="91418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>
          <a:tab pos="798359" algn="l"/>
        </a:tabLst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30090" marR="0" indent="-231730" algn="l" defTabSz="91418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/>
        <a:defRPr sz="1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5472" marR="0" indent="-225382" algn="l" defTabSz="91418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>
          <a:tab pos="1255472" algn="l"/>
        </a:tabLst>
        <a:defRPr sz="1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17" indent="-228547" algn="l" defTabSz="9141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10" indent="-228547" algn="l" defTabSz="9141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204" indent="-228547" algn="l" defTabSz="9141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98" indent="-228547" algn="l" defTabSz="9141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94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88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2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76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0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63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57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51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5" y="289516"/>
            <a:ext cx="11655078" cy="899664"/>
          </a:xfrm>
          <a:prstGeom prst="rect">
            <a:avLst/>
          </a:prstGeom>
        </p:spPr>
        <p:txBody>
          <a:bodyPr vert="horz" wrap="square" lIns="146300" tIns="91438" rIns="146300" bIns="91438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9"/>
            <a:ext cx="11653523" cy="2059005"/>
          </a:xfrm>
          <a:prstGeom prst="rect">
            <a:avLst/>
          </a:prstGeom>
        </p:spPr>
        <p:txBody>
          <a:bodyPr vert="horz" wrap="square" lIns="146300" tIns="91438" rIns="146300" bIns="91438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36447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</p:sldLayoutIdLst>
  <p:transition>
    <p:fade/>
  </p:transition>
  <p:txStyles>
    <p:titleStyle>
      <a:lvl1pPr algn="l" defTabSz="912793" rtl="0" fontAlgn="base">
        <a:lnSpc>
          <a:spcPct val="90000"/>
        </a:lnSpc>
        <a:spcBef>
          <a:spcPct val="0"/>
        </a:spcBef>
        <a:spcAft>
          <a:spcPct val="0"/>
        </a:spcAft>
        <a:defRPr lang="en-US" sz="4800" kern="1200" spc="-100" dirty="0">
          <a:ln w="3175">
            <a:noFill/>
          </a:ln>
          <a:solidFill>
            <a:srgbClr val="002050"/>
          </a:solidFill>
          <a:latin typeface="+mj-lt"/>
          <a:ea typeface="ＭＳ Ｐゴシック" charset="0"/>
          <a:cs typeface="Segoe UI" pitchFamily="34" charset="0"/>
        </a:defRPr>
      </a:lvl1pPr>
      <a:lvl2pPr algn="l" defTabSz="912793" rtl="0" fontAlgn="base">
        <a:lnSpc>
          <a:spcPct val="90000"/>
        </a:lnSpc>
        <a:spcBef>
          <a:spcPct val="0"/>
        </a:spcBef>
        <a:spcAft>
          <a:spcPct val="0"/>
        </a:spcAft>
        <a:defRPr sz="5330">
          <a:solidFill>
            <a:schemeClr val="tx1"/>
          </a:solidFill>
          <a:latin typeface="Segoe UI Light" charset="0"/>
          <a:ea typeface="ＭＳ Ｐゴシック" charset="0"/>
        </a:defRPr>
      </a:lvl2pPr>
      <a:lvl3pPr algn="l" defTabSz="912793" rtl="0" fontAlgn="base">
        <a:lnSpc>
          <a:spcPct val="90000"/>
        </a:lnSpc>
        <a:spcBef>
          <a:spcPct val="0"/>
        </a:spcBef>
        <a:spcAft>
          <a:spcPct val="0"/>
        </a:spcAft>
        <a:defRPr sz="5330">
          <a:solidFill>
            <a:schemeClr val="tx1"/>
          </a:solidFill>
          <a:latin typeface="Segoe UI Light" charset="0"/>
          <a:ea typeface="ＭＳ Ｐゴシック" charset="0"/>
        </a:defRPr>
      </a:lvl3pPr>
      <a:lvl4pPr algn="l" defTabSz="912793" rtl="0" fontAlgn="base">
        <a:lnSpc>
          <a:spcPct val="90000"/>
        </a:lnSpc>
        <a:spcBef>
          <a:spcPct val="0"/>
        </a:spcBef>
        <a:spcAft>
          <a:spcPct val="0"/>
        </a:spcAft>
        <a:defRPr sz="5330">
          <a:solidFill>
            <a:schemeClr val="tx1"/>
          </a:solidFill>
          <a:latin typeface="Segoe UI Light" charset="0"/>
          <a:ea typeface="ＭＳ Ｐゴシック" charset="0"/>
        </a:defRPr>
      </a:lvl4pPr>
      <a:lvl5pPr algn="l" defTabSz="912793" rtl="0" fontAlgn="base">
        <a:lnSpc>
          <a:spcPct val="90000"/>
        </a:lnSpc>
        <a:spcBef>
          <a:spcPct val="0"/>
        </a:spcBef>
        <a:spcAft>
          <a:spcPct val="0"/>
        </a:spcAft>
        <a:defRPr sz="5330">
          <a:solidFill>
            <a:schemeClr val="tx1"/>
          </a:solidFill>
          <a:latin typeface="Segoe UI Light" charset="0"/>
          <a:ea typeface="ＭＳ Ｐゴシック" charset="0"/>
        </a:defRPr>
      </a:lvl5pPr>
      <a:lvl6pPr marL="447844" algn="l" defTabSz="912793" rtl="0" fontAlgn="base">
        <a:lnSpc>
          <a:spcPct val="90000"/>
        </a:lnSpc>
        <a:spcBef>
          <a:spcPct val="0"/>
        </a:spcBef>
        <a:spcAft>
          <a:spcPct val="0"/>
        </a:spcAft>
        <a:defRPr sz="5330">
          <a:solidFill>
            <a:schemeClr val="tx1"/>
          </a:solidFill>
          <a:latin typeface="Segoe UI Light" charset="0"/>
          <a:ea typeface="ＭＳ Ｐゴシック" charset="0"/>
        </a:defRPr>
      </a:lvl6pPr>
      <a:lvl7pPr marL="895687" algn="l" defTabSz="912793" rtl="0" fontAlgn="base">
        <a:lnSpc>
          <a:spcPct val="90000"/>
        </a:lnSpc>
        <a:spcBef>
          <a:spcPct val="0"/>
        </a:spcBef>
        <a:spcAft>
          <a:spcPct val="0"/>
        </a:spcAft>
        <a:defRPr sz="5330">
          <a:solidFill>
            <a:schemeClr val="tx1"/>
          </a:solidFill>
          <a:latin typeface="Segoe UI Light" charset="0"/>
          <a:ea typeface="ＭＳ Ｐゴシック" charset="0"/>
        </a:defRPr>
      </a:lvl7pPr>
      <a:lvl8pPr marL="1343528" algn="l" defTabSz="912793" rtl="0" fontAlgn="base">
        <a:lnSpc>
          <a:spcPct val="90000"/>
        </a:lnSpc>
        <a:spcBef>
          <a:spcPct val="0"/>
        </a:spcBef>
        <a:spcAft>
          <a:spcPct val="0"/>
        </a:spcAft>
        <a:defRPr sz="5330">
          <a:solidFill>
            <a:schemeClr val="tx1"/>
          </a:solidFill>
          <a:latin typeface="Segoe UI Light" charset="0"/>
          <a:ea typeface="ＭＳ Ｐゴシック" charset="0"/>
        </a:defRPr>
      </a:lvl8pPr>
      <a:lvl9pPr marL="1791375" algn="l" defTabSz="912793" rtl="0" fontAlgn="base">
        <a:lnSpc>
          <a:spcPct val="90000"/>
        </a:lnSpc>
        <a:spcBef>
          <a:spcPct val="0"/>
        </a:spcBef>
        <a:spcAft>
          <a:spcPct val="0"/>
        </a:spcAft>
        <a:defRPr sz="5330">
          <a:solidFill>
            <a:schemeClr val="tx1"/>
          </a:solidFill>
          <a:latin typeface="Segoe UI Light" charset="0"/>
          <a:ea typeface="ＭＳ Ｐゴシック" charset="0"/>
        </a:defRPr>
      </a:lvl9pPr>
    </p:titleStyle>
    <p:bodyStyle>
      <a:lvl1pPr marL="335884" indent="-335884" algn="l" defTabSz="912793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sz="3864" kern="120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ＭＳ Ｐゴシック" charset="0"/>
          <a:cs typeface="ＭＳ Ｐゴシック" charset="0"/>
        </a:defRPr>
      </a:lvl1pPr>
      <a:lvl2pPr marL="572244" indent="-236361" algn="l" defTabSz="912793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sz="2399" kern="120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ＭＳ Ｐゴシック" charset="0"/>
          <a:cs typeface="+mn-cs"/>
        </a:defRPr>
      </a:lvl2pPr>
      <a:lvl3pPr marL="783725" indent="-223923" algn="l" defTabSz="912793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sz="1999" kern="120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ＭＳ Ｐゴシック" charset="0"/>
          <a:cs typeface="+mn-cs"/>
        </a:defRPr>
      </a:lvl3pPr>
      <a:lvl4pPr marL="1007648" indent="-223923" algn="l" defTabSz="912793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kern="120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ＭＳ Ｐゴシック" charset="0"/>
          <a:cs typeface="+mn-cs"/>
        </a:defRPr>
      </a:lvl4pPr>
      <a:lvl5pPr marL="1231570" indent="-223923" algn="l" defTabSz="912793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kern="120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ＭＳ Ｐゴシック" charset="0"/>
          <a:cs typeface="+mn-cs"/>
        </a:defRPr>
      </a:lvl5pPr>
      <a:lvl6pPr marL="2512547" indent="-228413" algn="l" defTabSz="91365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69374" indent="-228413" algn="l" defTabSz="91365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6202" indent="-228413" algn="l" defTabSz="91365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3028" indent="-228413" algn="l" defTabSz="91365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653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1pPr>
      <a:lvl2pPr marL="456826" algn="l" defTabSz="913653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2pPr>
      <a:lvl3pPr marL="913653" algn="l" defTabSz="913653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3pPr>
      <a:lvl4pPr marL="1370480" algn="l" defTabSz="913653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4pPr>
      <a:lvl5pPr marL="1827308" algn="l" defTabSz="913653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5pPr>
      <a:lvl6pPr marL="2284135" algn="l" defTabSz="913653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6pPr>
      <a:lvl7pPr marL="2740961" algn="l" defTabSz="913653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7pPr>
      <a:lvl8pPr marL="3197786" algn="l" defTabSz="913653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8pPr>
      <a:lvl9pPr marL="3654616" algn="l" defTabSz="913653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345910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  <p:sldLayoutId id="2147483849" r:id="rId9"/>
    <p:sldLayoutId id="2147483850" r:id="rId10"/>
    <p:sldLayoutId id="2147483851" r:id="rId11"/>
    <p:sldLayoutId id="2147483852" r:id="rId12"/>
  </p:sldLayoutIdLst>
  <p:transition>
    <p:fade/>
  </p:transition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926425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54" r:id="rId1"/>
    <p:sldLayoutId id="2147483855" r:id="rId2"/>
    <p:sldLayoutId id="2147483856" r:id="rId3"/>
    <p:sldLayoutId id="2147483857" r:id="rId4"/>
    <p:sldLayoutId id="2147483858" r:id="rId5"/>
    <p:sldLayoutId id="2147483859" r:id="rId6"/>
    <p:sldLayoutId id="2147483860" r:id="rId7"/>
    <p:sldLayoutId id="2147483861" r:id="rId8"/>
    <p:sldLayoutId id="2147483862" r:id="rId9"/>
    <p:sldLayoutId id="2147483863" r:id="rId10"/>
    <p:sldLayoutId id="2147483864" r:id="rId11"/>
    <p:sldLayoutId id="2147483865" r:id="rId12"/>
    <p:sldLayoutId id="2147483866" r:id="rId13"/>
    <p:sldLayoutId id="2147483867" r:id="rId14"/>
    <p:sldLayoutId id="2147483868" r:id="rId15"/>
    <p:sldLayoutId id="2147483869" r:id="rId16"/>
    <p:sldLayoutId id="2147483870" r:id="rId17"/>
    <p:sldLayoutId id="2147483871" r:id="rId18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tif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0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tif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0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33.xml"/><Relationship Id="rId1" Type="http://schemas.openxmlformats.org/officeDocument/2006/relationships/themeOverride" Target="../theme/themeOverride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3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2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26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tags" Target="../tags/tag3.xml"/><Relationship Id="rId7" Type="http://schemas.openxmlformats.org/officeDocument/2006/relationships/notesSlide" Target="../notesSlides/notesSlide1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235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3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3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3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3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37.xml"/><Relationship Id="rId5" Type="http://schemas.openxmlformats.org/officeDocument/2006/relationships/image" Target="../media/image52.gif"/><Relationship Id="rId4" Type="http://schemas.openxmlformats.org/officeDocument/2006/relationships/image" Target="../media/image5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233.xml"/><Relationship Id="rId1" Type="http://schemas.openxmlformats.org/officeDocument/2006/relationships/themeOverride" Target="../theme/themeOverride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3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39.xml"/><Relationship Id="rId6" Type="http://schemas.openxmlformats.org/officeDocument/2006/relationships/image" Target="../media/image56.svg"/><Relationship Id="rId5" Type="http://schemas.openxmlformats.org/officeDocument/2006/relationships/image" Target="../media/image55.png"/><Relationship Id="rId4" Type="http://schemas.openxmlformats.org/officeDocument/2006/relationships/image" Target="../media/image54.tiff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svg"/><Relationship Id="rId3" Type="http://schemas.openxmlformats.org/officeDocument/2006/relationships/notesSlide" Target="../notesSlides/notesSlide22.xml"/><Relationship Id="rId7" Type="http://schemas.openxmlformats.org/officeDocument/2006/relationships/image" Target="../media/image55.png"/><Relationship Id="rId2" Type="http://schemas.openxmlformats.org/officeDocument/2006/relationships/slideLayout" Target="../slideLayouts/slideLayout239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54.tiff"/><Relationship Id="rId5" Type="http://schemas.openxmlformats.org/officeDocument/2006/relationships/image" Target="../media/image53.png"/><Relationship Id="rId10" Type="http://schemas.openxmlformats.org/officeDocument/2006/relationships/image" Target="../media/image59.svg"/><Relationship Id="rId4" Type="http://schemas.openxmlformats.org/officeDocument/2006/relationships/image" Target="../media/image57.png"/><Relationship Id="rId9" Type="http://schemas.openxmlformats.org/officeDocument/2006/relationships/image" Target="../media/image58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image" Target="../media/image57.png"/><Relationship Id="rId7" Type="http://schemas.openxmlformats.org/officeDocument/2006/relationships/image" Target="../media/image56.sv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39.xml"/><Relationship Id="rId6" Type="http://schemas.openxmlformats.org/officeDocument/2006/relationships/image" Target="../media/image55.png"/><Relationship Id="rId5" Type="http://schemas.openxmlformats.org/officeDocument/2006/relationships/image" Target="../media/image54.tiff"/><Relationship Id="rId4" Type="http://schemas.openxmlformats.org/officeDocument/2006/relationships/image" Target="../media/image53.png"/><Relationship Id="rId9" Type="http://schemas.openxmlformats.org/officeDocument/2006/relationships/image" Target="../media/image59.sv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image" Target="../media/image57.png"/><Relationship Id="rId7" Type="http://schemas.openxmlformats.org/officeDocument/2006/relationships/image" Target="../media/image56.sv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39.xml"/><Relationship Id="rId6" Type="http://schemas.openxmlformats.org/officeDocument/2006/relationships/image" Target="../media/image55.png"/><Relationship Id="rId5" Type="http://schemas.openxmlformats.org/officeDocument/2006/relationships/image" Target="../media/image54.tiff"/><Relationship Id="rId4" Type="http://schemas.openxmlformats.org/officeDocument/2006/relationships/image" Target="../media/image53.png"/><Relationship Id="rId9" Type="http://schemas.openxmlformats.org/officeDocument/2006/relationships/image" Target="../media/image59.sv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7.png"/><Relationship Id="rId7" Type="http://schemas.openxmlformats.org/officeDocument/2006/relationships/image" Target="../media/image54.tiff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39.xml"/><Relationship Id="rId6" Type="http://schemas.openxmlformats.org/officeDocument/2006/relationships/image" Target="../media/image53.png"/><Relationship Id="rId11" Type="http://schemas.openxmlformats.org/officeDocument/2006/relationships/image" Target="../media/image59.svg"/><Relationship Id="rId5" Type="http://schemas.openxmlformats.org/officeDocument/2006/relationships/image" Target="../media/image61.svg"/><Relationship Id="rId10" Type="http://schemas.openxmlformats.org/officeDocument/2006/relationships/image" Target="../media/image58.png"/><Relationship Id="rId4" Type="http://schemas.openxmlformats.org/officeDocument/2006/relationships/image" Target="../media/image60.png"/><Relationship Id="rId9" Type="http://schemas.openxmlformats.org/officeDocument/2006/relationships/image" Target="../media/image56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image" Target="../media/image57.png"/><Relationship Id="rId7" Type="http://schemas.openxmlformats.org/officeDocument/2006/relationships/image" Target="../media/image56.sv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39.xml"/><Relationship Id="rId6" Type="http://schemas.openxmlformats.org/officeDocument/2006/relationships/image" Target="../media/image55.png"/><Relationship Id="rId5" Type="http://schemas.openxmlformats.org/officeDocument/2006/relationships/image" Target="../media/image54.tiff"/><Relationship Id="rId4" Type="http://schemas.openxmlformats.org/officeDocument/2006/relationships/image" Target="../media/image53.png"/><Relationship Id="rId9" Type="http://schemas.openxmlformats.org/officeDocument/2006/relationships/image" Target="../media/image59.sv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image" Target="../media/image57.png"/><Relationship Id="rId7" Type="http://schemas.openxmlformats.org/officeDocument/2006/relationships/image" Target="../media/image56.sv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39.xml"/><Relationship Id="rId6" Type="http://schemas.openxmlformats.org/officeDocument/2006/relationships/image" Target="../media/image55.png"/><Relationship Id="rId5" Type="http://schemas.openxmlformats.org/officeDocument/2006/relationships/image" Target="../media/image54.tiff"/><Relationship Id="rId10" Type="http://schemas.openxmlformats.org/officeDocument/2006/relationships/image" Target="../media/image62.gif"/><Relationship Id="rId4" Type="http://schemas.openxmlformats.org/officeDocument/2006/relationships/image" Target="../media/image53.png"/><Relationship Id="rId9" Type="http://schemas.openxmlformats.org/officeDocument/2006/relationships/image" Target="../media/image59.sv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233.xml"/><Relationship Id="rId1" Type="http://schemas.openxmlformats.org/officeDocument/2006/relationships/themeOverride" Target="../theme/themeOverride4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3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233.xml"/><Relationship Id="rId1" Type="http://schemas.openxmlformats.org/officeDocument/2006/relationships/themeOverride" Target="../theme/themeOverride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3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35.xml"/><Relationship Id="rId4" Type="http://schemas.openxmlformats.org/officeDocument/2006/relationships/image" Target="../media/image66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35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233.xml"/><Relationship Id="rId1" Type="http://schemas.openxmlformats.org/officeDocument/2006/relationships/themeOverride" Target="../theme/themeOverride6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svg"/><Relationship Id="rId3" Type="http://schemas.openxmlformats.org/officeDocument/2006/relationships/image" Target="../media/image69.png"/><Relationship Id="rId7" Type="http://schemas.openxmlformats.org/officeDocument/2006/relationships/image" Target="../media/image73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35.xml"/><Relationship Id="rId6" Type="http://schemas.openxmlformats.org/officeDocument/2006/relationships/image" Target="../media/image72.svg"/><Relationship Id="rId5" Type="http://schemas.openxmlformats.org/officeDocument/2006/relationships/image" Target="../media/image71.png"/><Relationship Id="rId10" Type="http://schemas.openxmlformats.org/officeDocument/2006/relationships/image" Target="../media/image76.svg"/><Relationship Id="rId4" Type="http://schemas.openxmlformats.org/officeDocument/2006/relationships/image" Target="../media/image70.png"/><Relationship Id="rId9" Type="http://schemas.openxmlformats.org/officeDocument/2006/relationships/image" Target="../media/image7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tiff"/><Relationship Id="rId1" Type="http://schemas.openxmlformats.org/officeDocument/2006/relationships/slideLayout" Target="../slideLayouts/slideLayout20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236.xml"/><Relationship Id="rId1" Type="http://schemas.openxmlformats.org/officeDocument/2006/relationships/themeOverride" Target="../theme/themeOverride7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jpeg"/><Relationship Id="rId13" Type="http://schemas.openxmlformats.org/officeDocument/2006/relationships/image" Target="../media/image87.png"/><Relationship Id="rId3" Type="http://schemas.openxmlformats.org/officeDocument/2006/relationships/image" Target="../media/image77.png"/><Relationship Id="rId7" Type="http://schemas.openxmlformats.org/officeDocument/2006/relationships/image" Target="../media/image81.png"/><Relationship Id="rId12" Type="http://schemas.openxmlformats.org/officeDocument/2006/relationships/image" Target="../media/image86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39.xml"/><Relationship Id="rId6" Type="http://schemas.openxmlformats.org/officeDocument/2006/relationships/image" Target="../media/image80.png"/><Relationship Id="rId11" Type="http://schemas.openxmlformats.org/officeDocument/2006/relationships/image" Target="../media/image85.png"/><Relationship Id="rId5" Type="http://schemas.openxmlformats.org/officeDocument/2006/relationships/image" Target="../media/image79.png"/><Relationship Id="rId10" Type="http://schemas.openxmlformats.org/officeDocument/2006/relationships/image" Target="../media/image84.png"/><Relationship Id="rId4" Type="http://schemas.openxmlformats.org/officeDocument/2006/relationships/image" Target="../media/image78.png"/><Relationship Id="rId9" Type="http://schemas.openxmlformats.org/officeDocument/2006/relationships/image" Target="../media/image83.png"/><Relationship Id="rId14" Type="http://schemas.openxmlformats.org/officeDocument/2006/relationships/image" Target="../media/image88.png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235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235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235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235.xml"/><Relationship Id="rId4" Type="http://schemas.openxmlformats.org/officeDocument/2006/relationships/image" Target="../media/image94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35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png"/><Relationship Id="rId13" Type="http://schemas.openxmlformats.org/officeDocument/2006/relationships/image" Target="../media/image107.png"/><Relationship Id="rId3" Type="http://schemas.openxmlformats.org/officeDocument/2006/relationships/image" Target="../media/image97.png"/><Relationship Id="rId7" Type="http://schemas.openxmlformats.org/officeDocument/2006/relationships/image" Target="../media/image101.svg"/><Relationship Id="rId12" Type="http://schemas.openxmlformats.org/officeDocument/2006/relationships/image" Target="../media/image106.png"/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235.xml"/><Relationship Id="rId6" Type="http://schemas.openxmlformats.org/officeDocument/2006/relationships/image" Target="../media/image100.png"/><Relationship Id="rId11" Type="http://schemas.openxmlformats.org/officeDocument/2006/relationships/image" Target="../media/image105.png"/><Relationship Id="rId5" Type="http://schemas.openxmlformats.org/officeDocument/2006/relationships/image" Target="../media/image99.png"/><Relationship Id="rId10" Type="http://schemas.openxmlformats.org/officeDocument/2006/relationships/image" Target="../media/image104.png"/><Relationship Id="rId4" Type="http://schemas.openxmlformats.org/officeDocument/2006/relationships/image" Target="../media/image98.png"/><Relationship Id="rId9" Type="http://schemas.openxmlformats.org/officeDocument/2006/relationships/image" Target="../media/image103.png"/><Relationship Id="rId14" Type="http://schemas.openxmlformats.org/officeDocument/2006/relationships/image" Target="../media/image108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236.xml"/><Relationship Id="rId1" Type="http://schemas.openxmlformats.org/officeDocument/2006/relationships/themeOverride" Target="../theme/themeOverride8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39.xml"/><Relationship Id="rId5" Type="http://schemas.openxmlformats.org/officeDocument/2006/relationships/image" Target="../media/image78.png"/><Relationship Id="rId4" Type="http://schemas.openxmlformats.org/officeDocument/2006/relationships/image" Target="../media/image5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8.tiff"/><Relationship Id="rId1" Type="http://schemas.openxmlformats.org/officeDocument/2006/relationships/slideLayout" Target="../slideLayouts/slideLayout203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39.xml"/><Relationship Id="rId5" Type="http://schemas.openxmlformats.org/officeDocument/2006/relationships/image" Target="../media/image78.png"/><Relationship Id="rId4" Type="http://schemas.openxmlformats.org/officeDocument/2006/relationships/image" Target="../media/image50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39.xml"/><Relationship Id="rId5" Type="http://schemas.openxmlformats.org/officeDocument/2006/relationships/image" Target="../media/image78.png"/><Relationship Id="rId4" Type="http://schemas.openxmlformats.org/officeDocument/2006/relationships/image" Target="../media/image50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39.xml"/><Relationship Id="rId5" Type="http://schemas.openxmlformats.org/officeDocument/2006/relationships/image" Target="../media/image78.png"/><Relationship Id="rId4" Type="http://schemas.openxmlformats.org/officeDocument/2006/relationships/image" Target="../media/image50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39.xml"/><Relationship Id="rId5" Type="http://schemas.openxmlformats.org/officeDocument/2006/relationships/image" Target="../media/image78.png"/><Relationship Id="rId4" Type="http://schemas.openxmlformats.org/officeDocument/2006/relationships/image" Target="../media/image50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39.xml"/><Relationship Id="rId5" Type="http://schemas.openxmlformats.org/officeDocument/2006/relationships/image" Target="../media/image78.png"/><Relationship Id="rId4" Type="http://schemas.openxmlformats.org/officeDocument/2006/relationships/image" Target="../media/image50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39.xml"/><Relationship Id="rId5" Type="http://schemas.openxmlformats.org/officeDocument/2006/relationships/image" Target="../media/image78.png"/><Relationship Id="rId4" Type="http://schemas.openxmlformats.org/officeDocument/2006/relationships/image" Target="../media/image50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39.xml"/><Relationship Id="rId5" Type="http://schemas.openxmlformats.org/officeDocument/2006/relationships/image" Target="../media/image78.png"/><Relationship Id="rId4" Type="http://schemas.openxmlformats.org/officeDocument/2006/relationships/image" Target="../media/image50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39.xml"/><Relationship Id="rId5" Type="http://schemas.openxmlformats.org/officeDocument/2006/relationships/image" Target="../media/image78.png"/><Relationship Id="rId4" Type="http://schemas.openxmlformats.org/officeDocument/2006/relationships/image" Target="../media/image50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39.xml"/><Relationship Id="rId5" Type="http://schemas.openxmlformats.org/officeDocument/2006/relationships/image" Target="../media/image78.png"/><Relationship Id="rId4" Type="http://schemas.openxmlformats.org/officeDocument/2006/relationships/image" Target="../media/image50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39.xml"/><Relationship Id="rId5" Type="http://schemas.openxmlformats.org/officeDocument/2006/relationships/image" Target="../media/image78.png"/><Relationship Id="rId4" Type="http://schemas.openxmlformats.org/officeDocument/2006/relationships/image" Target="../media/image5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39.xml"/><Relationship Id="rId5" Type="http://schemas.openxmlformats.org/officeDocument/2006/relationships/image" Target="../media/image78.png"/><Relationship Id="rId4" Type="http://schemas.openxmlformats.org/officeDocument/2006/relationships/image" Target="../media/image50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39.xml"/><Relationship Id="rId5" Type="http://schemas.openxmlformats.org/officeDocument/2006/relationships/image" Target="../media/image78.png"/><Relationship Id="rId4" Type="http://schemas.openxmlformats.org/officeDocument/2006/relationships/image" Target="../media/image50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39.xml"/><Relationship Id="rId5" Type="http://schemas.openxmlformats.org/officeDocument/2006/relationships/image" Target="../media/image78.png"/><Relationship Id="rId4" Type="http://schemas.openxmlformats.org/officeDocument/2006/relationships/image" Target="../media/image50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40.xml"/><Relationship Id="rId6" Type="http://schemas.openxmlformats.org/officeDocument/2006/relationships/image" Target="../media/image112.emf"/><Relationship Id="rId5" Type="http://schemas.openxmlformats.org/officeDocument/2006/relationships/image" Target="../media/image111.png"/><Relationship Id="rId4" Type="http://schemas.openxmlformats.org/officeDocument/2006/relationships/image" Target="../media/image110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tiff"/><Relationship Id="rId1" Type="http://schemas.openxmlformats.org/officeDocument/2006/relationships/slideLayout" Target="../slideLayouts/slideLayout20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tif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0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149136" y="2771205"/>
            <a:ext cx="10134216" cy="2139175"/>
          </a:xfrm>
        </p:spPr>
        <p:txBody>
          <a:bodyPr/>
          <a:lstStyle/>
          <a:p>
            <a:pPr algn="ctr"/>
            <a:r>
              <a:rPr lang="en-US" dirty="0" err="1">
                <a:solidFill>
                  <a:srgbClr val="FFC000"/>
                </a:solidFill>
              </a:rPr>
              <a:t>MLOps</a:t>
            </a:r>
            <a:br>
              <a:rPr lang="en-US" dirty="0">
                <a:solidFill>
                  <a:srgbClr val="FFC000"/>
                </a:solidFill>
              </a:rPr>
            </a:br>
            <a:r>
              <a:rPr lang="en-US" dirty="0">
                <a:solidFill>
                  <a:srgbClr val="FFC000"/>
                </a:solidFill>
              </a:rPr>
              <a:t>Kick-off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C27DE31-05E3-4CB7-B516-7993717BFCC3}"/>
              </a:ext>
            </a:extLst>
          </p:cNvPr>
          <p:cNvSpPr txBox="1">
            <a:spLocks/>
          </p:cNvSpPr>
          <p:nvPr/>
        </p:nvSpPr>
        <p:spPr>
          <a:xfrm>
            <a:off x="520849" y="252169"/>
            <a:ext cx="660457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rPr>
              <a:t>What The Hack?!</a:t>
            </a:r>
          </a:p>
        </p:txBody>
      </p:sp>
    </p:spTree>
    <p:extLst>
      <p:ext uri="{BB962C8B-B14F-4D97-AF65-F5344CB8AC3E}">
        <p14:creationId xmlns:p14="http://schemas.microsoft.com/office/powerpoint/2010/main" val="4188521845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5F9A0B9-16EA-674C-9F51-93BF10956E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39" y="1161030"/>
            <a:ext cx="11548949" cy="2280588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You can use any tooling you want, but we strongly encourage (and will only support the following):</a:t>
            </a:r>
          </a:p>
          <a:p>
            <a:pPr lvl="1"/>
            <a:r>
              <a:rPr lang="en-US" dirty="0"/>
              <a:t>-- insert your list of required tooling here -- </a:t>
            </a:r>
          </a:p>
          <a:p>
            <a:pPr lvl="1"/>
            <a:r>
              <a:rPr lang="en-US" dirty="0"/>
              <a:t>-- </a:t>
            </a:r>
            <a:r>
              <a:rPr lang="en-US" dirty="0" err="1"/>
              <a:t>Eg</a:t>
            </a:r>
            <a:r>
              <a:rPr lang="en-US" dirty="0"/>
              <a:t>: Visual Studio Code </a:t>
            </a:r>
          </a:p>
          <a:p>
            <a:pPr lvl="1"/>
            <a:r>
              <a:rPr lang="en-US" dirty="0"/>
              <a:t>-- </a:t>
            </a:r>
            <a:r>
              <a:rPr lang="en-US" dirty="0" err="1"/>
              <a:t>Eg</a:t>
            </a:r>
            <a:r>
              <a:rPr lang="en-US" dirty="0"/>
              <a:t>: Windows Subsystem for Linux with the Azure CLI installed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DADFA8C-24AF-3540-80D8-FFEAB44EB08A}"/>
              </a:ext>
            </a:extLst>
          </p:cNvPr>
          <p:cNvSpPr txBox="1"/>
          <p:nvPr/>
        </p:nvSpPr>
        <p:spPr>
          <a:xfrm>
            <a:off x="478054" y="360886"/>
            <a:ext cx="9374176" cy="6647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21883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Tooling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75C24C1-8B90-0D45-8CDD-AB40598615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70463" y="3576965"/>
            <a:ext cx="3746500" cy="276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0555578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5F9A0B9-16EA-674C-9F51-93BF10956E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39" y="1161030"/>
            <a:ext cx="11548949" cy="960227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Search engines are your friend! Azure is a hot technology and much ink has been spilled on it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DADFA8C-24AF-3540-80D8-FFEAB44EB08A}"/>
              </a:ext>
            </a:extLst>
          </p:cNvPr>
          <p:cNvSpPr txBox="1"/>
          <p:nvPr/>
        </p:nvSpPr>
        <p:spPr>
          <a:xfrm>
            <a:off x="478054" y="360886"/>
            <a:ext cx="9374176" cy="6647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21883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Finding Answers</a:t>
            </a: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064B4CE5-CEF3-004C-9652-D1C24BEF5C4B}"/>
              </a:ext>
            </a:extLst>
          </p:cNvPr>
          <p:cNvSpPr txBox="1">
            <a:spLocks/>
          </p:cNvSpPr>
          <p:nvPr/>
        </p:nvSpPr>
        <p:spPr>
          <a:xfrm>
            <a:off x="2098038" y="5062812"/>
            <a:ext cx="7891349" cy="1434202"/>
          </a:xfrm>
          <a:prstGeom prst="rect">
            <a:avLst/>
          </a:prstGeom>
        </p:spPr>
        <p:txBody>
          <a:bodyPr vert="horz" wrap="square" lIns="146275" tIns="91422" rIns="146275" bIns="91422" rtlCol="0">
            <a:spAutoFit/>
          </a:bodyPr>
          <a:lstStyle>
            <a:lvl1pPr marL="336076" marR="0" indent="-336076" algn="l" defTabSz="9141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800" b="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72575" marR="0" indent="-236497" algn="l" defTabSz="9141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600" b="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2pPr>
            <a:lvl3pPr marL="784175" marR="0" indent="-224050" algn="l" defTabSz="9141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3pPr>
            <a:lvl4pPr marL="1008227" marR="0" indent="-224050" algn="l" defTabSz="9141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4pPr>
            <a:lvl5pPr marL="1232276" marR="0" indent="-224050" algn="l" defTabSz="9141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5pPr>
            <a:lvl6pPr marL="2513990" indent="-228544" algn="l" defTabSz="9141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080" indent="-228544" algn="l" defTabSz="9141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170" indent="-228544" algn="l" defTabSz="9141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258" indent="-228544" algn="l" defTabSz="9141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+mn-cs"/>
              </a:rPr>
              <a:t>The Azure docs are your best bet.</a:t>
            </a:r>
          </a:p>
          <a:p>
            <a:pPr marL="0" marR="0" lvl="0" indent="0" algn="ctr" defTabSz="9141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+mn-cs"/>
              </a:rPr>
              <a:t>Many of the related open source projects used </a:t>
            </a:r>
            <a:r>
              <a:rPr lang="en-US" b="1" dirty="0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Light"/>
              </a:rPr>
              <a:t>here have top notch documentation!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gradFill>
                <a:gsLst>
                  <a:gs pos="1250">
                    <a:srgbClr val="505050"/>
                  </a:gs>
                  <a:gs pos="100000">
                    <a:srgbClr val="505050"/>
                  </a:gs>
                </a:gsLst>
                <a:lin ang="5400000" scaled="0"/>
              </a:gra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DD080F5-79C7-5F4C-AA72-4364AAA73AA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9478" y="2458752"/>
            <a:ext cx="2928468" cy="2266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641974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9240" y="2084173"/>
            <a:ext cx="11653523" cy="2139175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And now death by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Power Point…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6EE8D2E-20E3-4040-B116-E432440A4E7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8528" y="0"/>
            <a:ext cx="587124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3349424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1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" sz="5400" dirty="0">
                <a:solidFill>
                  <a:schemeClr val="bg1"/>
                </a:solidFill>
              </a:rPr>
              <a:t>Machine Learning is now where Software Engineering was 15 years ago</a:t>
            </a:r>
            <a:endParaRPr sz="5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14221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" name="Google Shape;97;p17"/>
          <p:cNvPicPr preferRelativeResize="0"/>
          <p:nvPr/>
        </p:nvPicPr>
        <p:blipFill rotWithShape="1">
          <a:blip r:embed="rId3">
            <a:alphaModFix/>
          </a:blip>
          <a:srcRect l="8580" t="40240" r="7378" b="13207"/>
          <a:stretch/>
        </p:blipFill>
        <p:spPr>
          <a:xfrm>
            <a:off x="1" y="965050"/>
            <a:ext cx="11087100" cy="4093349"/>
          </a:xfrm>
          <a:prstGeom prst="rect">
            <a:avLst/>
          </a:prstGeom>
          <a:noFill/>
          <a:ln>
            <a:noFill/>
          </a:ln>
        </p:spPr>
      </p:pic>
      <p:sp>
        <p:nvSpPr>
          <p:cNvPr id="98" name="Google Shape;98;p17"/>
          <p:cNvSpPr/>
          <p:nvPr/>
        </p:nvSpPr>
        <p:spPr>
          <a:xfrm>
            <a:off x="0" y="4195369"/>
            <a:ext cx="6680362" cy="1463762"/>
          </a:xfrm>
          <a:prstGeom prst="rect">
            <a:avLst/>
          </a:prstGeom>
          <a:solidFill>
            <a:srgbClr val="2A61E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1867"/>
          </a:p>
        </p:txBody>
      </p:sp>
      <p:sp>
        <p:nvSpPr>
          <p:cNvPr id="99" name="Google Shape;99;p17"/>
          <p:cNvSpPr txBox="1">
            <a:spLocks noGrp="1"/>
          </p:cNvSpPr>
          <p:nvPr>
            <p:ph type="title" idx="4294967295"/>
          </p:nvPr>
        </p:nvSpPr>
        <p:spPr>
          <a:xfrm>
            <a:off x="139779" y="4346575"/>
            <a:ext cx="8350250" cy="116205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pPr>
              <a:spcBef>
                <a:spcPts val="0"/>
              </a:spcBef>
            </a:pPr>
            <a:r>
              <a:rPr lang="en" sz="6600" b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ut </a:t>
            </a:r>
            <a:r>
              <a:rPr lang="en" sz="6600" b="1" dirty="0">
                <a:solidFill>
                  <a:schemeClr val="l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L is hard!</a:t>
            </a:r>
            <a:endParaRPr sz="6600" b="1" dirty="0">
              <a:solidFill>
                <a:schemeClr val="lt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816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21"/>
          <p:cNvSpPr/>
          <p:nvPr/>
        </p:nvSpPr>
        <p:spPr>
          <a:xfrm>
            <a:off x="2183100" y="2062475"/>
            <a:ext cx="7826000" cy="2373200"/>
          </a:xfrm>
          <a:prstGeom prst="rect">
            <a:avLst/>
          </a:prstGeom>
          <a:solidFill>
            <a:srgbClr val="052CA3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algn="ctr"/>
            <a:r>
              <a:rPr lang="en" sz="4800" b="1">
                <a:solidFill>
                  <a:schemeClr val="lt1"/>
                </a:solidFill>
                <a:latin typeface="Google Sans"/>
                <a:ea typeface="Google Sans"/>
                <a:cs typeface="Google Sans"/>
                <a:sym typeface="Google Sans"/>
              </a:rPr>
              <a:t>Building a model</a:t>
            </a:r>
            <a:endParaRPr sz="4800" b="1">
              <a:solidFill>
                <a:schemeClr val="lt1"/>
              </a:solidFill>
              <a:latin typeface="Google Sans"/>
              <a:ea typeface="Google Sans"/>
              <a:cs typeface="Google Sans"/>
              <a:sym typeface="Google Sans"/>
            </a:endParaRPr>
          </a:p>
        </p:txBody>
      </p:sp>
    </p:spTree>
    <p:extLst>
      <p:ext uri="{BB962C8B-B14F-4D97-AF65-F5344CB8AC3E}">
        <p14:creationId xmlns:p14="http://schemas.microsoft.com/office/powerpoint/2010/main" val="10915541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Google Shape;129;p22"/>
          <p:cNvSpPr/>
          <p:nvPr/>
        </p:nvSpPr>
        <p:spPr>
          <a:xfrm>
            <a:off x="3939525" y="2922711"/>
            <a:ext cx="1680000" cy="988000"/>
          </a:xfrm>
          <a:prstGeom prst="rect">
            <a:avLst/>
          </a:prstGeom>
          <a:solidFill>
            <a:srgbClr val="052CA3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algn="ctr"/>
            <a:r>
              <a:rPr lang="en" sz="1467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Building</a:t>
            </a:r>
            <a:br>
              <a:rPr lang="en" sz="1467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</a:br>
            <a:r>
              <a:rPr lang="en" sz="1467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a model</a:t>
            </a:r>
            <a:endParaRPr sz="1467" b="1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grpSp>
        <p:nvGrpSpPr>
          <p:cNvPr id="130" name="Google Shape;130;p22"/>
          <p:cNvGrpSpPr/>
          <p:nvPr/>
        </p:nvGrpSpPr>
        <p:grpSpPr>
          <a:xfrm>
            <a:off x="704653" y="1622702"/>
            <a:ext cx="2156400" cy="987900"/>
            <a:chOff x="704653" y="2333900"/>
            <a:chExt cx="2156400" cy="987900"/>
          </a:xfrm>
        </p:grpSpPr>
        <p:sp>
          <p:nvSpPr>
            <p:cNvPr id="131" name="Google Shape;131;p22"/>
            <p:cNvSpPr/>
            <p:nvPr/>
          </p:nvSpPr>
          <p:spPr>
            <a:xfrm>
              <a:off x="704653" y="2333900"/>
              <a:ext cx="1680000" cy="987900"/>
            </a:xfrm>
            <a:prstGeom prst="rect">
              <a:avLst/>
            </a:prstGeom>
            <a:solidFill>
              <a:srgbClr val="052CA3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algn="ctr"/>
              <a:r>
                <a:rPr lang="en" sz="1467" b="1">
                  <a:solidFill>
                    <a:schemeClr val="lt1"/>
                  </a:solidFill>
                  <a:latin typeface="Google Sans"/>
                  <a:ea typeface="Google Sans"/>
                  <a:cs typeface="Google Sans"/>
                  <a:sym typeface="Google Sans"/>
                </a:rPr>
                <a:t>Data ingestion</a:t>
              </a:r>
              <a:endParaRPr sz="1467" b="1">
                <a:solidFill>
                  <a:schemeClr val="lt1"/>
                </a:solidFill>
                <a:latin typeface="Google Sans"/>
                <a:ea typeface="Google Sans"/>
                <a:cs typeface="Google Sans"/>
                <a:sym typeface="Google Sans"/>
              </a:endParaRPr>
            </a:p>
          </p:txBody>
        </p:sp>
        <p:cxnSp>
          <p:nvCxnSpPr>
            <p:cNvPr id="132" name="Google Shape;132;p22"/>
            <p:cNvCxnSpPr>
              <a:stCxn id="131" idx="3"/>
              <a:endCxn id="133" idx="1"/>
            </p:cNvCxnSpPr>
            <p:nvPr/>
          </p:nvCxnSpPr>
          <p:spPr>
            <a:xfrm>
              <a:off x="2384653" y="2827850"/>
              <a:ext cx="476400" cy="0"/>
            </a:xfrm>
            <a:prstGeom prst="straightConnector1">
              <a:avLst/>
            </a:prstGeom>
            <a:noFill/>
            <a:ln w="19050" cap="flat" cmpd="sng">
              <a:solidFill>
                <a:schemeClr val="dk2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</p:grpSp>
      <p:grpSp>
        <p:nvGrpSpPr>
          <p:cNvPr id="134" name="Google Shape;134;p22"/>
          <p:cNvGrpSpPr/>
          <p:nvPr/>
        </p:nvGrpSpPr>
        <p:grpSpPr>
          <a:xfrm>
            <a:off x="2861165" y="1622702"/>
            <a:ext cx="2156400" cy="987900"/>
            <a:chOff x="2861165" y="2333900"/>
            <a:chExt cx="2156400" cy="987900"/>
          </a:xfrm>
        </p:grpSpPr>
        <p:sp>
          <p:nvSpPr>
            <p:cNvPr id="133" name="Google Shape;133;p22"/>
            <p:cNvSpPr/>
            <p:nvPr/>
          </p:nvSpPr>
          <p:spPr>
            <a:xfrm>
              <a:off x="2861165" y="2333900"/>
              <a:ext cx="1680000" cy="987900"/>
            </a:xfrm>
            <a:prstGeom prst="rect">
              <a:avLst/>
            </a:prstGeom>
            <a:solidFill>
              <a:srgbClr val="052CA3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algn="ctr"/>
              <a:r>
                <a:rPr lang="en" sz="1467" b="1">
                  <a:solidFill>
                    <a:schemeClr val="lt1"/>
                  </a:solidFill>
                  <a:latin typeface="Google Sans"/>
                  <a:ea typeface="Google Sans"/>
                  <a:cs typeface="Google Sans"/>
                  <a:sym typeface="Google Sans"/>
                </a:rPr>
                <a:t>Data analysis</a:t>
              </a:r>
              <a:endParaRPr sz="1467" b="1">
                <a:solidFill>
                  <a:schemeClr val="lt1"/>
                </a:solidFill>
                <a:latin typeface="Google Sans"/>
                <a:ea typeface="Google Sans"/>
                <a:cs typeface="Google Sans"/>
                <a:sym typeface="Google Sans"/>
              </a:endParaRPr>
            </a:p>
          </p:txBody>
        </p:sp>
        <p:cxnSp>
          <p:nvCxnSpPr>
            <p:cNvPr id="135" name="Google Shape;135;p22"/>
            <p:cNvCxnSpPr>
              <a:stCxn id="133" idx="3"/>
              <a:endCxn id="136" idx="1"/>
            </p:cNvCxnSpPr>
            <p:nvPr/>
          </p:nvCxnSpPr>
          <p:spPr>
            <a:xfrm>
              <a:off x="4541165" y="2827850"/>
              <a:ext cx="476400" cy="0"/>
            </a:xfrm>
            <a:prstGeom prst="straightConnector1">
              <a:avLst/>
            </a:prstGeom>
            <a:noFill/>
            <a:ln w="19050" cap="flat" cmpd="sng">
              <a:solidFill>
                <a:schemeClr val="dk2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</p:grpSp>
      <p:grpSp>
        <p:nvGrpSpPr>
          <p:cNvPr id="137" name="Google Shape;137;p22"/>
          <p:cNvGrpSpPr/>
          <p:nvPr/>
        </p:nvGrpSpPr>
        <p:grpSpPr>
          <a:xfrm>
            <a:off x="5017677" y="1622702"/>
            <a:ext cx="2156400" cy="987900"/>
            <a:chOff x="5017678" y="2333900"/>
            <a:chExt cx="2156400" cy="987900"/>
          </a:xfrm>
        </p:grpSpPr>
        <p:sp>
          <p:nvSpPr>
            <p:cNvPr id="136" name="Google Shape;136;p22"/>
            <p:cNvSpPr/>
            <p:nvPr/>
          </p:nvSpPr>
          <p:spPr>
            <a:xfrm>
              <a:off x="5017678" y="2333900"/>
              <a:ext cx="1680000" cy="987900"/>
            </a:xfrm>
            <a:prstGeom prst="rect">
              <a:avLst/>
            </a:prstGeom>
            <a:solidFill>
              <a:srgbClr val="052CA3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algn="ctr"/>
              <a:r>
                <a:rPr lang="en" sz="1467" b="1">
                  <a:solidFill>
                    <a:schemeClr val="lt1"/>
                  </a:solidFill>
                  <a:latin typeface="Google Sans"/>
                  <a:ea typeface="Google Sans"/>
                  <a:cs typeface="Google Sans"/>
                  <a:sym typeface="Google Sans"/>
                </a:rPr>
                <a:t>Data transformation</a:t>
              </a:r>
              <a:endParaRPr sz="1467" b="1">
                <a:solidFill>
                  <a:schemeClr val="lt1"/>
                </a:solidFill>
                <a:latin typeface="Google Sans"/>
                <a:ea typeface="Google Sans"/>
                <a:cs typeface="Google Sans"/>
                <a:sym typeface="Google Sans"/>
              </a:endParaRPr>
            </a:p>
          </p:txBody>
        </p:sp>
        <p:cxnSp>
          <p:nvCxnSpPr>
            <p:cNvPr id="138" name="Google Shape;138;p22"/>
            <p:cNvCxnSpPr>
              <a:stCxn id="136" idx="3"/>
              <a:endCxn id="139" idx="1"/>
            </p:cNvCxnSpPr>
            <p:nvPr/>
          </p:nvCxnSpPr>
          <p:spPr>
            <a:xfrm>
              <a:off x="6697678" y="2827850"/>
              <a:ext cx="476400" cy="0"/>
            </a:xfrm>
            <a:prstGeom prst="straightConnector1">
              <a:avLst/>
            </a:prstGeom>
            <a:noFill/>
            <a:ln w="19050" cap="flat" cmpd="sng">
              <a:solidFill>
                <a:schemeClr val="dk2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</p:grpSp>
      <p:grpSp>
        <p:nvGrpSpPr>
          <p:cNvPr id="140" name="Google Shape;140;p22"/>
          <p:cNvGrpSpPr/>
          <p:nvPr/>
        </p:nvGrpSpPr>
        <p:grpSpPr>
          <a:xfrm>
            <a:off x="7174191" y="1622702"/>
            <a:ext cx="2156400" cy="987900"/>
            <a:chOff x="7174190" y="2333900"/>
            <a:chExt cx="2156400" cy="987900"/>
          </a:xfrm>
        </p:grpSpPr>
        <p:sp>
          <p:nvSpPr>
            <p:cNvPr id="139" name="Google Shape;139;p22"/>
            <p:cNvSpPr/>
            <p:nvPr/>
          </p:nvSpPr>
          <p:spPr>
            <a:xfrm>
              <a:off x="7174190" y="2333900"/>
              <a:ext cx="1680000" cy="987900"/>
            </a:xfrm>
            <a:prstGeom prst="rect">
              <a:avLst/>
            </a:prstGeom>
            <a:solidFill>
              <a:srgbClr val="052CA3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algn="ctr"/>
              <a:r>
                <a:rPr lang="en" sz="1467" b="1">
                  <a:solidFill>
                    <a:schemeClr val="lt1"/>
                  </a:solidFill>
                  <a:latin typeface="Google Sans"/>
                  <a:ea typeface="Google Sans"/>
                  <a:cs typeface="Google Sans"/>
                  <a:sym typeface="Google Sans"/>
                </a:rPr>
                <a:t>Data validation</a:t>
              </a:r>
              <a:endParaRPr sz="1467" b="1">
                <a:solidFill>
                  <a:schemeClr val="lt1"/>
                </a:solidFill>
                <a:latin typeface="Google Sans"/>
                <a:ea typeface="Google Sans"/>
                <a:cs typeface="Google Sans"/>
                <a:sym typeface="Google Sans"/>
              </a:endParaRPr>
            </a:p>
          </p:txBody>
        </p:sp>
        <p:cxnSp>
          <p:nvCxnSpPr>
            <p:cNvPr id="141" name="Google Shape;141;p22"/>
            <p:cNvCxnSpPr>
              <a:stCxn id="139" idx="3"/>
              <a:endCxn id="142" idx="1"/>
            </p:cNvCxnSpPr>
            <p:nvPr/>
          </p:nvCxnSpPr>
          <p:spPr>
            <a:xfrm>
              <a:off x="8854190" y="2827850"/>
              <a:ext cx="476400" cy="0"/>
            </a:xfrm>
            <a:prstGeom prst="straightConnector1">
              <a:avLst/>
            </a:prstGeom>
            <a:noFill/>
            <a:ln w="19050" cap="flat" cmpd="sng">
              <a:solidFill>
                <a:schemeClr val="dk2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</p:grpSp>
      <p:grpSp>
        <p:nvGrpSpPr>
          <p:cNvPr id="143" name="Google Shape;143;p22"/>
          <p:cNvGrpSpPr/>
          <p:nvPr/>
        </p:nvGrpSpPr>
        <p:grpSpPr>
          <a:xfrm>
            <a:off x="9330705" y="1622702"/>
            <a:ext cx="2156495" cy="987900"/>
            <a:chOff x="9330703" y="2333900"/>
            <a:chExt cx="2156494" cy="987900"/>
          </a:xfrm>
        </p:grpSpPr>
        <p:sp>
          <p:nvSpPr>
            <p:cNvPr id="142" name="Google Shape;142;p22"/>
            <p:cNvSpPr/>
            <p:nvPr/>
          </p:nvSpPr>
          <p:spPr>
            <a:xfrm>
              <a:off x="9330703" y="2333900"/>
              <a:ext cx="1680000" cy="987900"/>
            </a:xfrm>
            <a:prstGeom prst="rect">
              <a:avLst/>
            </a:prstGeom>
            <a:solidFill>
              <a:srgbClr val="052CA3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algn="ctr"/>
              <a:r>
                <a:rPr lang="en" sz="1467" b="1">
                  <a:solidFill>
                    <a:schemeClr val="lt1"/>
                  </a:solidFill>
                  <a:latin typeface="Google Sans"/>
                  <a:ea typeface="Google Sans"/>
                  <a:cs typeface="Google Sans"/>
                  <a:sym typeface="Google Sans"/>
                </a:rPr>
                <a:t>Data splitting</a:t>
              </a:r>
              <a:endParaRPr sz="1467" b="1">
                <a:solidFill>
                  <a:schemeClr val="lt1"/>
                </a:solidFill>
                <a:latin typeface="Google Sans"/>
                <a:ea typeface="Google Sans"/>
                <a:cs typeface="Google Sans"/>
                <a:sym typeface="Google Sans"/>
              </a:endParaRPr>
            </a:p>
          </p:txBody>
        </p:sp>
        <p:cxnSp>
          <p:nvCxnSpPr>
            <p:cNvPr id="144" name="Google Shape;144;p22"/>
            <p:cNvCxnSpPr/>
            <p:nvPr/>
          </p:nvCxnSpPr>
          <p:spPr>
            <a:xfrm>
              <a:off x="11010797" y="2827850"/>
              <a:ext cx="476400" cy="0"/>
            </a:xfrm>
            <a:prstGeom prst="straightConnector1">
              <a:avLst/>
            </a:prstGeom>
            <a:noFill/>
            <a:ln w="19050" cap="flat" cmpd="sng">
              <a:solidFill>
                <a:schemeClr val="dk2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</p:grpSp>
      <p:grpSp>
        <p:nvGrpSpPr>
          <p:cNvPr id="145" name="Google Shape;145;p22"/>
          <p:cNvGrpSpPr/>
          <p:nvPr/>
        </p:nvGrpSpPr>
        <p:grpSpPr>
          <a:xfrm>
            <a:off x="1783095" y="2922711"/>
            <a:ext cx="2156400" cy="987900"/>
            <a:chOff x="1783095" y="3633910"/>
            <a:chExt cx="2156400" cy="987900"/>
          </a:xfrm>
        </p:grpSpPr>
        <p:sp>
          <p:nvSpPr>
            <p:cNvPr id="146" name="Google Shape;146;p22"/>
            <p:cNvSpPr/>
            <p:nvPr/>
          </p:nvSpPr>
          <p:spPr>
            <a:xfrm>
              <a:off x="1783095" y="3633910"/>
              <a:ext cx="1680000" cy="987900"/>
            </a:xfrm>
            <a:prstGeom prst="rect">
              <a:avLst/>
            </a:prstGeom>
            <a:solidFill>
              <a:srgbClr val="052CA3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algn="ctr"/>
              <a:r>
                <a:rPr lang="en" sz="1467" b="1">
                  <a:solidFill>
                    <a:schemeClr val="lt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Trainer</a:t>
              </a:r>
              <a:endParaRPr sz="1467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cxnSp>
          <p:nvCxnSpPr>
            <p:cNvPr id="147" name="Google Shape;147;p22"/>
            <p:cNvCxnSpPr>
              <a:stCxn id="146" idx="3"/>
              <a:endCxn id="129" idx="1"/>
            </p:cNvCxnSpPr>
            <p:nvPr/>
          </p:nvCxnSpPr>
          <p:spPr>
            <a:xfrm>
              <a:off x="3463095" y="4127860"/>
              <a:ext cx="476400" cy="0"/>
            </a:xfrm>
            <a:prstGeom prst="straightConnector1">
              <a:avLst/>
            </a:prstGeom>
            <a:noFill/>
            <a:ln w="19050" cap="flat" cmpd="sng">
              <a:solidFill>
                <a:schemeClr val="dk2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</p:grpSp>
      <p:cxnSp>
        <p:nvCxnSpPr>
          <p:cNvPr id="148" name="Google Shape;148;p22"/>
          <p:cNvCxnSpPr>
            <a:stCxn id="129" idx="3"/>
            <a:endCxn id="149" idx="1"/>
          </p:cNvCxnSpPr>
          <p:nvPr/>
        </p:nvCxnSpPr>
        <p:spPr>
          <a:xfrm>
            <a:off x="5619525" y="3416711"/>
            <a:ext cx="476400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grpSp>
        <p:nvGrpSpPr>
          <p:cNvPr id="150" name="Google Shape;150;p22"/>
          <p:cNvGrpSpPr/>
          <p:nvPr/>
        </p:nvGrpSpPr>
        <p:grpSpPr>
          <a:xfrm>
            <a:off x="6095956" y="2922711"/>
            <a:ext cx="2156400" cy="987900"/>
            <a:chOff x="6095955" y="3633910"/>
            <a:chExt cx="2156400" cy="987900"/>
          </a:xfrm>
        </p:grpSpPr>
        <p:sp>
          <p:nvSpPr>
            <p:cNvPr id="149" name="Google Shape;149;p22"/>
            <p:cNvSpPr/>
            <p:nvPr/>
          </p:nvSpPr>
          <p:spPr>
            <a:xfrm>
              <a:off x="6095955" y="3633910"/>
              <a:ext cx="1680000" cy="987900"/>
            </a:xfrm>
            <a:prstGeom prst="rect">
              <a:avLst/>
            </a:prstGeom>
            <a:solidFill>
              <a:srgbClr val="052CA3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algn="ctr"/>
              <a:r>
                <a:rPr lang="en" sz="1467" b="1">
                  <a:solidFill>
                    <a:schemeClr val="lt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Model</a:t>
              </a:r>
              <a:br>
                <a:rPr lang="en" sz="1467" b="1">
                  <a:solidFill>
                    <a:schemeClr val="lt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</a:br>
              <a:r>
                <a:rPr lang="en" sz="1467" b="1">
                  <a:solidFill>
                    <a:schemeClr val="lt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validation</a:t>
              </a:r>
              <a:endParaRPr sz="1467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cxnSp>
          <p:nvCxnSpPr>
            <p:cNvPr id="151" name="Google Shape;151;p22"/>
            <p:cNvCxnSpPr>
              <a:stCxn id="149" idx="3"/>
              <a:endCxn id="152" idx="1"/>
            </p:cNvCxnSpPr>
            <p:nvPr/>
          </p:nvCxnSpPr>
          <p:spPr>
            <a:xfrm>
              <a:off x="7775955" y="4127860"/>
              <a:ext cx="476400" cy="0"/>
            </a:xfrm>
            <a:prstGeom prst="straightConnector1">
              <a:avLst/>
            </a:prstGeom>
            <a:noFill/>
            <a:ln w="19050" cap="flat" cmpd="sng">
              <a:solidFill>
                <a:schemeClr val="dk2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</p:grpSp>
      <p:grpSp>
        <p:nvGrpSpPr>
          <p:cNvPr id="153" name="Google Shape;153;p22"/>
          <p:cNvGrpSpPr/>
          <p:nvPr/>
        </p:nvGrpSpPr>
        <p:grpSpPr>
          <a:xfrm>
            <a:off x="8252387" y="2922711"/>
            <a:ext cx="2156359" cy="987900"/>
            <a:chOff x="8252386" y="3633910"/>
            <a:chExt cx="2156358" cy="987900"/>
          </a:xfrm>
        </p:grpSpPr>
        <p:sp>
          <p:nvSpPr>
            <p:cNvPr id="152" name="Google Shape;152;p22"/>
            <p:cNvSpPr/>
            <p:nvPr/>
          </p:nvSpPr>
          <p:spPr>
            <a:xfrm>
              <a:off x="8252386" y="3633910"/>
              <a:ext cx="1680000" cy="987900"/>
            </a:xfrm>
            <a:prstGeom prst="rect">
              <a:avLst/>
            </a:prstGeom>
            <a:solidFill>
              <a:srgbClr val="052CA3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algn="ctr"/>
              <a:r>
                <a:rPr lang="en" sz="1467" b="1">
                  <a:solidFill>
                    <a:schemeClr val="lt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Training</a:t>
              </a:r>
              <a:br>
                <a:rPr lang="en" sz="1467" b="1">
                  <a:solidFill>
                    <a:schemeClr val="lt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</a:br>
              <a:r>
                <a:rPr lang="en" sz="1467" b="1">
                  <a:solidFill>
                    <a:schemeClr val="lt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at scale</a:t>
              </a:r>
              <a:endParaRPr sz="1467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cxnSp>
          <p:nvCxnSpPr>
            <p:cNvPr id="154" name="Google Shape;154;p22"/>
            <p:cNvCxnSpPr/>
            <p:nvPr/>
          </p:nvCxnSpPr>
          <p:spPr>
            <a:xfrm>
              <a:off x="9932344" y="4127762"/>
              <a:ext cx="476400" cy="0"/>
            </a:xfrm>
            <a:prstGeom prst="straightConnector1">
              <a:avLst/>
            </a:prstGeom>
            <a:noFill/>
            <a:ln w="19050" cap="flat" cmpd="sng">
              <a:solidFill>
                <a:schemeClr val="dk2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</p:grpSp>
      <p:sp>
        <p:nvSpPr>
          <p:cNvPr id="155" name="Google Shape;155;p22"/>
          <p:cNvSpPr/>
          <p:nvPr/>
        </p:nvSpPr>
        <p:spPr>
          <a:xfrm>
            <a:off x="8252391" y="4222536"/>
            <a:ext cx="1680000" cy="988000"/>
          </a:xfrm>
          <a:prstGeom prst="rect">
            <a:avLst/>
          </a:prstGeom>
          <a:solidFill>
            <a:srgbClr val="052CA3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algn="ctr"/>
            <a:r>
              <a:rPr lang="en" sz="1467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Logging</a:t>
            </a:r>
            <a:endParaRPr sz="1467" b="1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grpSp>
        <p:nvGrpSpPr>
          <p:cNvPr id="156" name="Google Shape;156;p22"/>
          <p:cNvGrpSpPr/>
          <p:nvPr/>
        </p:nvGrpSpPr>
        <p:grpSpPr>
          <a:xfrm>
            <a:off x="1783100" y="4222538"/>
            <a:ext cx="2156400" cy="987900"/>
            <a:chOff x="1783100" y="4933736"/>
            <a:chExt cx="2156400" cy="987900"/>
          </a:xfrm>
        </p:grpSpPr>
        <p:sp>
          <p:nvSpPr>
            <p:cNvPr id="157" name="Google Shape;157;p22"/>
            <p:cNvSpPr/>
            <p:nvPr/>
          </p:nvSpPr>
          <p:spPr>
            <a:xfrm>
              <a:off x="1783100" y="4933736"/>
              <a:ext cx="1680000" cy="987900"/>
            </a:xfrm>
            <a:prstGeom prst="rect">
              <a:avLst/>
            </a:prstGeom>
            <a:solidFill>
              <a:srgbClr val="052CA3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algn="ctr"/>
              <a:r>
                <a:rPr lang="en" sz="1467" b="1">
                  <a:solidFill>
                    <a:schemeClr val="lt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Roll-out</a:t>
              </a:r>
              <a:endParaRPr sz="1467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cxnSp>
          <p:nvCxnSpPr>
            <p:cNvPr id="158" name="Google Shape;158;p22"/>
            <p:cNvCxnSpPr>
              <a:stCxn id="157" idx="3"/>
              <a:endCxn id="159" idx="1"/>
            </p:cNvCxnSpPr>
            <p:nvPr/>
          </p:nvCxnSpPr>
          <p:spPr>
            <a:xfrm>
              <a:off x="3463100" y="5427686"/>
              <a:ext cx="476400" cy="0"/>
            </a:xfrm>
            <a:prstGeom prst="straightConnector1">
              <a:avLst/>
            </a:prstGeom>
            <a:noFill/>
            <a:ln w="19050" cap="flat" cmpd="sng">
              <a:solidFill>
                <a:schemeClr val="dk2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</p:grpSp>
      <p:grpSp>
        <p:nvGrpSpPr>
          <p:cNvPr id="160" name="Google Shape;160;p22"/>
          <p:cNvGrpSpPr/>
          <p:nvPr/>
        </p:nvGrpSpPr>
        <p:grpSpPr>
          <a:xfrm>
            <a:off x="3939529" y="4222538"/>
            <a:ext cx="2156400" cy="987900"/>
            <a:chOff x="3939530" y="4933736"/>
            <a:chExt cx="2156400" cy="987900"/>
          </a:xfrm>
        </p:grpSpPr>
        <p:sp>
          <p:nvSpPr>
            <p:cNvPr id="159" name="Google Shape;159;p22"/>
            <p:cNvSpPr/>
            <p:nvPr/>
          </p:nvSpPr>
          <p:spPr>
            <a:xfrm>
              <a:off x="3939530" y="4933736"/>
              <a:ext cx="1680000" cy="987900"/>
            </a:xfrm>
            <a:prstGeom prst="rect">
              <a:avLst/>
            </a:prstGeom>
            <a:solidFill>
              <a:srgbClr val="052CA3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algn="ctr"/>
              <a:r>
                <a:rPr lang="en" sz="1467" b="1">
                  <a:solidFill>
                    <a:schemeClr val="lt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Serving</a:t>
              </a:r>
              <a:endParaRPr sz="1467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cxnSp>
          <p:nvCxnSpPr>
            <p:cNvPr id="161" name="Google Shape;161;p22"/>
            <p:cNvCxnSpPr>
              <a:stCxn id="159" idx="3"/>
              <a:endCxn id="162" idx="1"/>
            </p:cNvCxnSpPr>
            <p:nvPr/>
          </p:nvCxnSpPr>
          <p:spPr>
            <a:xfrm>
              <a:off x="5619530" y="5427686"/>
              <a:ext cx="476400" cy="0"/>
            </a:xfrm>
            <a:prstGeom prst="straightConnector1">
              <a:avLst/>
            </a:prstGeom>
            <a:noFill/>
            <a:ln w="19050" cap="flat" cmpd="sng">
              <a:solidFill>
                <a:schemeClr val="dk2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</p:grpSp>
      <p:grpSp>
        <p:nvGrpSpPr>
          <p:cNvPr id="163" name="Google Shape;163;p22"/>
          <p:cNvGrpSpPr/>
          <p:nvPr/>
        </p:nvGrpSpPr>
        <p:grpSpPr>
          <a:xfrm>
            <a:off x="6095960" y="4222538"/>
            <a:ext cx="2156400" cy="987900"/>
            <a:chOff x="6095960" y="4933736"/>
            <a:chExt cx="2156400" cy="987900"/>
          </a:xfrm>
        </p:grpSpPr>
        <p:sp>
          <p:nvSpPr>
            <p:cNvPr id="162" name="Google Shape;162;p22"/>
            <p:cNvSpPr/>
            <p:nvPr/>
          </p:nvSpPr>
          <p:spPr>
            <a:xfrm>
              <a:off x="6095960" y="4933736"/>
              <a:ext cx="1680000" cy="987900"/>
            </a:xfrm>
            <a:prstGeom prst="rect">
              <a:avLst/>
            </a:prstGeom>
            <a:solidFill>
              <a:srgbClr val="052CA3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algn="ctr"/>
              <a:r>
                <a:rPr lang="en" sz="1467" b="1">
                  <a:solidFill>
                    <a:schemeClr val="lt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Monitoring</a:t>
              </a:r>
              <a:endParaRPr sz="1467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cxnSp>
          <p:nvCxnSpPr>
            <p:cNvPr id="164" name="Google Shape;164;p22"/>
            <p:cNvCxnSpPr>
              <a:stCxn id="162" idx="3"/>
              <a:endCxn id="155" idx="1"/>
            </p:cNvCxnSpPr>
            <p:nvPr/>
          </p:nvCxnSpPr>
          <p:spPr>
            <a:xfrm>
              <a:off x="7775960" y="5427686"/>
              <a:ext cx="476400" cy="0"/>
            </a:xfrm>
            <a:prstGeom prst="straightConnector1">
              <a:avLst/>
            </a:prstGeom>
            <a:noFill/>
            <a:ln w="19050" cap="flat" cmpd="sng">
              <a:solidFill>
                <a:schemeClr val="dk2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7A9D8AC2-F1F5-A54A-863A-1DC3344092F5}"/>
              </a:ext>
            </a:extLst>
          </p:cNvPr>
          <p:cNvSpPr txBox="1"/>
          <p:nvPr/>
        </p:nvSpPr>
        <p:spPr>
          <a:xfrm>
            <a:off x="1629508" y="527538"/>
            <a:ext cx="7677551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000" dirty="0">
                <a:solidFill>
                  <a:schemeClr val="bg1"/>
                </a:solidFill>
              </a:rPr>
              <a:t>Discuss how ’</a:t>
            </a:r>
            <a:r>
              <a:rPr lang="en-US" sz="2000" dirty="0" err="1">
                <a:solidFill>
                  <a:schemeClr val="bg1"/>
                </a:solidFill>
              </a:rPr>
              <a:t>Buidling</a:t>
            </a:r>
            <a:r>
              <a:rPr lang="en-US" sz="2000" dirty="0">
                <a:solidFill>
                  <a:schemeClr val="bg1"/>
                </a:solidFill>
              </a:rPr>
              <a:t> a model is only one part of the whole process</a:t>
            </a:r>
          </a:p>
        </p:txBody>
      </p:sp>
    </p:spTree>
    <p:extLst>
      <p:ext uri="{BB962C8B-B14F-4D97-AF65-F5344CB8AC3E}">
        <p14:creationId xmlns:p14="http://schemas.microsoft.com/office/powerpoint/2010/main" val="24695790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3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6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9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20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800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100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400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70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000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300"/>
                            </p:stCondLst>
                            <p:childTnLst>
                              <p:par>
                                <p:cTn id="41" presetID="1" presetClass="entr" presetSubtype="0" fill="hold" grpId="0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5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800">
                <a:solidFill>
                  <a:schemeClr val="tx1"/>
                </a:solidFill>
              </a:rPr>
              <a:t>ML Lifecycle</a:t>
            </a:r>
          </a:p>
        </p:txBody>
      </p:sp>
      <p:sp>
        <p:nvSpPr>
          <p:cNvPr id="140" name="TextBox 8">
            <a:extLst>
              <a:ext uri="{FF2B5EF4-FFF2-40B4-BE49-F238E27FC236}">
                <a16:creationId xmlns:a16="http://schemas.microsoft.com/office/drawing/2014/main" id="{C9C72490-9715-440A-963C-BD1E0CD77FCA}"/>
              </a:ext>
            </a:extLst>
          </p:cNvPr>
          <p:cNvSpPr txBox="1"/>
          <p:nvPr/>
        </p:nvSpPr>
        <p:spPr>
          <a:xfrm>
            <a:off x="778073" y="4856206"/>
            <a:ext cx="3130428" cy="12534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45" b="1" i="0" u="none" strike="noStrike" kern="800" cap="none" spc="98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Experiment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Data Acquisition 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Business Understanding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Initial Modeling</a:t>
            </a:r>
          </a:p>
        </p:txBody>
      </p:sp>
      <p:sp>
        <p:nvSpPr>
          <p:cNvPr id="141" name="TextBox 8">
            <a:extLst>
              <a:ext uri="{FF2B5EF4-FFF2-40B4-BE49-F238E27FC236}">
                <a16:creationId xmlns:a16="http://schemas.microsoft.com/office/drawing/2014/main" id="{EC787D24-B4BA-426A-AED2-3452B1B39754}"/>
              </a:ext>
            </a:extLst>
          </p:cNvPr>
          <p:cNvSpPr txBox="1"/>
          <p:nvPr/>
        </p:nvSpPr>
        <p:spPr>
          <a:xfrm>
            <a:off x="4897463" y="4856206"/>
            <a:ext cx="3130428" cy="6994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45" b="1" i="0" u="none" strike="noStrike" kern="800" cap="none" spc="98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Develop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Modeling</a:t>
            </a:r>
            <a:endParaRPr kumimoji="0" lang="en-US" sz="1800" b="1" i="0" u="none" strike="noStrike" kern="800" cap="none" spc="98" normalizeH="0" baseline="0" noProof="0">
              <a:ln>
                <a:noFill/>
              </a:ln>
              <a:solidFill>
                <a:srgbClr val="0078D4"/>
              </a:solidFill>
              <a:effectLst/>
              <a:uLnTx/>
              <a:uFillTx/>
              <a:latin typeface="Segoe UI Light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142" name="TextBox 44">
            <a:extLst>
              <a:ext uri="{FF2B5EF4-FFF2-40B4-BE49-F238E27FC236}">
                <a16:creationId xmlns:a16="http://schemas.microsoft.com/office/drawing/2014/main" id="{89B7706A-696C-4DD4-BC16-63897AC86E47}"/>
              </a:ext>
            </a:extLst>
          </p:cNvPr>
          <p:cNvSpPr txBox="1"/>
          <p:nvPr/>
        </p:nvSpPr>
        <p:spPr>
          <a:xfrm>
            <a:off x="8361105" y="4858527"/>
            <a:ext cx="3129224" cy="16758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745" b="1" i="0" u="none" strike="noStrike" kern="800" cap="none" spc="98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Operate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Continuous Delivery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Data Feedback Loop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System + Model Monitoring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45" b="0" i="0" u="none" strike="noStrike" kern="800" cap="none" spc="98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 Light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143" name="Freeform 28">
            <a:extLst>
              <a:ext uri="{FF2B5EF4-FFF2-40B4-BE49-F238E27FC236}">
                <a16:creationId xmlns:a16="http://schemas.microsoft.com/office/drawing/2014/main" id="{23EE7238-0B6D-475B-B96D-046C04D12A42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gray">
          <a:xfrm rot="2781258">
            <a:off x="2804848" y="2147510"/>
            <a:ext cx="1824326" cy="1855063"/>
          </a:xfrm>
          <a:custGeom>
            <a:avLst/>
            <a:gdLst>
              <a:gd name="T0" fmla="*/ 853546768 w 425"/>
              <a:gd name="T1" fmla="*/ 2147483647 h 425"/>
              <a:gd name="T2" fmla="*/ 362757401 w 425"/>
              <a:gd name="T3" fmla="*/ 718866784 h 425"/>
              <a:gd name="T4" fmla="*/ 2147483647 w 425"/>
              <a:gd name="T5" fmla="*/ 308085710 h 425"/>
              <a:gd name="T6" fmla="*/ 2147483647 w 425"/>
              <a:gd name="T7" fmla="*/ 1842473085 h 425"/>
              <a:gd name="T8" fmla="*/ 853546768 w 425"/>
              <a:gd name="T9" fmla="*/ 2147483647 h 42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25"/>
              <a:gd name="T16" fmla="*/ 0 h 425"/>
              <a:gd name="T17" fmla="*/ 425 w 425"/>
              <a:gd name="T18" fmla="*/ 425 h 42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25" h="425">
                <a:moveTo>
                  <a:pt x="120" y="373"/>
                </a:moveTo>
                <a:cubicBezTo>
                  <a:pt x="31" y="322"/>
                  <a:pt x="0" y="208"/>
                  <a:pt x="51" y="119"/>
                </a:cubicBezTo>
                <a:cubicBezTo>
                  <a:pt x="103" y="30"/>
                  <a:pt x="217" y="0"/>
                  <a:pt x="306" y="51"/>
                </a:cubicBezTo>
                <a:cubicBezTo>
                  <a:pt x="394" y="103"/>
                  <a:pt x="425" y="216"/>
                  <a:pt x="374" y="305"/>
                </a:cubicBezTo>
                <a:cubicBezTo>
                  <a:pt x="322" y="394"/>
                  <a:pt x="208" y="425"/>
                  <a:pt x="120" y="373"/>
                </a:cubicBezTo>
                <a:close/>
              </a:path>
            </a:pathLst>
          </a:custGeom>
          <a:noFill/>
          <a:ln w="3175">
            <a:noFill/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54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55" name="Freeform 39">
            <a:extLst>
              <a:ext uri="{FF2B5EF4-FFF2-40B4-BE49-F238E27FC236}">
                <a16:creationId xmlns:a16="http://schemas.microsoft.com/office/drawing/2014/main" id="{D68604F8-4686-4EF9-B60D-63E8F06A2124}"/>
              </a:ext>
            </a:extLst>
          </p:cNvPr>
          <p:cNvSpPr>
            <a:spLocks noEditPoints="1"/>
          </p:cNvSpPr>
          <p:nvPr/>
        </p:nvSpPr>
        <p:spPr bwMode="auto">
          <a:xfrm rot="326988" flipH="1">
            <a:off x="6654368" y="2295014"/>
            <a:ext cx="161461" cy="275479"/>
          </a:xfrm>
          <a:custGeom>
            <a:avLst/>
            <a:gdLst>
              <a:gd name="T0" fmla="*/ 112 w 112"/>
              <a:gd name="T1" fmla="*/ 56 h 190"/>
              <a:gd name="T2" fmla="*/ 56 w 112"/>
              <a:gd name="T3" fmla="*/ 0 h 190"/>
              <a:gd name="T4" fmla="*/ 0 w 112"/>
              <a:gd name="T5" fmla="*/ 56 h 190"/>
              <a:gd name="T6" fmla="*/ 49 w 112"/>
              <a:gd name="T7" fmla="*/ 112 h 190"/>
              <a:gd name="T8" fmla="*/ 49 w 112"/>
              <a:gd name="T9" fmla="*/ 125 h 190"/>
              <a:gd name="T10" fmla="*/ 43 w 112"/>
              <a:gd name="T11" fmla="*/ 125 h 190"/>
              <a:gd name="T12" fmla="*/ 43 w 112"/>
              <a:gd name="T13" fmla="*/ 190 h 190"/>
              <a:gd name="T14" fmla="*/ 69 w 112"/>
              <a:gd name="T15" fmla="*/ 190 h 190"/>
              <a:gd name="T16" fmla="*/ 69 w 112"/>
              <a:gd name="T17" fmla="*/ 125 h 190"/>
              <a:gd name="T18" fmla="*/ 63 w 112"/>
              <a:gd name="T19" fmla="*/ 125 h 190"/>
              <a:gd name="T20" fmla="*/ 63 w 112"/>
              <a:gd name="T21" fmla="*/ 112 h 190"/>
              <a:gd name="T22" fmla="*/ 112 w 112"/>
              <a:gd name="T23" fmla="*/ 56 h 190"/>
              <a:gd name="T24" fmla="*/ 21 w 112"/>
              <a:gd name="T25" fmla="*/ 56 h 190"/>
              <a:gd name="T26" fmla="*/ 56 w 112"/>
              <a:gd name="T27" fmla="*/ 21 h 190"/>
              <a:gd name="T28" fmla="*/ 92 w 112"/>
              <a:gd name="T29" fmla="*/ 56 h 190"/>
              <a:gd name="T30" fmla="*/ 56 w 112"/>
              <a:gd name="T31" fmla="*/ 92 h 190"/>
              <a:gd name="T32" fmla="*/ 21 w 112"/>
              <a:gd name="T33" fmla="*/ 56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12" h="190">
                <a:moveTo>
                  <a:pt x="112" y="56"/>
                </a:moveTo>
                <a:cubicBezTo>
                  <a:pt x="112" y="25"/>
                  <a:pt x="87" y="0"/>
                  <a:pt x="56" y="0"/>
                </a:cubicBezTo>
                <a:cubicBezTo>
                  <a:pt x="25" y="0"/>
                  <a:pt x="0" y="25"/>
                  <a:pt x="0" y="56"/>
                </a:cubicBezTo>
                <a:cubicBezTo>
                  <a:pt x="0" y="85"/>
                  <a:pt x="22" y="109"/>
                  <a:pt x="49" y="112"/>
                </a:cubicBezTo>
                <a:cubicBezTo>
                  <a:pt x="49" y="125"/>
                  <a:pt x="49" y="125"/>
                  <a:pt x="49" y="125"/>
                </a:cubicBezTo>
                <a:cubicBezTo>
                  <a:pt x="43" y="125"/>
                  <a:pt x="43" y="125"/>
                  <a:pt x="43" y="125"/>
                </a:cubicBezTo>
                <a:cubicBezTo>
                  <a:pt x="43" y="190"/>
                  <a:pt x="43" y="190"/>
                  <a:pt x="43" y="190"/>
                </a:cubicBezTo>
                <a:cubicBezTo>
                  <a:pt x="69" y="190"/>
                  <a:pt x="69" y="190"/>
                  <a:pt x="69" y="190"/>
                </a:cubicBezTo>
                <a:cubicBezTo>
                  <a:pt x="69" y="125"/>
                  <a:pt x="69" y="125"/>
                  <a:pt x="69" y="125"/>
                </a:cubicBezTo>
                <a:cubicBezTo>
                  <a:pt x="63" y="125"/>
                  <a:pt x="63" y="125"/>
                  <a:pt x="63" y="125"/>
                </a:cubicBezTo>
                <a:cubicBezTo>
                  <a:pt x="63" y="112"/>
                  <a:pt x="63" y="112"/>
                  <a:pt x="63" y="112"/>
                </a:cubicBezTo>
                <a:cubicBezTo>
                  <a:pt x="91" y="109"/>
                  <a:pt x="112" y="85"/>
                  <a:pt x="112" y="56"/>
                </a:cubicBezTo>
                <a:close/>
                <a:moveTo>
                  <a:pt x="21" y="56"/>
                </a:moveTo>
                <a:cubicBezTo>
                  <a:pt x="21" y="37"/>
                  <a:pt x="37" y="21"/>
                  <a:pt x="56" y="21"/>
                </a:cubicBezTo>
                <a:cubicBezTo>
                  <a:pt x="76" y="21"/>
                  <a:pt x="92" y="37"/>
                  <a:pt x="92" y="56"/>
                </a:cubicBezTo>
                <a:cubicBezTo>
                  <a:pt x="92" y="76"/>
                  <a:pt x="76" y="92"/>
                  <a:pt x="56" y="92"/>
                </a:cubicBezTo>
                <a:cubicBezTo>
                  <a:pt x="37" y="92"/>
                  <a:pt x="21" y="76"/>
                  <a:pt x="21" y="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2531" tIns="46266" rIns="92531" bIns="4626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9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17F476DC-4D12-4A19-AAEB-7D94278C9C18}"/>
              </a:ext>
            </a:extLst>
          </p:cNvPr>
          <p:cNvSpPr txBox="1"/>
          <p:nvPr/>
        </p:nvSpPr>
        <p:spPr>
          <a:xfrm rot="1890962" flipH="1" flipV="1">
            <a:off x="7399008" y="3086737"/>
            <a:ext cx="1257767" cy="387747"/>
          </a:xfrm>
          <a:prstGeom prst="rect">
            <a:avLst/>
          </a:prstGeom>
          <a:noFill/>
        </p:spPr>
        <p:txBody>
          <a:bodyPr wrap="square" lIns="36429" tIns="36429" rIns="36429" bIns="36429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7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998" b="1" i="0" u="none" strike="noStrike" kern="1200" cap="none" spc="0" normalizeH="0" baseline="0" noProof="0">
              <a:ln>
                <a:noFill/>
              </a:ln>
              <a:solidFill>
                <a:srgbClr val="323232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0C3BDC5-FCE6-4DA2-A360-7016ACB1F581}"/>
              </a:ext>
            </a:extLst>
          </p:cNvPr>
          <p:cNvGrpSpPr/>
          <p:nvPr/>
        </p:nvGrpSpPr>
        <p:grpSpPr>
          <a:xfrm>
            <a:off x="2191805" y="1503404"/>
            <a:ext cx="3050411" cy="3078845"/>
            <a:chOff x="2197971" y="1559524"/>
            <a:chExt cx="3057324" cy="3029296"/>
          </a:xfrm>
        </p:grpSpPr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61BE89B7-678C-4E9F-916B-C32F15AE78AA}"/>
                </a:ext>
              </a:extLst>
            </p:cNvPr>
            <p:cNvSpPr txBox="1"/>
            <p:nvPr/>
          </p:nvSpPr>
          <p:spPr>
            <a:xfrm rot="1890962">
              <a:off x="3251185" y="2675110"/>
              <a:ext cx="1257767" cy="387747"/>
            </a:xfrm>
            <a:prstGeom prst="rect">
              <a:avLst/>
            </a:prstGeom>
            <a:noFill/>
          </p:spPr>
          <p:txBody>
            <a:bodyPr wrap="square" lIns="36429" tIns="36429" rIns="36429" bIns="36429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7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998" b="1" i="0" u="none" strike="noStrike" kern="1200" cap="none" spc="0" normalizeH="0" baseline="0" noProof="0">
                <a:ln>
                  <a:noFill/>
                </a:ln>
                <a:solidFill>
                  <a:srgbClr val="323232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" name="Freeform 30">
              <a:extLst>
                <a:ext uri="{FF2B5EF4-FFF2-40B4-BE49-F238E27FC236}">
                  <a16:creationId xmlns:a16="http://schemas.microsoft.com/office/drawing/2014/main" id="{955D5F7B-867B-4C58-9CF7-87BBBB624BD0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 rot="2781258">
              <a:off x="3087303" y="1568502"/>
              <a:ext cx="1326082" cy="1308125"/>
            </a:xfrm>
            <a:custGeom>
              <a:avLst/>
              <a:gdLst>
                <a:gd name="T0" fmla="*/ 668301856 w 309"/>
                <a:gd name="T1" fmla="*/ 1790512433 h 300"/>
                <a:gd name="T2" fmla="*/ 860260111 w 309"/>
                <a:gd name="T3" fmla="*/ 1157502897 h 300"/>
                <a:gd name="T4" fmla="*/ 1898261168 w 309"/>
                <a:gd name="T5" fmla="*/ 572723608 h 300"/>
                <a:gd name="T6" fmla="*/ 2147483647 w 309"/>
                <a:gd name="T7" fmla="*/ 277317587 h 300"/>
                <a:gd name="T8" fmla="*/ 1905369739 w 309"/>
                <a:gd name="T9" fmla="*/ 0 h 300"/>
                <a:gd name="T10" fmla="*/ 0 w 309"/>
                <a:gd name="T11" fmla="*/ 1754340477 h 300"/>
                <a:gd name="T12" fmla="*/ 0 w 309"/>
                <a:gd name="T13" fmla="*/ 1808598411 h 300"/>
                <a:gd name="T14" fmla="*/ 341259499 w 309"/>
                <a:gd name="T15" fmla="*/ 1549366879 h 300"/>
                <a:gd name="T16" fmla="*/ 668301856 w 309"/>
                <a:gd name="T17" fmla="*/ 1790512433 h 3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9"/>
                <a:gd name="T28" fmla="*/ 0 h 300"/>
                <a:gd name="T29" fmla="*/ 309 w 309"/>
                <a:gd name="T30" fmla="*/ 300 h 3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9" h="300">
                  <a:moveTo>
                    <a:pt x="94" y="297"/>
                  </a:moveTo>
                  <a:cubicBezTo>
                    <a:pt x="93" y="262"/>
                    <a:pt x="101" y="225"/>
                    <a:pt x="121" y="192"/>
                  </a:cubicBezTo>
                  <a:cubicBezTo>
                    <a:pt x="153" y="136"/>
                    <a:pt x="208" y="102"/>
                    <a:pt x="267" y="95"/>
                  </a:cubicBezTo>
                  <a:cubicBezTo>
                    <a:pt x="309" y="46"/>
                    <a:pt x="309" y="46"/>
                    <a:pt x="309" y="46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118" y="12"/>
                    <a:pt x="0" y="138"/>
                    <a:pt x="0" y="291"/>
                  </a:cubicBezTo>
                  <a:cubicBezTo>
                    <a:pt x="0" y="294"/>
                    <a:pt x="0" y="297"/>
                    <a:pt x="0" y="300"/>
                  </a:cubicBezTo>
                  <a:cubicBezTo>
                    <a:pt x="48" y="257"/>
                    <a:pt x="48" y="257"/>
                    <a:pt x="48" y="257"/>
                  </a:cubicBezTo>
                  <a:lnTo>
                    <a:pt x="94" y="297"/>
                  </a:lnTo>
                  <a:close/>
                </a:path>
              </a:pathLst>
            </a:custGeom>
            <a:solidFill>
              <a:srgbClr val="8FB4DB"/>
            </a:solidFill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54" b="0" i="0" u="none" strike="noStrike" kern="1200" cap="none" spc="0" normalizeH="0" baseline="0" noProof="0">
                <a:ln>
                  <a:noFill/>
                </a:ln>
                <a:solidFill>
                  <a:srgbClr val="8FB4DB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" name="Freeform 39">
              <a:extLst>
                <a:ext uri="{FF2B5EF4-FFF2-40B4-BE49-F238E27FC236}">
                  <a16:creationId xmlns:a16="http://schemas.microsoft.com/office/drawing/2014/main" id="{1E296C15-F537-4FDF-BC2F-1AB7FB74077F}"/>
                </a:ext>
              </a:extLst>
            </p:cNvPr>
            <p:cNvSpPr>
              <a:spLocks noEditPoints="1"/>
            </p:cNvSpPr>
            <p:nvPr/>
          </p:nvSpPr>
          <p:spPr bwMode="auto">
            <a:xfrm rot="21273012">
              <a:off x="2927931" y="2321893"/>
              <a:ext cx="161463" cy="275480"/>
            </a:xfrm>
            <a:custGeom>
              <a:avLst/>
              <a:gdLst>
                <a:gd name="T0" fmla="*/ 112 w 112"/>
                <a:gd name="T1" fmla="*/ 56 h 190"/>
                <a:gd name="T2" fmla="*/ 56 w 112"/>
                <a:gd name="T3" fmla="*/ 0 h 190"/>
                <a:gd name="T4" fmla="*/ 0 w 112"/>
                <a:gd name="T5" fmla="*/ 56 h 190"/>
                <a:gd name="T6" fmla="*/ 49 w 112"/>
                <a:gd name="T7" fmla="*/ 112 h 190"/>
                <a:gd name="T8" fmla="*/ 49 w 112"/>
                <a:gd name="T9" fmla="*/ 125 h 190"/>
                <a:gd name="T10" fmla="*/ 43 w 112"/>
                <a:gd name="T11" fmla="*/ 125 h 190"/>
                <a:gd name="T12" fmla="*/ 43 w 112"/>
                <a:gd name="T13" fmla="*/ 190 h 190"/>
                <a:gd name="T14" fmla="*/ 69 w 112"/>
                <a:gd name="T15" fmla="*/ 190 h 190"/>
                <a:gd name="T16" fmla="*/ 69 w 112"/>
                <a:gd name="T17" fmla="*/ 125 h 190"/>
                <a:gd name="T18" fmla="*/ 63 w 112"/>
                <a:gd name="T19" fmla="*/ 125 h 190"/>
                <a:gd name="T20" fmla="*/ 63 w 112"/>
                <a:gd name="T21" fmla="*/ 112 h 190"/>
                <a:gd name="T22" fmla="*/ 112 w 112"/>
                <a:gd name="T23" fmla="*/ 56 h 190"/>
                <a:gd name="T24" fmla="*/ 21 w 112"/>
                <a:gd name="T25" fmla="*/ 56 h 190"/>
                <a:gd name="T26" fmla="*/ 56 w 112"/>
                <a:gd name="T27" fmla="*/ 21 h 190"/>
                <a:gd name="T28" fmla="*/ 92 w 112"/>
                <a:gd name="T29" fmla="*/ 56 h 190"/>
                <a:gd name="T30" fmla="*/ 56 w 112"/>
                <a:gd name="T31" fmla="*/ 92 h 190"/>
                <a:gd name="T32" fmla="*/ 21 w 112"/>
                <a:gd name="T33" fmla="*/ 56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2" h="190">
                  <a:moveTo>
                    <a:pt x="112" y="56"/>
                  </a:moveTo>
                  <a:cubicBezTo>
                    <a:pt x="112" y="25"/>
                    <a:pt x="87" y="0"/>
                    <a:pt x="56" y="0"/>
                  </a:cubicBezTo>
                  <a:cubicBezTo>
                    <a:pt x="25" y="0"/>
                    <a:pt x="0" y="25"/>
                    <a:pt x="0" y="56"/>
                  </a:cubicBezTo>
                  <a:cubicBezTo>
                    <a:pt x="0" y="85"/>
                    <a:pt x="22" y="109"/>
                    <a:pt x="49" y="112"/>
                  </a:cubicBezTo>
                  <a:cubicBezTo>
                    <a:pt x="49" y="125"/>
                    <a:pt x="49" y="125"/>
                    <a:pt x="49" y="125"/>
                  </a:cubicBezTo>
                  <a:cubicBezTo>
                    <a:pt x="43" y="125"/>
                    <a:pt x="43" y="125"/>
                    <a:pt x="43" y="125"/>
                  </a:cubicBezTo>
                  <a:cubicBezTo>
                    <a:pt x="43" y="190"/>
                    <a:pt x="43" y="190"/>
                    <a:pt x="43" y="190"/>
                  </a:cubicBezTo>
                  <a:cubicBezTo>
                    <a:pt x="69" y="190"/>
                    <a:pt x="69" y="190"/>
                    <a:pt x="69" y="190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3" y="125"/>
                    <a:pt x="63" y="125"/>
                    <a:pt x="63" y="125"/>
                  </a:cubicBezTo>
                  <a:cubicBezTo>
                    <a:pt x="63" y="112"/>
                    <a:pt x="63" y="112"/>
                    <a:pt x="63" y="112"/>
                  </a:cubicBezTo>
                  <a:cubicBezTo>
                    <a:pt x="91" y="109"/>
                    <a:pt x="112" y="85"/>
                    <a:pt x="112" y="56"/>
                  </a:cubicBezTo>
                  <a:close/>
                  <a:moveTo>
                    <a:pt x="21" y="56"/>
                  </a:moveTo>
                  <a:cubicBezTo>
                    <a:pt x="21" y="37"/>
                    <a:pt x="37" y="21"/>
                    <a:pt x="56" y="21"/>
                  </a:cubicBezTo>
                  <a:cubicBezTo>
                    <a:pt x="76" y="21"/>
                    <a:pt x="92" y="37"/>
                    <a:pt x="92" y="56"/>
                  </a:cubicBezTo>
                  <a:cubicBezTo>
                    <a:pt x="92" y="76"/>
                    <a:pt x="76" y="92"/>
                    <a:pt x="56" y="92"/>
                  </a:cubicBezTo>
                  <a:cubicBezTo>
                    <a:pt x="37" y="92"/>
                    <a:pt x="21" y="76"/>
                    <a:pt x="21" y="5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2531" tIns="46266" rIns="92531" bIns="462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56" name="Freeform 29">
              <a:extLst>
                <a:ext uri="{FF2B5EF4-FFF2-40B4-BE49-F238E27FC236}">
                  <a16:creationId xmlns:a16="http://schemas.microsoft.com/office/drawing/2014/main" id="{5F4DB87A-F18A-47B9-9E4D-6BA83F729920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 rot="13569486">
              <a:off x="3936339" y="2430327"/>
              <a:ext cx="1290313" cy="1347598"/>
            </a:xfrm>
            <a:custGeom>
              <a:avLst/>
              <a:gdLst>
                <a:gd name="T0" fmla="*/ 2121034554 w 301"/>
                <a:gd name="T1" fmla="*/ 1296596275 h 309"/>
                <a:gd name="T2" fmla="*/ 1362002072 w 301"/>
                <a:gd name="T3" fmla="*/ 1133767904 h 309"/>
                <a:gd name="T4" fmla="*/ 673907041 w 301"/>
                <a:gd name="T5" fmla="*/ 247259053 h 309"/>
                <a:gd name="T6" fmla="*/ 333405857 w 301"/>
                <a:gd name="T7" fmla="*/ 0 h 309"/>
                <a:gd name="T8" fmla="*/ 0 w 301"/>
                <a:gd name="T9" fmla="*/ 253287903 h 309"/>
                <a:gd name="T10" fmla="*/ 2064285259 w 301"/>
                <a:gd name="T11" fmla="*/ 1863480074 h 309"/>
                <a:gd name="T12" fmla="*/ 2135222544 w 301"/>
                <a:gd name="T13" fmla="*/ 1863480074 h 309"/>
                <a:gd name="T14" fmla="*/ 1830190086 w 301"/>
                <a:gd name="T15" fmla="*/ 1574006869 h 309"/>
                <a:gd name="T16" fmla="*/ 2121034554 w 301"/>
                <a:gd name="T17" fmla="*/ 1296596275 h 30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1"/>
                <a:gd name="T28" fmla="*/ 0 h 309"/>
                <a:gd name="T29" fmla="*/ 301 w 301"/>
                <a:gd name="T30" fmla="*/ 309 h 30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1" h="309">
                  <a:moveTo>
                    <a:pt x="299" y="215"/>
                  </a:moveTo>
                  <a:cubicBezTo>
                    <a:pt x="263" y="216"/>
                    <a:pt x="226" y="208"/>
                    <a:pt x="192" y="188"/>
                  </a:cubicBezTo>
                  <a:cubicBezTo>
                    <a:pt x="136" y="156"/>
                    <a:pt x="102" y="101"/>
                    <a:pt x="95" y="41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13" y="191"/>
                    <a:pt x="138" y="309"/>
                    <a:pt x="291" y="309"/>
                  </a:cubicBezTo>
                  <a:cubicBezTo>
                    <a:pt x="295" y="309"/>
                    <a:pt x="298" y="309"/>
                    <a:pt x="301" y="309"/>
                  </a:cubicBezTo>
                  <a:cubicBezTo>
                    <a:pt x="258" y="261"/>
                    <a:pt x="258" y="261"/>
                    <a:pt x="258" y="261"/>
                  </a:cubicBezTo>
                  <a:lnTo>
                    <a:pt x="299" y="215"/>
                  </a:lnTo>
                  <a:close/>
                </a:path>
              </a:pathLst>
            </a:custGeom>
            <a:solidFill>
              <a:srgbClr val="76A4D3"/>
            </a:solidFill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5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" name="Freeform 30">
              <a:extLst>
                <a:ext uri="{FF2B5EF4-FFF2-40B4-BE49-F238E27FC236}">
                  <a16:creationId xmlns:a16="http://schemas.microsoft.com/office/drawing/2014/main" id="{9A95882B-666C-45AE-B0B3-5994B6C497FB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 rot="18981258">
              <a:off x="2197971" y="2406783"/>
              <a:ext cx="1337167" cy="1297283"/>
            </a:xfrm>
            <a:custGeom>
              <a:avLst/>
              <a:gdLst>
                <a:gd name="T0" fmla="*/ 668301856 w 309"/>
                <a:gd name="T1" fmla="*/ 1790512433 h 300"/>
                <a:gd name="T2" fmla="*/ 860260111 w 309"/>
                <a:gd name="T3" fmla="*/ 1157502897 h 300"/>
                <a:gd name="T4" fmla="*/ 1898261168 w 309"/>
                <a:gd name="T5" fmla="*/ 572723608 h 300"/>
                <a:gd name="T6" fmla="*/ 2147483647 w 309"/>
                <a:gd name="T7" fmla="*/ 277317587 h 300"/>
                <a:gd name="T8" fmla="*/ 1905369739 w 309"/>
                <a:gd name="T9" fmla="*/ 0 h 300"/>
                <a:gd name="T10" fmla="*/ 0 w 309"/>
                <a:gd name="T11" fmla="*/ 1754340477 h 300"/>
                <a:gd name="T12" fmla="*/ 0 w 309"/>
                <a:gd name="T13" fmla="*/ 1808598411 h 300"/>
                <a:gd name="T14" fmla="*/ 341259499 w 309"/>
                <a:gd name="T15" fmla="*/ 1549366879 h 300"/>
                <a:gd name="T16" fmla="*/ 668301856 w 309"/>
                <a:gd name="T17" fmla="*/ 1790512433 h 3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9"/>
                <a:gd name="T28" fmla="*/ 0 h 300"/>
                <a:gd name="T29" fmla="*/ 309 w 309"/>
                <a:gd name="T30" fmla="*/ 300 h 3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9" h="300">
                  <a:moveTo>
                    <a:pt x="94" y="297"/>
                  </a:moveTo>
                  <a:cubicBezTo>
                    <a:pt x="93" y="262"/>
                    <a:pt x="101" y="225"/>
                    <a:pt x="121" y="192"/>
                  </a:cubicBezTo>
                  <a:cubicBezTo>
                    <a:pt x="153" y="136"/>
                    <a:pt x="208" y="102"/>
                    <a:pt x="267" y="95"/>
                  </a:cubicBezTo>
                  <a:cubicBezTo>
                    <a:pt x="309" y="46"/>
                    <a:pt x="309" y="46"/>
                    <a:pt x="309" y="46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118" y="12"/>
                    <a:pt x="0" y="138"/>
                    <a:pt x="0" y="291"/>
                  </a:cubicBezTo>
                  <a:cubicBezTo>
                    <a:pt x="0" y="294"/>
                    <a:pt x="0" y="297"/>
                    <a:pt x="0" y="300"/>
                  </a:cubicBezTo>
                  <a:cubicBezTo>
                    <a:pt x="48" y="257"/>
                    <a:pt x="48" y="257"/>
                    <a:pt x="48" y="257"/>
                  </a:cubicBezTo>
                  <a:lnTo>
                    <a:pt x="94" y="297"/>
                  </a:lnTo>
                  <a:close/>
                </a:path>
              </a:pathLst>
            </a:custGeom>
            <a:solidFill>
              <a:srgbClr val="3F7FC2"/>
            </a:solidFill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5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" name="Freeform 30">
              <a:extLst>
                <a:ext uri="{FF2B5EF4-FFF2-40B4-BE49-F238E27FC236}">
                  <a16:creationId xmlns:a16="http://schemas.microsoft.com/office/drawing/2014/main" id="{8BEA7C38-4C48-44CB-8F5A-BD8B83CAC00A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 rot="13581258">
              <a:off x="3023251" y="3271716"/>
              <a:ext cx="1326082" cy="1308125"/>
            </a:xfrm>
            <a:custGeom>
              <a:avLst/>
              <a:gdLst>
                <a:gd name="T0" fmla="*/ 668301856 w 309"/>
                <a:gd name="T1" fmla="*/ 1790512433 h 300"/>
                <a:gd name="T2" fmla="*/ 860260111 w 309"/>
                <a:gd name="T3" fmla="*/ 1157502897 h 300"/>
                <a:gd name="T4" fmla="*/ 1898261168 w 309"/>
                <a:gd name="T5" fmla="*/ 572723608 h 300"/>
                <a:gd name="T6" fmla="*/ 2147483647 w 309"/>
                <a:gd name="T7" fmla="*/ 277317587 h 300"/>
                <a:gd name="T8" fmla="*/ 1905369739 w 309"/>
                <a:gd name="T9" fmla="*/ 0 h 300"/>
                <a:gd name="T10" fmla="*/ 0 w 309"/>
                <a:gd name="T11" fmla="*/ 1754340477 h 300"/>
                <a:gd name="T12" fmla="*/ 0 w 309"/>
                <a:gd name="T13" fmla="*/ 1808598411 h 300"/>
                <a:gd name="T14" fmla="*/ 341259499 w 309"/>
                <a:gd name="T15" fmla="*/ 1549366879 h 300"/>
                <a:gd name="T16" fmla="*/ 668301856 w 309"/>
                <a:gd name="T17" fmla="*/ 1790512433 h 3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9"/>
                <a:gd name="T28" fmla="*/ 0 h 300"/>
                <a:gd name="T29" fmla="*/ 309 w 309"/>
                <a:gd name="T30" fmla="*/ 300 h 3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9" h="300">
                  <a:moveTo>
                    <a:pt x="94" y="297"/>
                  </a:moveTo>
                  <a:cubicBezTo>
                    <a:pt x="93" y="262"/>
                    <a:pt x="101" y="225"/>
                    <a:pt x="121" y="192"/>
                  </a:cubicBezTo>
                  <a:cubicBezTo>
                    <a:pt x="153" y="136"/>
                    <a:pt x="208" y="102"/>
                    <a:pt x="267" y="95"/>
                  </a:cubicBezTo>
                  <a:cubicBezTo>
                    <a:pt x="309" y="46"/>
                    <a:pt x="309" y="46"/>
                    <a:pt x="309" y="46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118" y="12"/>
                    <a:pt x="0" y="138"/>
                    <a:pt x="0" y="291"/>
                  </a:cubicBezTo>
                  <a:cubicBezTo>
                    <a:pt x="0" y="294"/>
                    <a:pt x="0" y="297"/>
                    <a:pt x="0" y="300"/>
                  </a:cubicBezTo>
                  <a:cubicBezTo>
                    <a:pt x="48" y="257"/>
                    <a:pt x="48" y="257"/>
                    <a:pt x="48" y="257"/>
                  </a:cubicBezTo>
                  <a:lnTo>
                    <a:pt x="94" y="297"/>
                  </a:lnTo>
                  <a:close/>
                </a:path>
              </a:pathLst>
            </a:custGeom>
            <a:solidFill>
              <a:srgbClr val="76A4D3"/>
            </a:solidFill>
            <a:ln w="3175" cap="flat" cmpd="sng">
              <a:solidFill>
                <a:srgbClr val="72A1D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5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" name="TextBox 168">
              <a:extLst>
                <a:ext uri="{FF2B5EF4-FFF2-40B4-BE49-F238E27FC236}">
                  <a16:creationId xmlns:a16="http://schemas.microsoft.com/office/drawing/2014/main" id="{89BFC5C4-31B9-4568-97F2-CAD526631C5D}"/>
                </a:ext>
              </a:extLst>
            </p:cNvPr>
            <p:cNvSpPr txBox="1"/>
            <p:nvPr/>
          </p:nvSpPr>
          <p:spPr>
            <a:xfrm>
              <a:off x="3030700" y="2909001"/>
              <a:ext cx="1372622" cy="350568"/>
            </a:xfrm>
            <a:prstGeom prst="rect">
              <a:avLst/>
            </a:prstGeom>
            <a:noFill/>
          </p:spPr>
          <p:txBody>
            <a:bodyPr wrap="square" lIns="36429" tIns="36429" rIns="36429" bIns="36429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7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78D4">
                      <a:lumMod val="75000"/>
                    </a:srgbClr>
                  </a:solidFill>
                  <a:effectLst/>
                  <a:uLnTx/>
                  <a:uFillTx/>
                  <a:latin typeface="Segoe UI Semibold"/>
                  <a:ea typeface="+mn-ea"/>
                  <a:cs typeface="Arial" panose="020B0604020202020204" pitchFamily="34" charset="0"/>
                </a:rPr>
                <a:t>Experiment</a:t>
              </a: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DD8FD33D-25DF-4335-9E8E-3C90AD6635A0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576140" y="1726670"/>
            <a:ext cx="4585160" cy="2632314"/>
          </a:xfrm>
          <a:prstGeom prst="rect">
            <a:avLst/>
          </a:prstGeom>
        </p:spPr>
      </p:pic>
      <p:sp>
        <p:nvSpPr>
          <p:cNvPr id="20" name="TextBox 8">
            <a:extLst>
              <a:ext uri="{FF2B5EF4-FFF2-40B4-BE49-F238E27FC236}">
                <a16:creationId xmlns:a16="http://schemas.microsoft.com/office/drawing/2014/main" id="{3ADA5403-A569-4263-9073-B93C7AF731CF}"/>
              </a:ext>
            </a:extLst>
          </p:cNvPr>
          <p:cNvSpPr txBox="1"/>
          <p:nvPr/>
        </p:nvSpPr>
        <p:spPr>
          <a:xfrm>
            <a:off x="4897463" y="5278629"/>
            <a:ext cx="3130428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457183" marR="0" lvl="1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	   + Testing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Continuous Integration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Continuous Deploymen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067D428-7FDD-E749-8ED2-8FE625048987}"/>
              </a:ext>
            </a:extLst>
          </p:cNvPr>
          <p:cNvSpPr txBox="1"/>
          <p:nvPr/>
        </p:nvSpPr>
        <p:spPr>
          <a:xfrm>
            <a:off x="4531659" y="4706471"/>
            <a:ext cx="65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en-US" sz="2000" dirty="0" err="1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208302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07C570C-6843-471D-995E-47FFCBC4ED2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12800" y="2708277"/>
            <a:ext cx="10566400" cy="1441449"/>
          </a:xfrm>
        </p:spPr>
        <p:txBody>
          <a:bodyPr anchor="ctr"/>
          <a:lstStyle/>
          <a:p>
            <a:r>
              <a:rPr lang="en-US" dirty="0"/>
              <a:t>Ok, but, like, I’m</a:t>
            </a:r>
            <a:br>
              <a:rPr lang="en-US" dirty="0"/>
            </a:br>
            <a:r>
              <a:rPr lang="en-US" dirty="0"/>
              <a:t>a data scientist.</a:t>
            </a:r>
          </a:p>
          <a:p>
            <a:br>
              <a:rPr lang="en-US" strike="sngStrike" dirty="0"/>
            </a:br>
            <a:r>
              <a:rPr lang="en-US" dirty="0"/>
              <a:t>I don’t care</a:t>
            </a:r>
            <a:br>
              <a:rPr lang="en-US" dirty="0"/>
            </a:br>
            <a:r>
              <a:rPr lang="en-US" dirty="0"/>
              <a:t>about all that.</a:t>
            </a:r>
          </a:p>
        </p:txBody>
      </p:sp>
    </p:spTree>
    <p:extLst>
      <p:ext uri="{BB962C8B-B14F-4D97-AF65-F5344CB8AC3E}">
        <p14:creationId xmlns:p14="http://schemas.microsoft.com/office/powerpoint/2010/main" val="48756097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07C570C-6843-471D-995E-47FFCBC4ED2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12800" y="2708277"/>
            <a:ext cx="10566400" cy="1441449"/>
          </a:xfrm>
        </p:spPr>
        <p:txBody>
          <a:bodyPr anchor="ctr"/>
          <a:lstStyle/>
          <a:p>
            <a:r>
              <a:rPr lang="en-US" dirty="0"/>
              <a:t>Yes, You Should!</a:t>
            </a:r>
          </a:p>
        </p:txBody>
      </p:sp>
    </p:spTree>
    <p:extLst>
      <p:ext uri="{BB962C8B-B14F-4D97-AF65-F5344CB8AC3E}">
        <p14:creationId xmlns:p14="http://schemas.microsoft.com/office/powerpoint/2010/main" val="2498416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7BC7268-C054-493A-83F5-9A2863D09E8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6349F75-E75C-4B49-BCB0-8DBC2C2279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01912" y="0"/>
            <a:ext cx="10515600" cy="1325563"/>
          </a:xfrm>
        </p:spPr>
        <p:txBody>
          <a:bodyPr>
            <a:normAutofit fontScale="90000"/>
          </a:bodyPr>
          <a:lstStyle/>
          <a:p>
            <a:r>
              <a:rPr lang="en-US" sz="6600" dirty="0">
                <a:ln>
                  <a:solidFill>
                    <a:schemeClr val="tx1">
                      <a:lumMod val="85000"/>
                      <a:lumOff val="15000"/>
                    </a:schemeClr>
                  </a:solidFill>
                </a:ln>
                <a:solidFill>
                  <a:schemeClr val="bg1">
                    <a:lumMod val="9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You will get your hands dirty</a:t>
            </a:r>
          </a:p>
        </p:txBody>
      </p:sp>
    </p:spTree>
    <p:extLst>
      <p:ext uri="{BB962C8B-B14F-4D97-AF65-F5344CB8AC3E}">
        <p14:creationId xmlns:p14="http://schemas.microsoft.com/office/powerpoint/2010/main" val="295374137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1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-US" sz="5400" err="1"/>
              <a:t>MLOps</a:t>
            </a:r>
            <a:r>
              <a:rPr lang="en-US" sz="5400"/>
              <a:t>!</a:t>
            </a:r>
            <a:endParaRPr sz="5400"/>
          </a:p>
        </p:txBody>
      </p:sp>
    </p:spTree>
    <p:extLst>
      <p:ext uri="{BB962C8B-B14F-4D97-AF65-F5344CB8AC3E}">
        <p14:creationId xmlns:p14="http://schemas.microsoft.com/office/powerpoint/2010/main" val="3571746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DB795F5-F310-4CC7-851B-614541D194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0512" y="190500"/>
            <a:ext cx="11610975" cy="647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998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E6F254E-0A6D-4F7F-8FA0-FBE598DFD3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wboys and Ranchers Can Be Friends!</a:t>
            </a:r>
          </a:p>
        </p:txBody>
      </p:sp>
      <p:pic>
        <p:nvPicPr>
          <p:cNvPr id="1026" name="Picture 2" descr="https://lh3.googleusercontent.com/W5ZorUwdr19lfnMl5uUIjqSG-FazB-7D7ieSNS3wqmm3Jpeuprqi1ry1PWeUxD_3-O4TII-bvIGyK1vBeS3HPxs3LxAB1mB3Or6UZVOI4QGRZANHBW31j3VauHZH8hpX55UhYNVWYEY">
            <a:extLst>
              <a:ext uri="{FF2B5EF4-FFF2-40B4-BE49-F238E27FC236}">
                <a16:creationId xmlns:a16="http://schemas.microsoft.com/office/drawing/2014/main" id="{4A0CEC34-32CE-4C03-B02C-00F2ACC2B7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8013" y="176890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https://lh6.googleusercontent.com/OJj71FP6p8alxoeZCl0ns4zYnjFOn6y28cZcvjrPJHXhgeoGVXk0MW_gcWiwsRHly1neENoXZ7u29zGp4Mtnt1id7SCBfG7mjSMGyIIfMHkv1S8HHTgZnD-FYyB9wWZOCXGocgSWzsI">
            <a:extLst>
              <a:ext uri="{FF2B5EF4-FFF2-40B4-BE49-F238E27FC236}">
                <a16:creationId xmlns:a16="http://schemas.microsoft.com/office/drawing/2014/main" id="{AD771E52-1DBC-4FAE-9BFA-B47BFDAE50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8988" y="1691533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E3B3CD2-DCBF-46BD-81C2-984ACC93E8E1}"/>
              </a:ext>
            </a:extLst>
          </p:cNvPr>
          <p:cNvSpPr/>
          <p:nvPr/>
        </p:nvSpPr>
        <p:spPr>
          <a:xfrm>
            <a:off x="8386619" y="3673909"/>
            <a:ext cx="301531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400" b="1">
                <a:latin typeface="Google Sans" panose="020B0604020202020204" charset="0"/>
                <a:cs typeface="Google Sans" panose="020B0604020202020204" charset="0"/>
              </a:rPr>
              <a:t>SRE/ML Engineers</a:t>
            </a:r>
            <a:endParaRPr lang="en-US" altLang="en-US" sz="933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DB360E6-3A59-41D0-AA0E-BE49C5B6AD66}"/>
              </a:ext>
            </a:extLst>
          </p:cNvPr>
          <p:cNvSpPr/>
          <p:nvPr/>
        </p:nvSpPr>
        <p:spPr>
          <a:xfrm>
            <a:off x="1388013" y="3673909"/>
            <a:ext cx="198823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400" b="1">
                <a:latin typeface="Google Sans" panose="020B0604020202020204" charset="0"/>
              </a:rPr>
              <a:t>Data Scientist</a:t>
            </a:r>
            <a:endParaRPr lang="en-US" altLang="en-US" sz="933"/>
          </a:p>
        </p:txBody>
      </p:sp>
      <p:pic>
        <p:nvPicPr>
          <p:cNvPr id="1029" name="Picture 5" descr="Image result for high five images meme gif">
            <a:extLst>
              <a:ext uri="{FF2B5EF4-FFF2-40B4-BE49-F238E27FC236}">
                <a16:creationId xmlns:a16="http://schemas.microsoft.com/office/drawing/2014/main" id="{32A26A2B-CAA5-4739-AA80-838ABFE98CC8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2926" y="2695558"/>
            <a:ext cx="4063037" cy="2200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762E477-2DC6-44F2-B282-9F4F40A21417}"/>
              </a:ext>
            </a:extLst>
          </p:cNvPr>
          <p:cNvSpPr txBox="1"/>
          <p:nvPr/>
        </p:nvSpPr>
        <p:spPr>
          <a:xfrm>
            <a:off x="1153551" y="4349964"/>
            <a:ext cx="222269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9F50CD5-9364-4E82-BBE2-AAECD7F9AAFC}"/>
              </a:ext>
            </a:extLst>
          </p:cNvPr>
          <p:cNvSpPr txBox="1"/>
          <p:nvPr/>
        </p:nvSpPr>
        <p:spPr>
          <a:xfrm>
            <a:off x="757382" y="4221020"/>
            <a:ext cx="2817092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Quick iteration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Frameworks they understand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Best of breed tools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No management headaches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Unlimited sca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endParaRPr lang="en-US" sz="2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0EBA561-B5C3-47CE-B0F6-8AA35E5F67BF}"/>
              </a:ext>
            </a:extLst>
          </p:cNvPr>
          <p:cNvSpPr txBox="1"/>
          <p:nvPr/>
        </p:nvSpPr>
        <p:spPr>
          <a:xfrm>
            <a:off x="8728365" y="4221019"/>
            <a:ext cx="310803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Reuse of tooling and platforms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Corporate complianc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Observability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Uptime</a:t>
            </a:r>
          </a:p>
        </p:txBody>
      </p:sp>
    </p:spTree>
    <p:extLst>
      <p:ext uri="{BB962C8B-B14F-4D97-AF65-F5344CB8AC3E}">
        <p14:creationId xmlns:p14="http://schemas.microsoft.com/office/powerpoint/2010/main" val="41589055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1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-US" sz="5400" dirty="0"/>
              <a:t>Enter </a:t>
            </a:r>
            <a:r>
              <a:rPr lang="en-US" sz="5400" dirty="0" err="1"/>
              <a:t>MLOps</a:t>
            </a:r>
            <a:endParaRPr sz="5400" dirty="0"/>
          </a:p>
        </p:txBody>
      </p:sp>
    </p:spTree>
    <p:extLst>
      <p:ext uri="{BB962C8B-B14F-4D97-AF65-F5344CB8AC3E}">
        <p14:creationId xmlns:p14="http://schemas.microsoft.com/office/powerpoint/2010/main" val="37153906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9B2C126-06EC-44EC-9968-DE940EDD1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MLOps Benefit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32178C4-DDA1-43B2-9715-0D5A5B3CCE4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6424" y="1432217"/>
            <a:ext cx="3657600" cy="1097280"/>
          </a:xfrm>
        </p:spPr>
        <p:txBody>
          <a:bodyPr anchor="ctr"/>
          <a:lstStyle/>
          <a:p>
            <a:pPr algn="ctr"/>
            <a:r>
              <a:rPr lang="en-US" sz="3200" dirty="0"/>
              <a:t>Reproducibility / Auditability</a:t>
            </a:r>
            <a:endParaRPr lang="en-US" sz="12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8C2047-F2BB-4C14-ADD5-759E26D63E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81361" y="1432216"/>
            <a:ext cx="3657600" cy="1097280"/>
          </a:xfrm>
        </p:spPr>
        <p:txBody>
          <a:bodyPr anchor="ctr"/>
          <a:lstStyle/>
          <a:p>
            <a:pPr algn="ctr"/>
            <a:r>
              <a:rPr lang="en-US" sz="3200" dirty="0"/>
              <a:t>Validation</a:t>
            </a:r>
            <a:endParaRPr lang="en-US" sz="12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D29B5CF-8D31-4F56-B49F-9759DABEB0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26963" y="1488412"/>
            <a:ext cx="3657600" cy="984885"/>
          </a:xfrm>
        </p:spPr>
        <p:txBody>
          <a:bodyPr anchor="ctr"/>
          <a:lstStyle/>
          <a:p>
            <a:pPr algn="ctr"/>
            <a:r>
              <a:rPr lang="en-US" sz="3200" dirty="0"/>
              <a:t>Automation / Observabil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325F5EB-4A0B-48EE-8AB9-0E43B85B4188}"/>
              </a:ext>
            </a:extLst>
          </p:cNvPr>
          <p:cNvSpPr/>
          <p:nvPr/>
        </p:nvSpPr>
        <p:spPr>
          <a:xfrm>
            <a:off x="743541" y="2804342"/>
            <a:ext cx="2834640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Code drives generation and deploy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Pipelines are reproducible and </a:t>
            </a:r>
            <a:r>
              <a:rPr lang="en-US" sz="2000" dirty="0" err="1">
                <a:latin typeface="Segoe UI Semilight" panose="020B0402040204020203" pitchFamily="34" charset="0"/>
                <a:cs typeface="Segoe UI Semilight" panose="020B0402040204020203" pitchFamily="34" charset="0"/>
              </a:rPr>
              <a:t>validatable</a:t>
            </a:r>
            <a:endParaRPr lang="en-US" sz="200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All artifacts can be tagged and audited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8A19326-7E92-4133-B5D7-667FAFD969BC}"/>
              </a:ext>
            </a:extLst>
          </p:cNvPr>
          <p:cNvSpPr/>
          <p:nvPr/>
        </p:nvSpPr>
        <p:spPr>
          <a:xfrm>
            <a:off x="4722940" y="2792050"/>
            <a:ext cx="2834640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SWE best practices for unit testing, source data analysis, profil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Offline comparisons of model qua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Minimize bias and enable </a:t>
            </a:r>
            <a:r>
              <a:rPr lang="en-US" sz="2000" dirty="0" err="1">
                <a:latin typeface="Segoe UI Semilight" panose="020B0402040204020203" pitchFamily="34" charset="0"/>
                <a:cs typeface="Segoe UI Semilight" panose="020B0402040204020203" pitchFamily="34" charset="0"/>
              </a:rPr>
              <a:t>explainability</a:t>
            </a:r>
            <a:endParaRPr lang="en-US" sz="200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585B674-8C7F-41A9-9F5A-03DBA7965916}"/>
              </a:ext>
            </a:extLst>
          </p:cNvPr>
          <p:cNvSpPr/>
          <p:nvPr/>
        </p:nvSpPr>
        <p:spPr>
          <a:xfrm>
            <a:off x="8591563" y="2820185"/>
            <a:ext cx="3193000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Controlled rollout capabilities &amp; tracking across cloud/ed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Live comparison of predicted vs. expected perform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Results fed </a:t>
            </a:r>
            <a:r>
              <a:rPr lang="en-US" sz="2000">
                <a:latin typeface="Segoe UI Semilight" panose="020B0402040204020203" pitchFamily="34" charset="0"/>
                <a:cs typeface="Segoe UI Semilight" panose="020B0402040204020203" pitchFamily="34" charset="0"/>
              </a:rPr>
              <a:t>back to </a:t>
            </a:r>
            <a:r>
              <a:rPr lang="en-US" sz="20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watch for drift and improve model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2B6941E-51C3-494E-B193-F3E9C555D718}"/>
              </a:ext>
            </a:extLst>
          </p:cNvPr>
          <p:cNvCxnSpPr>
            <a:cxnSpLocks/>
          </p:cNvCxnSpPr>
          <p:nvPr/>
        </p:nvCxnSpPr>
        <p:spPr>
          <a:xfrm>
            <a:off x="743540" y="2626003"/>
            <a:ext cx="2834640" cy="0"/>
          </a:xfrm>
          <a:prstGeom prst="line">
            <a:avLst/>
          </a:prstGeom>
          <a:ln w="38100">
            <a:solidFill>
              <a:schemeClr val="accent1">
                <a:lumMod val="75000"/>
              </a:schemeClr>
            </a:solidFill>
            <a:headEnd type="none" w="lg" len="med"/>
            <a:tailEnd type="none" w="lg" len="med"/>
          </a:ln>
          <a:effectLst>
            <a:softEdge rad="1270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B5A1835-C3EE-43E0-B8EE-6D6E7E21052D}"/>
              </a:ext>
            </a:extLst>
          </p:cNvPr>
          <p:cNvCxnSpPr>
            <a:cxnSpLocks/>
          </p:cNvCxnSpPr>
          <p:nvPr/>
        </p:nvCxnSpPr>
        <p:spPr>
          <a:xfrm>
            <a:off x="4722940" y="2626003"/>
            <a:ext cx="2834640" cy="0"/>
          </a:xfrm>
          <a:prstGeom prst="line">
            <a:avLst/>
          </a:prstGeom>
          <a:ln w="38100">
            <a:solidFill>
              <a:schemeClr val="accent1">
                <a:lumMod val="75000"/>
              </a:schemeClr>
            </a:solidFill>
            <a:headEnd type="none" w="lg" len="med"/>
            <a:tailEnd type="none" w="lg" len="med"/>
          </a:ln>
          <a:effectLst>
            <a:softEdge rad="1270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C47FDF2-E230-4E86-B812-CB388A532FA8}"/>
              </a:ext>
            </a:extLst>
          </p:cNvPr>
          <p:cNvCxnSpPr>
            <a:cxnSpLocks/>
          </p:cNvCxnSpPr>
          <p:nvPr/>
        </p:nvCxnSpPr>
        <p:spPr>
          <a:xfrm>
            <a:off x="8591563" y="2626003"/>
            <a:ext cx="2834640" cy="0"/>
          </a:xfrm>
          <a:prstGeom prst="line">
            <a:avLst/>
          </a:prstGeom>
          <a:ln w="38100">
            <a:solidFill>
              <a:schemeClr val="accent1">
                <a:lumMod val="75000"/>
              </a:schemeClr>
            </a:solidFill>
            <a:headEnd type="none" w="lg" len="med"/>
            <a:tailEnd type="none" w="lg" len="med"/>
          </a:ln>
          <a:effectLst>
            <a:softEdge rad="1270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5701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BEE172B-1655-46B6-B679-325B6A542563}"/>
              </a:ext>
            </a:extLst>
          </p:cNvPr>
          <p:cNvSpPr/>
          <p:nvPr/>
        </p:nvSpPr>
        <p:spPr bwMode="auto">
          <a:xfrm>
            <a:off x="0" y="5882365"/>
            <a:ext cx="12192000" cy="975635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61727" y="2951161"/>
            <a:ext cx="187743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77">
              <a:defRPr/>
            </a:pPr>
            <a:r>
              <a:rPr lang="en-US" sz="1400">
                <a:latin typeface="Segoe UI Semibold"/>
              </a:rPr>
              <a:t>App developer</a:t>
            </a:r>
          </a:p>
          <a:p>
            <a:pPr algn="ctr" defTabSz="914377">
              <a:defRPr/>
            </a:pPr>
            <a:r>
              <a:rPr lang="en-US" sz="1400">
                <a:latin typeface="Segoe UI Semibold"/>
              </a:rPr>
              <a:t>using Azure DevOps </a:t>
            </a:r>
          </a:p>
        </p:txBody>
      </p:sp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MLOps</a:t>
            </a:r>
            <a:r>
              <a:rPr lang="en-US"/>
              <a:t> Workflow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77BEC5C5-03C7-4F2F-AC57-5A1C911725B7}"/>
              </a:ext>
            </a:extLst>
          </p:cNvPr>
          <p:cNvSpPr txBox="1"/>
          <p:nvPr/>
        </p:nvSpPr>
        <p:spPr>
          <a:xfrm>
            <a:off x="4393647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Build app</a:t>
            </a:r>
          </a:p>
        </p:txBody>
      </p:sp>
      <p:sp>
        <p:nvSpPr>
          <p:cNvPr id="177" name="TextBox 176">
            <a:extLst>
              <a:ext uri="{FF2B5EF4-FFF2-40B4-BE49-F238E27FC236}">
                <a16:creationId xmlns:a16="http://schemas.microsoft.com/office/drawing/2014/main" id="{BFAC2114-584C-4F9C-A037-40EA12F06D37}"/>
              </a:ext>
            </a:extLst>
          </p:cNvPr>
          <p:cNvSpPr txBox="1"/>
          <p:nvPr/>
        </p:nvSpPr>
        <p:spPr>
          <a:xfrm>
            <a:off x="2683329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Collaborate</a:t>
            </a:r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11D48176-625D-41F6-881F-CDC6366CA1E1}"/>
              </a:ext>
            </a:extLst>
          </p:cNvPr>
          <p:cNvSpPr txBox="1"/>
          <p:nvPr/>
        </p:nvSpPr>
        <p:spPr>
          <a:xfrm>
            <a:off x="6156979" y="1832445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Test app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2B9C493C-50AE-4CC5-AC70-B712DDAFEF7A}"/>
              </a:ext>
            </a:extLst>
          </p:cNvPr>
          <p:cNvSpPr txBox="1"/>
          <p:nvPr/>
        </p:nvSpPr>
        <p:spPr>
          <a:xfrm>
            <a:off x="8067399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Release app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01899C5-76AF-4671-BC57-2159B2BEDD54}"/>
              </a:ext>
            </a:extLst>
          </p:cNvPr>
          <p:cNvSpPr txBox="1"/>
          <p:nvPr/>
        </p:nvSpPr>
        <p:spPr>
          <a:xfrm>
            <a:off x="9858731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Monitor app</a:t>
            </a:r>
          </a:p>
        </p:txBody>
      </p: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E2508F44-6D62-4806-BC2B-51EF70B47871}"/>
              </a:ext>
            </a:extLst>
          </p:cNvPr>
          <p:cNvCxnSpPr>
            <a:cxnSpLocks/>
          </p:cNvCxnSpPr>
          <p:nvPr/>
        </p:nvCxnSpPr>
        <p:spPr>
          <a:xfrm flipV="1">
            <a:off x="3850225" y="2520243"/>
            <a:ext cx="774497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21B6C3C4-4D22-4C80-9B95-F30D36BE53BA}"/>
              </a:ext>
            </a:extLst>
          </p:cNvPr>
          <p:cNvCxnSpPr>
            <a:cxnSpLocks/>
          </p:cNvCxnSpPr>
          <p:nvPr/>
        </p:nvCxnSpPr>
        <p:spPr>
          <a:xfrm>
            <a:off x="5570645" y="2520243"/>
            <a:ext cx="946287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AA9E374C-DD2F-4EB8-B382-5266B8E22B83}"/>
              </a:ext>
            </a:extLst>
          </p:cNvPr>
          <p:cNvCxnSpPr>
            <a:cxnSpLocks/>
          </p:cNvCxnSpPr>
          <p:nvPr/>
        </p:nvCxnSpPr>
        <p:spPr>
          <a:xfrm>
            <a:off x="7196682" y="2520243"/>
            <a:ext cx="109930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0D022335-D400-425A-91DF-EC3CFF591F79}"/>
              </a:ext>
            </a:extLst>
          </p:cNvPr>
          <p:cNvCxnSpPr>
            <a:cxnSpLocks/>
          </p:cNvCxnSpPr>
          <p:nvPr/>
        </p:nvCxnSpPr>
        <p:spPr>
          <a:xfrm>
            <a:off x="9112623" y="2520243"/>
            <a:ext cx="962699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8E27DEE-DA5F-4FC1-B2F1-E40E396F7254}"/>
              </a:ext>
            </a:extLst>
          </p:cNvPr>
          <p:cNvGrpSpPr/>
          <p:nvPr/>
        </p:nvGrpSpPr>
        <p:grpSpPr>
          <a:xfrm>
            <a:off x="3034411" y="2271608"/>
            <a:ext cx="642716" cy="643947"/>
            <a:chOff x="3034411" y="2271607"/>
            <a:chExt cx="642716" cy="643947"/>
          </a:xfrm>
        </p:grpSpPr>
        <p:sp useBgFill="1">
          <p:nvSpPr>
            <p:cNvPr id="63" name="Freeform 5">
              <a:extLst>
                <a:ext uri="{FF2B5EF4-FFF2-40B4-BE49-F238E27FC236}">
                  <a16:creationId xmlns:a16="http://schemas.microsoft.com/office/drawing/2014/main" id="{B97D5458-7008-4776-B517-311C173494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4411" y="2271607"/>
              <a:ext cx="642716" cy="643947"/>
            </a:xfrm>
            <a:prstGeom prst="ellipse">
              <a:avLst/>
            </a:prstGeom>
            <a:solidFill>
              <a:schemeClr val="bg1"/>
            </a:solidFill>
            <a:ln w="10795" cap="flat" cmpd="sng" algn="ctr">
              <a:noFill/>
              <a:prstDash val="solid"/>
            </a:ln>
            <a:effectLst>
              <a:outerShdw blurRad="190500" dist="38100" dir="2700000" algn="tl" rotWithShape="0">
                <a:prstClr val="black">
                  <a:alpha val="25000"/>
                </a:prstClr>
              </a:outerShdw>
            </a:effectLst>
          </p:spPr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ts val="600"/>
                </a:spcBef>
                <a:defRPr/>
              </a:pPr>
              <a:endParaRPr lang="en-US" sz="2000">
                <a:latin typeface="Segoe UI Semilight"/>
              </a:endParaRPr>
            </a:p>
          </p:txBody>
        </p: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A4D37AD8-1128-433A-A98B-1FD225A3AF0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034411" y="2273421"/>
              <a:ext cx="642716" cy="628550"/>
              <a:chOff x="6634" y="3297"/>
              <a:chExt cx="2092" cy="2046"/>
            </a:xfrm>
            <a:solidFill>
              <a:schemeClr val="tx1"/>
            </a:solidFill>
          </p:grpSpPr>
          <p:sp>
            <p:nvSpPr>
              <p:cNvPr id="51" name="Freeform 5">
                <a:extLst>
                  <a:ext uri="{FF2B5EF4-FFF2-40B4-BE49-F238E27FC236}">
                    <a16:creationId xmlns:a16="http://schemas.microsoft.com/office/drawing/2014/main" id="{44315268-C1A4-4CD4-B189-EC5F4D1B44C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4" y="3297"/>
                <a:ext cx="2092" cy="2046"/>
              </a:xfrm>
              <a:custGeom>
                <a:avLst/>
                <a:gdLst>
                  <a:gd name="T0" fmla="*/ 594 w 1187"/>
                  <a:gd name="T1" fmla="*/ 0 h 1161"/>
                  <a:gd name="T2" fmla="*/ 594 w 1187"/>
                  <a:gd name="T3" fmla="*/ 0 h 1161"/>
                  <a:gd name="T4" fmla="*/ 0 w 1187"/>
                  <a:gd name="T5" fmla="*/ 592 h 1161"/>
                  <a:gd name="T6" fmla="*/ 406 w 1187"/>
                  <a:gd name="T7" fmla="*/ 1155 h 1161"/>
                  <a:gd name="T8" fmla="*/ 446 w 1187"/>
                  <a:gd name="T9" fmla="*/ 1126 h 1161"/>
                  <a:gd name="T10" fmla="*/ 445 w 1187"/>
                  <a:gd name="T11" fmla="*/ 1016 h 1161"/>
                  <a:gd name="T12" fmla="*/ 246 w 1187"/>
                  <a:gd name="T13" fmla="*/ 946 h 1161"/>
                  <a:gd name="T14" fmla="*/ 179 w 1187"/>
                  <a:gd name="T15" fmla="*/ 859 h 1161"/>
                  <a:gd name="T16" fmla="*/ 184 w 1187"/>
                  <a:gd name="T17" fmla="*/ 823 h 1161"/>
                  <a:gd name="T18" fmla="*/ 274 w 1187"/>
                  <a:gd name="T19" fmla="*/ 884 h 1161"/>
                  <a:gd name="T20" fmla="*/ 448 w 1187"/>
                  <a:gd name="T21" fmla="*/ 934 h 1161"/>
                  <a:gd name="T22" fmla="*/ 485 w 1187"/>
                  <a:gd name="T23" fmla="*/ 854 h 1161"/>
                  <a:gd name="T24" fmla="*/ 215 w 1187"/>
                  <a:gd name="T25" fmla="*/ 561 h 1161"/>
                  <a:gd name="T26" fmla="*/ 276 w 1187"/>
                  <a:gd name="T27" fmla="*/ 402 h 1161"/>
                  <a:gd name="T28" fmla="*/ 282 w 1187"/>
                  <a:gd name="T29" fmla="*/ 245 h 1161"/>
                  <a:gd name="T30" fmla="*/ 445 w 1187"/>
                  <a:gd name="T31" fmla="*/ 305 h 1161"/>
                  <a:gd name="T32" fmla="*/ 594 w 1187"/>
                  <a:gd name="T33" fmla="*/ 285 h 1161"/>
                  <a:gd name="T34" fmla="*/ 742 w 1187"/>
                  <a:gd name="T35" fmla="*/ 305 h 1161"/>
                  <a:gd name="T36" fmla="*/ 906 w 1187"/>
                  <a:gd name="T37" fmla="*/ 245 h 1161"/>
                  <a:gd name="T38" fmla="*/ 911 w 1187"/>
                  <a:gd name="T39" fmla="*/ 402 h 1161"/>
                  <a:gd name="T40" fmla="*/ 972 w 1187"/>
                  <a:gd name="T41" fmla="*/ 561 h 1161"/>
                  <a:gd name="T42" fmla="*/ 701 w 1187"/>
                  <a:gd name="T43" fmla="*/ 853 h 1161"/>
                  <a:gd name="T44" fmla="*/ 741 w 1187"/>
                  <a:gd name="T45" fmla="*/ 963 h 1161"/>
                  <a:gd name="T46" fmla="*/ 740 w 1187"/>
                  <a:gd name="T47" fmla="*/ 1126 h 1161"/>
                  <a:gd name="T48" fmla="*/ 782 w 1187"/>
                  <a:gd name="T49" fmla="*/ 1155 h 1161"/>
                  <a:gd name="T50" fmla="*/ 1187 w 1187"/>
                  <a:gd name="T51" fmla="*/ 592 h 1161"/>
                  <a:gd name="T52" fmla="*/ 594 w 1187"/>
                  <a:gd name="T53" fmla="*/ 0 h 1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87" h="1161">
                    <a:moveTo>
                      <a:pt x="594" y="0"/>
                    </a:moveTo>
                    <a:cubicBezTo>
                      <a:pt x="594" y="0"/>
                      <a:pt x="594" y="0"/>
                      <a:pt x="594" y="0"/>
                    </a:cubicBezTo>
                    <a:cubicBezTo>
                      <a:pt x="265" y="0"/>
                      <a:pt x="0" y="264"/>
                      <a:pt x="0" y="592"/>
                    </a:cubicBezTo>
                    <a:cubicBezTo>
                      <a:pt x="0" y="854"/>
                      <a:pt x="170" y="1077"/>
                      <a:pt x="406" y="1155"/>
                    </a:cubicBezTo>
                    <a:cubicBezTo>
                      <a:pt x="435" y="1161"/>
                      <a:pt x="446" y="1142"/>
                      <a:pt x="446" y="1126"/>
                    </a:cubicBezTo>
                    <a:cubicBezTo>
                      <a:pt x="446" y="1112"/>
                      <a:pt x="445" y="1066"/>
                      <a:pt x="445" y="1016"/>
                    </a:cubicBezTo>
                    <a:cubicBezTo>
                      <a:pt x="280" y="1052"/>
                      <a:pt x="246" y="946"/>
                      <a:pt x="246" y="946"/>
                    </a:cubicBezTo>
                    <a:cubicBezTo>
                      <a:pt x="218" y="877"/>
                      <a:pt x="179" y="859"/>
                      <a:pt x="179" y="859"/>
                    </a:cubicBezTo>
                    <a:cubicBezTo>
                      <a:pt x="125" y="822"/>
                      <a:pt x="184" y="823"/>
                      <a:pt x="184" y="823"/>
                    </a:cubicBezTo>
                    <a:cubicBezTo>
                      <a:pt x="243" y="827"/>
                      <a:pt x="274" y="884"/>
                      <a:pt x="274" y="884"/>
                    </a:cubicBezTo>
                    <a:cubicBezTo>
                      <a:pt x="327" y="975"/>
                      <a:pt x="414" y="948"/>
                      <a:pt x="448" y="934"/>
                    </a:cubicBezTo>
                    <a:cubicBezTo>
                      <a:pt x="453" y="895"/>
                      <a:pt x="468" y="869"/>
                      <a:pt x="485" y="854"/>
                    </a:cubicBezTo>
                    <a:cubicBezTo>
                      <a:pt x="353" y="839"/>
                      <a:pt x="215" y="789"/>
                      <a:pt x="215" y="561"/>
                    </a:cubicBezTo>
                    <a:cubicBezTo>
                      <a:pt x="215" y="496"/>
                      <a:pt x="237" y="443"/>
                      <a:pt x="276" y="402"/>
                    </a:cubicBezTo>
                    <a:cubicBezTo>
                      <a:pt x="269" y="387"/>
                      <a:pt x="249" y="327"/>
                      <a:pt x="282" y="245"/>
                    </a:cubicBezTo>
                    <a:cubicBezTo>
                      <a:pt x="282" y="245"/>
                      <a:pt x="331" y="229"/>
                      <a:pt x="445" y="305"/>
                    </a:cubicBezTo>
                    <a:cubicBezTo>
                      <a:pt x="492" y="293"/>
                      <a:pt x="543" y="286"/>
                      <a:pt x="594" y="285"/>
                    </a:cubicBezTo>
                    <a:cubicBezTo>
                      <a:pt x="644" y="286"/>
                      <a:pt x="695" y="293"/>
                      <a:pt x="742" y="305"/>
                    </a:cubicBezTo>
                    <a:cubicBezTo>
                      <a:pt x="855" y="229"/>
                      <a:pt x="906" y="245"/>
                      <a:pt x="906" y="245"/>
                    </a:cubicBezTo>
                    <a:cubicBezTo>
                      <a:pt x="937" y="327"/>
                      <a:pt x="917" y="387"/>
                      <a:pt x="911" y="402"/>
                    </a:cubicBezTo>
                    <a:cubicBezTo>
                      <a:pt x="949" y="443"/>
                      <a:pt x="972" y="496"/>
                      <a:pt x="972" y="561"/>
                    </a:cubicBezTo>
                    <a:cubicBezTo>
                      <a:pt x="972" y="789"/>
                      <a:pt x="833" y="839"/>
                      <a:pt x="701" y="853"/>
                    </a:cubicBezTo>
                    <a:cubicBezTo>
                      <a:pt x="723" y="872"/>
                      <a:pt x="741" y="908"/>
                      <a:pt x="741" y="963"/>
                    </a:cubicBezTo>
                    <a:cubicBezTo>
                      <a:pt x="741" y="1043"/>
                      <a:pt x="740" y="1107"/>
                      <a:pt x="740" y="1126"/>
                    </a:cubicBezTo>
                    <a:cubicBezTo>
                      <a:pt x="740" y="1142"/>
                      <a:pt x="751" y="1161"/>
                      <a:pt x="782" y="1155"/>
                    </a:cubicBezTo>
                    <a:cubicBezTo>
                      <a:pt x="1017" y="1076"/>
                      <a:pt x="1187" y="854"/>
                      <a:pt x="1187" y="592"/>
                    </a:cubicBezTo>
                    <a:cubicBezTo>
                      <a:pt x="1187" y="264"/>
                      <a:pt x="921" y="0"/>
                      <a:pt x="59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52" name="Freeform 6">
                <a:extLst>
                  <a:ext uri="{FF2B5EF4-FFF2-40B4-BE49-F238E27FC236}">
                    <a16:creationId xmlns:a16="http://schemas.microsoft.com/office/drawing/2014/main" id="{B1768123-DDF3-4C52-B344-892FD7EBAFE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01" y="4776"/>
                <a:ext cx="31" cy="26"/>
              </a:xfrm>
              <a:custGeom>
                <a:avLst/>
                <a:gdLst>
                  <a:gd name="T0" fmla="*/ 16 w 18"/>
                  <a:gd name="T1" fmla="*/ 11 h 15"/>
                  <a:gd name="T2" fmla="*/ 16 w 18"/>
                  <a:gd name="T3" fmla="*/ 11 h 15"/>
                  <a:gd name="T4" fmla="*/ 7 w 18"/>
                  <a:gd name="T5" fmla="*/ 13 h 15"/>
                  <a:gd name="T6" fmla="*/ 1 w 18"/>
                  <a:gd name="T7" fmla="*/ 4 h 15"/>
                  <a:gd name="T8" fmla="*/ 11 w 18"/>
                  <a:gd name="T9" fmla="*/ 3 h 15"/>
                  <a:gd name="T10" fmla="*/ 16 w 18"/>
                  <a:gd name="T11" fmla="*/ 1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15">
                    <a:moveTo>
                      <a:pt x="16" y="11"/>
                    </a:moveTo>
                    <a:cubicBezTo>
                      <a:pt x="16" y="11"/>
                      <a:pt x="16" y="11"/>
                      <a:pt x="16" y="11"/>
                    </a:cubicBezTo>
                    <a:cubicBezTo>
                      <a:pt x="15" y="14"/>
                      <a:pt x="10" y="15"/>
                      <a:pt x="7" y="13"/>
                    </a:cubicBezTo>
                    <a:cubicBezTo>
                      <a:pt x="2" y="11"/>
                      <a:pt x="0" y="7"/>
                      <a:pt x="1" y="4"/>
                    </a:cubicBezTo>
                    <a:cubicBezTo>
                      <a:pt x="2" y="1"/>
                      <a:pt x="7" y="0"/>
                      <a:pt x="11" y="3"/>
                    </a:cubicBezTo>
                    <a:cubicBezTo>
                      <a:pt x="15" y="4"/>
                      <a:pt x="18" y="9"/>
                      <a:pt x="16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53" name="Freeform 7">
                <a:extLst>
                  <a:ext uri="{FF2B5EF4-FFF2-40B4-BE49-F238E27FC236}">
                    <a16:creationId xmlns:a16="http://schemas.microsoft.com/office/drawing/2014/main" id="{04E88EC2-B5C3-4F0A-A00C-F7519D4AD97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43" y="4811"/>
                <a:ext cx="33" cy="37"/>
              </a:xfrm>
              <a:custGeom>
                <a:avLst/>
                <a:gdLst>
                  <a:gd name="T0" fmla="*/ 17 w 19"/>
                  <a:gd name="T1" fmla="*/ 18 h 21"/>
                  <a:gd name="T2" fmla="*/ 17 w 19"/>
                  <a:gd name="T3" fmla="*/ 18 h 21"/>
                  <a:gd name="T4" fmla="*/ 5 w 19"/>
                  <a:gd name="T5" fmla="*/ 16 h 21"/>
                  <a:gd name="T6" fmla="*/ 3 w 19"/>
                  <a:gd name="T7" fmla="*/ 3 h 21"/>
                  <a:gd name="T8" fmla="*/ 15 w 19"/>
                  <a:gd name="T9" fmla="*/ 6 h 21"/>
                  <a:gd name="T10" fmla="*/ 17 w 19"/>
                  <a:gd name="T11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21">
                    <a:moveTo>
                      <a:pt x="17" y="18"/>
                    </a:moveTo>
                    <a:cubicBezTo>
                      <a:pt x="17" y="18"/>
                      <a:pt x="17" y="18"/>
                      <a:pt x="17" y="18"/>
                    </a:cubicBezTo>
                    <a:cubicBezTo>
                      <a:pt x="14" y="21"/>
                      <a:pt x="8" y="19"/>
                      <a:pt x="5" y="16"/>
                    </a:cubicBezTo>
                    <a:cubicBezTo>
                      <a:pt x="0" y="11"/>
                      <a:pt x="0" y="5"/>
                      <a:pt x="3" y="3"/>
                    </a:cubicBezTo>
                    <a:cubicBezTo>
                      <a:pt x="5" y="0"/>
                      <a:pt x="11" y="2"/>
                      <a:pt x="15" y="6"/>
                    </a:cubicBezTo>
                    <a:cubicBezTo>
                      <a:pt x="19" y="10"/>
                      <a:pt x="19" y="16"/>
                      <a:pt x="17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54" name="Freeform 8">
                <a:extLst>
                  <a:ext uri="{FF2B5EF4-FFF2-40B4-BE49-F238E27FC236}">
                    <a16:creationId xmlns:a16="http://schemas.microsoft.com/office/drawing/2014/main" id="{C17D1D5C-9CC4-4F95-9C4A-A525BD4B32F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84" y="4865"/>
                <a:ext cx="37" cy="43"/>
              </a:xfrm>
              <a:custGeom>
                <a:avLst/>
                <a:gdLst>
                  <a:gd name="T0" fmla="*/ 17 w 21"/>
                  <a:gd name="T1" fmla="*/ 22 h 24"/>
                  <a:gd name="T2" fmla="*/ 17 w 21"/>
                  <a:gd name="T3" fmla="*/ 22 h 24"/>
                  <a:gd name="T4" fmla="*/ 4 w 21"/>
                  <a:gd name="T5" fmla="*/ 16 h 24"/>
                  <a:gd name="T6" fmla="*/ 4 w 21"/>
                  <a:gd name="T7" fmla="*/ 2 h 24"/>
                  <a:gd name="T8" fmla="*/ 17 w 21"/>
                  <a:gd name="T9" fmla="*/ 7 h 24"/>
                  <a:gd name="T10" fmla="*/ 17 w 21"/>
                  <a:gd name="T11" fmla="*/ 2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" h="24">
                    <a:moveTo>
                      <a:pt x="17" y="22"/>
                    </a:moveTo>
                    <a:cubicBezTo>
                      <a:pt x="17" y="22"/>
                      <a:pt x="17" y="22"/>
                      <a:pt x="17" y="22"/>
                    </a:cubicBezTo>
                    <a:cubicBezTo>
                      <a:pt x="13" y="24"/>
                      <a:pt x="8" y="22"/>
                      <a:pt x="4" y="16"/>
                    </a:cubicBezTo>
                    <a:cubicBezTo>
                      <a:pt x="0" y="11"/>
                      <a:pt x="0" y="5"/>
                      <a:pt x="4" y="2"/>
                    </a:cubicBezTo>
                    <a:cubicBezTo>
                      <a:pt x="8" y="0"/>
                      <a:pt x="13" y="2"/>
                      <a:pt x="17" y="7"/>
                    </a:cubicBezTo>
                    <a:cubicBezTo>
                      <a:pt x="21" y="13"/>
                      <a:pt x="21" y="19"/>
                      <a:pt x="17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55" name="Freeform 9">
                <a:extLst>
                  <a:ext uri="{FF2B5EF4-FFF2-40B4-BE49-F238E27FC236}">
                    <a16:creationId xmlns:a16="http://schemas.microsoft.com/office/drawing/2014/main" id="{8B0518AE-88A4-475D-A1E8-86EDF3E28D0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31" y="4924"/>
                <a:ext cx="46" cy="44"/>
              </a:xfrm>
              <a:custGeom>
                <a:avLst/>
                <a:gdLst>
                  <a:gd name="T0" fmla="*/ 22 w 26"/>
                  <a:gd name="T1" fmla="*/ 22 h 25"/>
                  <a:gd name="T2" fmla="*/ 22 w 26"/>
                  <a:gd name="T3" fmla="*/ 22 h 25"/>
                  <a:gd name="T4" fmla="*/ 7 w 26"/>
                  <a:gd name="T5" fmla="*/ 19 h 25"/>
                  <a:gd name="T6" fmla="*/ 3 w 26"/>
                  <a:gd name="T7" fmla="*/ 4 h 25"/>
                  <a:gd name="T8" fmla="*/ 19 w 26"/>
                  <a:gd name="T9" fmla="*/ 6 h 25"/>
                  <a:gd name="T10" fmla="*/ 22 w 26"/>
                  <a:gd name="T11" fmla="*/ 2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25">
                    <a:moveTo>
                      <a:pt x="22" y="22"/>
                    </a:moveTo>
                    <a:cubicBezTo>
                      <a:pt x="22" y="22"/>
                      <a:pt x="22" y="22"/>
                      <a:pt x="22" y="22"/>
                    </a:cubicBezTo>
                    <a:cubicBezTo>
                      <a:pt x="19" y="25"/>
                      <a:pt x="12" y="24"/>
                      <a:pt x="7" y="19"/>
                    </a:cubicBezTo>
                    <a:cubicBezTo>
                      <a:pt x="2" y="14"/>
                      <a:pt x="0" y="8"/>
                      <a:pt x="3" y="4"/>
                    </a:cubicBezTo>
                    <a:cubicBezTo>
                      <a:pt x="7" y="0"/>
                      <a:pt x="14" y="1"/>
                      <a:pt x="19" y="6"/>
                    </a:cubicBezTo>
                    <a:cubicBezTo>
                      <a:pt x="24" y="11"/>
                      <a:pt x="26" y="18"/>
                      <a:pt x="22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56" name="Freeform 10">
                <a:extLst>
                  <a:ext uri="{FF2B5EF4-FFF2-40B4-BE49-F238E27FC236}">
                    <a16:creationId xmlns:a16="http://schemas.microsoft.com/office/drawing/2014/main" id="{229FF167-E950-4000-9E94-FC94A9747C4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02" y="4969"/>
                <a:ext cx="49" cy="39"/>
              </a:xfrm>
              <a:custGeom>
                <a:avLst/>
                <a:gdLst>
                  <a:gd name="T0" fmla="*/ 26 w 28"/>
                  <a:gd name="T1" fmla="*/ 15 h 22"/>
                  <a:gd name="T2" fmla="*/ 26 w 28"/>
                  <a:gd name="T3" fmla="*/ 15 h 22"/>
                  <a:gd name="T4" fmla="*/ 11 w 28"/>
                  <a:gd name="T5" fmla="*/ 19 h 22"/>
                  <a:gd name="T6" fmla="*/ 2 w 28"/>
                  <a:gd name="T7" fmla="*/ 8 h 22"/>
                  <a:gd name="T8" fmla="*/ 16 w 28"/>
                  <a:gd name="T9" fmla="*/ 2 h 22"/>
                  <a:gd name="T10" fmla="*/ 26 w 28"/>
                  <a:gd name="T11" fmla="*/ 1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22">
                    <a:moveTo>
                      <a:pt x="26" y="15"/>
                    </a:moveTo>
                    <a:cubicBezTo>
                      <a:pt x="26" y="15"/>
                      <a:pt x="26" y="15"/>
                      <a:pt x="26" y="15"/>
                    </a:cubicBezTo>
                    <a:cubicBezTo>
                      <a:pt x="25" y="19"/>
                      <a:pt x="18" y="22"/>
                      <a:pt x="11" y="19"/>
                    </a:cubicBezTo>
                    <a:cubicBezTo>
                      <a:pt x="5" y="17"/>
                      <a:pt x="0" y="12"/>
                      <a:pt x="2" y="8"/>
                    </a:cubicBezTo>
                    <a:cubicBezTo>
                      <a:pt x="3" y="2"/>
                      <a:pt x="10" y="0"/>
                      <a:pt x="16" y="2"/>
                    </a:cubicBezTo>
                    <a:cubicBezTo>
                      <a:pt x="23" y="5"/>
                      <a:pt x="28" y="10"/>
                      <a:pt x="26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57" name="Freeform 11">
                <a:extLst>
                  <a:ext uri="{FF2B5EF4-FFF2-40B4-BE49-F238E27FC236}">
                    <a16:creationId xmlns:a16="http://schemas.microsoft.com/office/drawing/2014/main" id="{EA987F90-A7F1-4E64-9136-26D312B5EAE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90" y="4985"/>
                <a:ext cx="44" cy="32"/>
              </a:xfrm>
              <a:custGeom>
                <a:avLst/>
                <a:gdLst>
                  <a:gd name="T0" fmla="*/ 25 w 25"/>
                  <a:gd name="T1" fmla="*/ 9 h 18"/>
                  <a:gd name="T2" fmla="*/ 25 w 25"/>
                  <a:gd name="T3" fmla="*/ 9 h 18"/>
                  <a:gd name="T4" fmla="*/ 12 w 25"/>
                  <a:gd name="T5" fmla="*/ 18 h 18"/>
                  <a:gd name="T6" fmla="*/ 0 w 25"/>
                  <a:gd name="T7" fmla="*/ 10 h 18"/>
                  <a:gd name="T8" fmla="*/ 12 w 25"/>
                  <a:gd name="T9" fmla="*/ 1 h 18"/>
                  <a:gd name="T10" fmla="*/ 25 w 25"/>
                  <a:gd name="T11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" h="18">
                    <a:moveTo>
                      <a:pt x="25" y="9"/>
                    </a:moveTo>
                    <a:cubicBezTo>
                      <a:pt x="25" y="9"/>
                      <a:pt x="25" y="9"/>
                      <a:pt x="25" y="9"/>
                    </a:cubicBezTo>
                    <a:cubicBezTo>
                      <a:pt x="25" y="14"/>
                      <a:pt x="20" y="18"/>
                      <a:pt x="12" y="18"/>
                    </a:cubicBezTo>
                    <a:cubicBezTo>
                      <a:pt x="6" y="18"/>
                      <a:pt x="0" y="14"/>
                      <a:pt x="0" y="10"/>
                    </a:cubicBezTo>
                    <a:cubicBezTo>
                      <a:pt x="0" y="4"/>
                      <a:pt x="5" y="1"/>
                      <a:pt x="12" y="1"/>
                    </a:cubicBezTo>
                    <a:cubicBezTo>
                      <a:pt x="19" y="0"/>
                      <a:pt x="25" y="4"/>
                      <a:pt x="25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58" name="Freeform 12">
                <a:extLst>
                  <a:ext uri="{FF2B5EF4-FFF2-40B4-BE49-F238E27FC236}">
                    <a16:creationId xmlns:a16="http://schemas.microsoft.com/office/drawing/2014/main" id="{99C86EDA-19B2-434D-9A32-36F335BFF70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367" y="4973"/>
                <a:ext cx="48" cy="37"/>
              </a:xfrm>
              <a:custGeom>
                <a:avLst/>
                <a:gdLst>
                  <a:gd name="T0" fmla="*/ 26 w 27"/>
                  <a:gd name="T1" fmla="*/ 9 h 21"/>
                  <a:gd name="T2" fmla="*/ 26 w 27"/>
                  <a:gd name="T3" fmla="*/ 9 h 21"/>
                  <a:gd name="T4" fmla="*/ 15 w 27"/>
                  <a:gd name="T5" fmla="*/ 20 h 21"/>
                  <a:gd name="T6" fmla="*/ 1 w 27"/>
                  <a:gd name="T7" fmla="*/ 13 h 21"/>
                  <a:gd name="T8" fmla="*/ 12 w 27"/>
                  <a:gd name="T9" fmla="*/ 2 h 21"/>
                  <a:gd name="T10" fmla="*/ 26 w 27"/>
                  <a:gd name="T11" fmla="*/ 9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21">
                    <a:moveTo>
                      <a:pt x="26" y="9"/>
                    </a:moveTo>
                    <a:cubicBezTo>
                      <a:pt x="26" y="9"/>
                      <a:pt x="26" y="9"/>
                      <a:pt x="26" y="9"/>
                    </a:cubicBezTo>
                    <a:cubicBezTo>
                      <a:pt x="27" y="13"/>
                      <a:pt x="22" y="18"/>
                      <a:pt x="15" y="20"/>
                    </a:cubicBezTo>
                    <a:cubicBezTo>
                      <a:pt x="8" y="21"/>
                      <a:pt x="2" y="18"/>
                      <a:pt x="1" y="13"/>
                    </a:cubicBezTo>
                    <a:cubicBezTo>
                      <a:pt x="0" y="8"/>
                      <a:pt x="5" y="3"/>
                      <a:pt x="12" y="2"/>
                    </a:cubicBezTo>
                    <a:cubicBezTo>
                      <a:pt x="19" y="0"/>
                      <a:pt x="25" y="3"/>
                      <a:pt x="2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</p:grpSp>
      </p:grpSp>
      <p:pic>
        <p:nvPicPr>
          <p:cNvPr id="37" name="Picture 6">
            <a:extLst>
              <a:ext uri="{FF2B5EF4-FFF2-40B4-BE49-F238E27FC236}">
                <a16:creationId xmlns:a16="http://schemas.microsoft.com/office/drawing/2014/main" id="{9BF4AD0F-E4C8-4192-83B8-9DBA76652D89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3367" y="2319423"/>
            <a:ext cx="532944" cy="53654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>
            <a:outerShdw blurRad="1905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38" name="Picture 12">
            <a:extLst>
              <a:ext uri="{FF2B5EF4-FFF2-40B4-BE49-F238E27FC236}">
                <a16:creationId xmlns:a16="http://schemas.microsoft.com/office/drawing/2014/main" id="{43222C43-FC14-4792-92E2-695D08F3071B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4245" y="2322523"/>
            <a:ext cx="530347" cy="53034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>
            <a:outerShdw blurRad="1905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39" name="Graphic 38">
            <a:extLst>
              <a:ext uri="{FF2B5EF4-FFF2-40B4-BE49-F238E27FC236}">
                <a16:creationId xmlns:a16="http://schemas.microsoft.com/office/drawing/2014/main" id="{9D535534-9752-478E-B8D1-EC1131AB4DD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797813" y="2315809"/>
            <a:ext cx="536547" cy="536547"/>
          </a:xfrm>
          <a:prstGeom prst="rect">
            <a:avLst/>
          </a:prstGeom>
          <a:effectLst>
            <a:outerShdw blurRad="190500" dist="38100" dir="2700000" algn="ctr" rotWithShape="0">
              <a:prstClr val="black">
                <a:alpha val="25000"/>
              </a:prstClr>
            </a:outerShdw>
          </a:effectLst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4E4F7269-6C7C-4F53-B9E2-EA33BE55AC97}"/>
              </a:ext>
            </a:extLst>
          </p:cNvPr>
          <p:cNvGrpSpPr/>
          <p:nvPr/>
        </p:nvGrpSpPr>
        <p:grpSpPr>
          <a:xfrm>
            <a:off x="10208042" y="2264567"/>
            <a:ext cx="646260" cy="646260"/>
            <a:chOff x="9897614" y="3471418"/>
            <a:chExt cx="1414462" cy="1414463"/>
          </a:xfrm>
        </p:grpSpPr>
        <p:sp>
          <p:nvSpPr>
            <p:cNvPr id="98" name="Donut 67">
              <a:extLst>
                <a:ext uri="{FF2B5EF4-FFF2-40B4-BE49-F238E27FC236}">
                  <a16:creationId xmlns:a16="http://schemas.microsoft.com/office/drawing/2014/main" id="{8604918C-53D2-49C9-B240-66D96FED0321}"/>
                </a:ext>
              </a:extLst>
            </p:cNvPr>
            <p:cNvSpPr/>
            <p:nvPr/>
          </p:nvSpPr>
          <p:spPr bwMode="auto">
            <a:xfrm>
              <a:off x="9951778" y="3525582"/>
              <a:ext cx="1306134" cy="1306134"/>
            </a:xfrm>
            <a:prstGeom prst="ellipse">
              <a:avLst/>
            </a:prstGeom>
            <a:solidFill>
              <a:schemeClr val="tx1"/>
            </a:solidFill>
            <a:ln w="10795" cap="flat" cmpd="sng" algn="ctr">
              <a:noFill/>
              <a:prstDash val="solid"/>
            </a:ln>
            <a:effectLst>
              <a:outerShdw blurRad="190500" dist="38100" dir="2700000" algn="tl" rotWithShape="0">
                <a:prstClr val="black">
                  <a:alpha val="25000"/>
                </a:prstClr>
              </a:outerShdw>
            </a:effectLst>
          </p:spPr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ts val="600"/>
                </a:spcBef>
                <a:defRPr/>
              </a:pPr>
              <a:endParaRPr lang="en-IN" sz="2000">
                <a:latin typeface="Segoe UI Semilight"/>
              </a:endParaRPr>
            </a:p>
          </p:txBody>
        </p:sp>
        <p:sp>
          <p:nvSpPr>
            <p:cNvPr id="43" name="Donut 67">
              <a:extLst>
                <a:ext uri="{FF2B5EF4-FFF2-40B4-BE49-F238E27FC236}">
                  <a16:creationId xmlns:a16="http://schemas.microsoft.com/office/drawing/2014/main" id="{0FCC1820-5197-49E3-AD85-3FF06C31275F}"/>
                </a:ext>
              </a:extLst>
            </p:cNvPr>
            <p:cNvSpPr/>
            <p:nvPr/>
          </p:nvSpPr>
          <p:spPr bwMode="auto">
            <a:xfrm>
              <a:off x="9897614" y="3471418"/>
              <a:ext cx="1414462" cy="1414462"/>
            </a:xfrm>
            <a:prstGeom prst="donut">
              <a:avLst>
                <a:gd name="adj" fmla="val 7423"/>
              </a:avLst>
            </a:prstGeom>
            <a:solidFill>
              <a:srgbClr val="FFFFFF">
                <a:lumMod val="8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891" indent="-342891"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Wingdings 3" panose="05040102010807070707" pitchFamily="18" charset="2"/>
                <a:buChar char="Æ"/>
                <a:defRPr/>
              </a:pPr>
              <a:endParaRPr lang="en-IN" sz="2000" b="1"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4" name="Freeform 69">
              <a:extLst>
                <a:ext uri="{FF2B5EF4-FFF2-40B4-BE49-F238E27FC236}">
                  <a16:creationId xmlns:a16="http://schemas.microsoft.com/office/drawing/2014/main" id="{39EF95DD-3916-479D-8795-53F6DD50288A}"/>
                </a:ext>
              </a:extLst>
            </p:cNvPr>
            <p:cNvSpPr/>
            <p:nvPr/>
          </p:nvSpPr>
          <p:spPr bwMode="auto">
            <a:xfrm>
              <a:off x="10260852" y="3529492"/>
              <a:ext cx="1051224" cy="1356389"/>
            </a:xfrm>
            <a:custGeom>
              <a:avLst/>
              <a:gdLst>
                <a:gd name="connsiteX0" fmla="*/ 623876 w 1051224"/>
                <a:gd name="connsiteY0" fmla="*/ 0 h 1356389"/>
                <a:gd name="connsiteX1" fmla="*/ 739413 w 1051224"/>
                <a:gd name="connsiteY1" fmla="*/ 62711 h 1356389"/>
                <a:gd name="connsiteX2" fmla="*/ 1051224 w 1051224"/>
                <a:gd name="connsiteY2" fmla="*/ 649158 h 1356389"/>
                <a:gd name="connsiteX3" fmla="*/ 343993 w 1051224"/>
                <a:gd name="connsiteY3" fmla="*/ 1356389 h 1356389"/>
                <a:gd name="connsiteX4" fmla="*/ 68707 w 1051224"/>
                <a:gd name="connsiteY4" fmla="*/ 1300812 h 1356389"/>
                <a:gd name="connsiteX5" fmla="*/ 0 w 1051224"/>
                <a:gd name="connsiteY5" fmla="*/ 1263518 h 1356389"/>
                <a:gd name="connsiteX6" fmla="*/ 46310 w 1051224"/>
                <a:gd name="connsiteY6" fmla="*/ 1169727 h 1356389"/>
                <a:gd name="connsiteX7" fmla="*/ 109576 w 1051224"/>
                <a:gd name="connsiteY7" fmla="*/ 1204067 h 1356389"/>
                <a:gd name="connsiteX8" fmla="*/ 343993 w 1051224"/>
                <a:gd name="connsiteY8" fmla="*/ 1251393 h 1356389"/>
                <a:gd name="connsiteX9" fmla="*/ 946228 w 1051224"/>
                <a:gd name="connsiteY9" fmla="*/ 649158 h 1356389"/>
                <a:gd name="connsiteX10" fmla="*/ 578410 w 1051224"/>
                <a:gd name="connsiteY10" fmla="*/ 94250 h 1356389"/>
                <a:gd name="connsiteX11" fmla="*/ 577481 w 1051224"/>
                <a:gd name="connsiteY11" fmla="*/ 93961 h 1356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1224" h="1356389">
                  <a:moveTo>
                    <a:pt x="623876" y="0"/>
                  </a:moveTo>
                  <a:lnTo>
                    <a:pt x="739413" y="62711"/>
                  </a:lnTo>
                  <a:cubicBezTo>
                    <a:pt x="927537" y="189806"/>
                    <a:pt x="1051224" y="405038"/>
                    <a:pt x="1051224" y="649158"/>
                  </a:cubicBezTo>
                  <a:cubicBezTo>
                    <a:pt x="1051224" y="1039751"/>
                    <a:pt x="734586" y="1356389"/>
                    <a:pt x="343993" y="1356389"/>
                  </a:cubicBezTo>
                  <a:cubicBezTo>
                    <a:pt x="246345" y="1356389"/>
                    <a:pt x="153319" y="1336599"/>
                    <a:pt x="68707" y="1300812"/>
                  </a:cubicBezTo>
                  <a:lnTo>
                    <a:pt x="0" y="1263518"/>
                  </a:lnTo>
                  <a:lnTo>
                    <a:pt x="46310" y="1169727"/>
                  </a:lnTo>
                  <a:lnTo>
                    <a:pt x="109576" y="1204067"/>
                  </a:lnTo>
                  <a:cubicBezTo>
                    <a:pt x="181627" y="1234541"/>
                    <a:pt x="260842" y="1251393"/>
                    <a:pt x="343993" y="1251393"/>
                  </a:cubicBezTo>
                  <a:cubicBezTo>
                    <a:pt x="676598" y="1251393"/>
                    <a:pt x="946228" y="981763"/>
                    <a:pt x="946228" y="649158"/>
                  </a:cubicBezTo>
                  <a:cubicBezTo>
                    <a:pt x="946228" y="399705"/>
                    <a:pt x="794561" y="185674"/>
                    <a:pt x="578410" y="94250"/>
                  </a:cubicBezTo>
                  <a:lnTo>
                    <a:pt x="577481" y="93961"/>
                  </a:lnTo>
                  <a:close/>
                </a:path>
              </a:pathLst>
            </a:custGeom>
            <a:solidFill>
              <a:srgbClr val="FFFFFF">
                <a:lumMod val="6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891" indent="-342891"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Wingdings 3" panose="05040102010807070707" pitchFamily="18" charset="2"/>
                <a:buChar char="Æ"/>
                <a:defRPr/>
              </a:pPr>
              <a:endParaRPr lang="en-IN" sz="2000" b="1"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F1D69C27-5251-4AE8-8ADE-EA7048A1F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9812" y="4086900"/>
              <a:ext cx="624392" cy="170675"/>
            </a:xfrm>
            <a:custGeom>
              <a:avLst/>
              <a:gdLst>
                <a:gd name="connsiteX0" fmla="*/ 87395 w 624392"/>
                <a:gd name="connsiteY0" fmla="*/ 41 h 170675"/>
                <a:gd name="connsiteX1" fmla="*/ 146987 w 624392"/>
                <a:gd name="connsiteY1" fmla="*/ 25995 h 170675"/>
                <a:gd name="connsiteX2" fmla="*/ 590585 w 624392"/>
                <a:gd name="connsiteY2" fmla="*/ 34373 h 170675"/>
                <a:gd name="connsiteX3" fmla="*/ 624362 w 624392"/>
                <a:gd name="connsiteY3" fmla="*/ 92614 h 170675"/>
                <a:gd name="connsiteX4" fmla="*/ 561973 w 624392"/>
                <a:gd name="connsiteY4" fmla="*/ 151199 h 170675"/>
                <a:gd name="connsiteX5" fmla="*/ 142992 w 624392"/>
                <a:gd name="connsiteY5" fmla="*/ 146765 h 170675"/>
                <a:gd name="connsiteX6" fmla="*/ 22209 w 624392"/>
                <a:gd name="connsiteY6" fmla="*/ 143164 h 170675"/>
                <a:gd name="connsiteX7" fmla="*/ 26205 w 624392"/>
                <a:gd name="connsiteY7" fmla="*/ 22394 h 170675"/>
                <a:gd name="connsiteX8" fmla="*/ 87395 w 624392"/>
                <a:gd name="connsiteY8" fmla="*/ 41 h 170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392" h="170675">
                  <a:moveTo>
                    <a:pt x="87395" y="41"/>
                  </a:moveTo>
                  <a:cubicBezTo>
                    <a:pt x="109539" y="700"/>
                    <a:pt x="131415" y="9412"/>
                    <a:pt x="146987" y="25995"/>
                  </a:cubicBezTo>
                  <a:lnTo>
                    <a:pt x="590585" y="34373"/>
                  </a:lnTo>
                  <a:cubicBezTo>
                    <a:pt x="610032" y="46097"/>
                    <a:pt x="625161" y="68460"/>
                    <a:pt x="624362" y="92614"/>
                  </a:cubicBezTo>
                  <a:cubicBezTo>
                    <a:pt x="623296" y="124820"/>
                    <a:pt x="594181" y="152159"/>
                    <a:pt x="561973" y="151199"/>
                  </a:cubicBezTo>
                  <a:lnTo>
                    <a:pt x="142992" y="146765"/>
                  </a:lnTo>
                  <a:cubicBezTo>
                    <a:pt x="109718" y="178011"/>
                    <a:pt x="57246" y="180476"/>
                    <a:pt x="22209" y="143164"/>
                  </a:cubicBezTo>
                  <a:cubicBezTo>
                    <a:pt x="-8934" y="109999"/>
                    <a:pt x="-7070" y="53639"/>
                    <a:pt x="26205" y="22394"/>
                  </a:cubicBezTo>
                  <a:cubicBezTo>
                    <a:pt x="42841" y="6771"/>
                    <a:pt x="65251" y="-620"/>
                    <a:pt x="87395" y="41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6316FB76-F4EB-4FD7-94F5-3A6F507EF9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86195" y="3695702"/>
              <a:ext cx="290637" cy="267449"/>
            </a:xfrm>
            <a:custGeom>
              <a:avLst/>
              <a:gdLst>
                <a:gd name="connsiteX0" fmla="*/ 290637 w 290637"/>
                <a:gd name="connsiteY0" fmla="*/ 0 h 267449"/>
                <a:gd name="connsiteX1" fmla="*/ 290637 w 290637"/>
                <a:gd name="connsiteY1" fmla="*/ 210967 h 267449"/>
                <a:gd name="connsiteX2" fmla="*/ 258366 w 290637"/>
                <a:gd name="connsiteY2" fmla="*/ 215609 h 267449"/>
                <a:gd name="connsiteX3" fmla="*/ 216275 w 290637"/>
                <a:gd name="connsiteY3" fmla="*/ 228809 h 267449"/>
                <a:gd name="connsiteX4" fmla="*/ 150830 w 290637"/>
                <a:gd name="connsiteY4" fmla="*/ 267449 h 267449"/>
                <a:gd name="connsiteX5" fmla="*/ 17811 w 290637"/>
                <a:gd name="connsiteY5" fmla="*/ 134430 h 267449"/>
                <a:gd name="connsiteX6" fmla="*/ 0 w 290637"/>
                <a:gd name="connsiteY6" fmla="*/ 114611 h 267449"/>
                <a:gd name="connsiteX7" fmla="*/ 213477 w 290637"/>
                <a:gd name="connsiteY7" fmla="*/ 9475 h 267449"/>
                <a:gd name="connsiteX8" fmla="*/ 290637 w 290637"/>
                <a:gd name="connsiteY8" fmla="*/ 0 h 267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0637" h="267449">
                  <a:moveTo>
                    <a:pt x="290637" y="0"/>
                  </a:moveTo>
                  <a:lnTo>
                    <a:pt x="290637" y="210967"/>
                  </a:lnTo>
                  <a:lnTo>
                    <a:pt x="258366" y="215609"/>
                  </a:lnTo>
                  <a:cubicBezTo>
                    <a:pt x="243909" y="218915"/>
                    <a:pt x="229837" y="223357"/>
                    <a:pt x="216275" y="228809"/>
                  </a:cubicBezTo>
                  <a:lnTo>
                    <a:pt x="150830" y="267449"/>
                  </a:lnTo>
                  <a:lnTo>
                    <a:pt x="17811" y="134430"/>
                  </a:lnTo>
                  <a:lnTo>
                    <a:pt x="0" y="114611"/>
                  </a:lnTo>
                  <a:cubicBezTo>
                    <a:pt x="63125" y="63651"/>
                    <a:pt x="135403" y="26346"/>
                    <a:pt x="213477" y="9475"/>
                  </a:cubicBezTo>
                  <a:lnTo>
                    <a:pt x="290637" y="0"/>
                  </a:lnTo>
                  <a:close/>
                </a:path>
              </a:pathLst>
            </a:custGeom>
            <a:solidFill>
              <a:srgbClr val="BBDA7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188DC95-75BC-45EA-9D70-86611B2F9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2307" y="3696054"/>
              <a:ext cx="287959" cy="266888"/>
            </a:xfrm>
            <a:custGeom>
              <a:avLst/>
              <a:gdLst>
                <a:gd name="connsiteX0" fmla="*/ 0 w 287959"/>
                <a:gd name="connsiteY0" fmla="*/ 0 h 266888"/>
                <a:gd name="connsiteX1" fmla="*/ 74803 w 287959"/>
                <a:gd name="connsiteY1" fmla="*/ 9477 h 266888"/>
                <a:gd name="connsiteX2" fmla="*/ 223047 w 287959"/>
                <a:gd name="connsiteY2" fmla="*/ 69275 h 266888"/>
                <a:gd name="connsiteX3" fmla="*/ 287959 w 287959"/>
                <a:gd name="connsiteY3" fmla="*/ 114767 h 266888"/>
                <a:gd name="connsiteX4" fmla="*/ 135839 w 287959"/>
                <a:gd name="connsiteY4" fmla="*/ 266888 h 266888"/>
                <a:gd name="connsiteX5" fmla="*/ 70848 w 287959"/>
                <a:gd name="connsiteY5" fmla="*/ 227653 h 266888"/>
                <a:gd name="connsiteX6" fmla="*/ 27150 w 287959"/>
                <a:gd name="connsiteY6" fmla="*/ 212846 h 266888"/>
                <a:gd name="connsiteX7" fmla="*/ 0 w 287959"/>
                <a:gd name="connsiteY7" fmla="*/ 208513 h 266888"/>
                <a:gd name="connsiteX8" fmla="*/ 0 w 287959"/>
                <a:gd name="connsiteY8" fmla="*/ 0 h 266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7959" h="266888">
                  <a:moveTo>
                    <a:pt x="0" y="0"/>
                  </a:moveTo>
                  <a:lnTo>
                    <a:pt x="74803" y="9477"/>
                  </a:lnTo>
                  <a:cubicBezTo>
                    <a:pt x="127104" y="20976"/>
                    <a:pt x="176854" y="41582"/>
                    <a:pt x="223047" y="69275"/>
                  </a:cubicBezTo>
                  <a:lnTo>
                    <a:pt x="287959" y="114767"/>
                  </a:lnTo>
                  <a:lnTo>
                    <a:pt x="135839" y="266888"/>
                  </a:lnTo>
                  <a:lnTo>
                    <a:pt x="70848" y="227653"/>
                  </a:lnTo>
                  <a:cubicBezTo>
                    <a:pt x="56706" y="221621"/>
                    <a:pt x="42056" y="216602"/>
                    <a:pt x="27150" y="212846"/>
                  </a:cubicBezTo>
                  <a:lnTo>
                    <a:pt x="0" y="208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5CA5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CBC6F298-B983-4B8F-8081-586EECCE88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2399" y="3857990"/>
              <a:ext cx="269161" cy="277918"/>
            </a:xfrm>
            <a:custGeom>
              <a:avLst/>
              <a:gdLst>
                <a:gd name="connsiteX0" fmla="*/ 116870 w 269161"/>
                <a:gd name="connsiteY0" fmla="*/ 0 h 277918"/>
                <a:gd name="connsiteX1" fmla="*/ 269161 w 269161"/>
                <a:gd name="connsiteY1" fmla="*/ 152291 h 277918"/>
                <a:gd name="connsiteX2" fmla="*/ 230871 w 269161"/>
                <a:gd name="connsiteY2" fmla="*/ 215717 h 277918"/>
                <a:gd name="connsiteX3" fmla="*/ 216064 w 269161"/>
                <a:gd name="connsiteY3" fmla="*/ 259415 h 277918"/>
                <a:gd name="connsiteX4" fmla="*/ 213111 w 269161"/>
                <a:gd name="connsiteY4" fmla="*/ 277918 h 277918"/>
                <a:gd name="connsiteX5" fmla="*/ 0 w 269161"/>
                <a:gd name="connsiteY5" fmla="*/ 277918 h 277918"/>
                <a:gd name="connsiteX6" fmla="*/ 10414 w 269161"/>
                <a:gd name="connsiteY6" fmla="*/ 209482 h 277918"/>
                <a:gd name="connsiteX7" fmla="*/ 70719 w 269161"/>
                <a:gd name="connsiteY7" fmla="*/ 61744 h 277918"/>
                <a:gd name="connsiteX8" fmla="*/ 116870 w 269161"/>
                <a:gd name="connsiteY8" fmla="*/ 0 h 277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9161" h="277918">
                  <a:moveTo>
                    <a:pt x="116870" y="0"/>
                  </a:moveTo>
                  <a:lnTo>
                    <a:pt x="269161" y="152291"/>
                  </a:lnTo>
                  <a:lnTo>
                    <a:pt x="230871" y="215717"/>
                  </a:lnTo>
                  <a:cubicBezTo>
                    <a:pt x="224839" y="229859"/>
                    <a:pt x="219819" y="244509"/>
                    <a:pt x="216064" y="259415"/>
                  </a:cubicBezTo>
                  <a:lnTo>
                    <a:pt x="213111" y="277918"/>
                  </a:lnTo>
                  <a:lnTo>
                    <a:pt x="0" y="277918"/>
                  </a:lnTo>
                  <a:lnTo>
                    <a:pt x="10414" y="209482"/>
                  </a:lnTo>
                  <a:cubicBezTo>
                    <a:pt x="22420" y="157688"/>
                    <a:pt x="42519" y="107430"/>
                    <a:pt x="70719" y="61744"/>
                  </a:cubicBezTo>
                  <a:lnTo>
                    <a:pt x="116870" y="0"/>
                  </a:lnTo>
                  <a:close/>
                </a:path>
              </a:pathLst>
            </a:custGeom>
            <a:solidFill>
              <a:srgbClr val="D2E7A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C04751B0-BA3C-4ED3-8FA3-6CEBCCC7B0C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4046" y="3858113"/>
              <a:ext cx="259956" cy="228787"/>
            </a:xfrm>
            <a:custGeom>
              <a:avLst/>
              <a:gdLst>
                <a:gd name="connsiteX0" fmla="*/ 151525 w 259956"/>
                <a:gd name="connsiteY0" fmla="*/ 0 h 228787"/>
                <a:gd name="connsiteX1" fmla="*/ 187726 w 259956"/>
                <a:gd name="connsiteY1" fmla="*/ 47229 h 228787"/>
                <a:gd name="connsiteX2" fmla="*/ 249063 w 259956"/>
                <a:gd name="connsiteY2" fmla="*/ 177909 h 228787"/>
                <a:gd name="connsiteX3" fmla="*/ 259956 w 259956"/>
                <a:gd name="connsiteY3" fmla="*/ 228787 h 228787"/>
                <a:gd name="connsiteX4" fmla="*/ 41069 w 259956"/>
                <a:gd name="connsiteY4" fmla="*/ 228787 h 228787"/>
                <a:gd name="connsiteX5" fmla="*/ 24304 w 259956"/>
                <a:gd name="connsiteY5" fmla="*/ 188030 h 228787"/>
                <a:gd name="connsiteX6" fmla="*/ 0 w 259956"/>
                <a:gd name="connsiteY6" fmla="*/ 151525 h 228787"/>
                <a:gd name="connsiteX7" fmla="*/ 151525 w 259956"/>
                <a:gd name="connsiteY7" fmla="*/ 0 h 228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9956" h="228787">
                  <a:moveTo>
                    <a:pt x="151525" y="0"/>
                  </a:moveTo>
                  <a:lnTo>
                    <a:pt x="187726" y="47229"/>
                  </a:lnTo>
                  <a:cubicBezTo>
                    <a:pt x="214470" y="87842"/>
                    <a:pt x="235418" y="132240"/>
                    <a:pt x="249063" y="177909"/>
                  </a:cubicBezTo>
                  <a:lnTo>
                    <a:pt x="259956" y="228787"/>
                  </a:lnTo>
                  <a:lnTo>
                    <a:pt x="41069" y="228787"/>
                  </a:lnTo>
                  <a:lnTo>
                    <a:pt x="24304" y="188030"/>
                  </a:lnTo>
                  <a:lnTo>
                    <a:pt x="0" y="151525"/>
                  </a:lnTo>
                  <a:lnTo>
                    <a:pt x="151525" y="0"/>
                  </a:lnTo>
                  <a:close/>
                </a:path>
              </a:pathLst>
            </a:custGeom>
            <a:solidFill>
              <a:srgbClr val="7F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589A99E9-9235-4D08-9ADD-2084730E47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5713" y="4217639"/>
              <a:ext cx="277662" cy="286335"/>
            </a:xfrm>
            <a:custGeom>
              <a:avLst/>
              <a:gdLst>
                <a:gd name="connsiteX0" fmla="*/ 0 w 277662"/>
                <a:gd name="connsiteY0" fmla="*/ 0 h 286335"/>
                <a:gd name="connsiteX1" fmla="*/ 211901 w 277662"/>
                <a:gd name="connsiteY1" fmla="*/ 0 h 286335"/>
                <a:gd name="connsiteX2" fmla="*/ 215712 w 277662"/>
                <a:gd name="connsiteY2" fmla="*/ 24896 h 286335"/>
                <a:gd name="connsiteX3" fmla="*/ 277662 w 277662"/>
                <a:gd name="connsiteY3" fmla="*/ 145645 h 286335"/>
                <a:gd name="connsiteX4" fmla="*/ 120833 w 277662"/>
                <a:gd name="connsiteY4" fmla="*/ 286335 h 286335"/>
                <a:gd name="connsiteX5" fmla="*/ 10016 w 277662"/>
                <a:gd name="connsiteY5" fmla="*/ 76009 h 286335"/>
                <a:gd name="connsiteX6" fmla="*/ 0 w 277662"/>
                <a:gd name="connsiteY6" fmla="*/ 0 h 286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7662" h="286335">
                  <a:moveTo>
                    <a:pt x="0" y="0"/>
                  </a:moveTo>
                  <a:lnTo>
                    <a:pt x="211901" y="0"/>
                  </a:lnTo>
                  <a:lnTo>
                    <a:pt x="215712" y="24896"/>
                  </a:lnTo>
                  <a:cubicBezTo>
                    <a:pt x="226173" y="68526"/>
                    <a:pt x="247391" y="109343"/>
                    <a:pt x="277662" y="145645"/>
                  </a:cubicBezTo>
                  <a:cubicBezTo>
                    <a:pt x="277662" y="145645"/>
                    <a:pt x="277662" y="145645"/>
                    <a:pt x="120833" y="286335"/>
                  </a:cubicBezTo>
                  <a:cubicBezTo>
                    <a:pt x="66353" y="225824"/>
                    <a:pt x="27712" y="154013"/>
                    <a:pt x="10016" y="76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1EFC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A893B079-6787-4D6D-BB9A-636DAE3544E1}"/>
                </a:ext>
              </a:extLst>
            </p:cNvPr>
            <p:cNvSpPr/>
            <p:nvPr/>
          </p:nvSpPr>
          <p:spPr bwMode="auto">
            <a:xfrm>
              <a:off x="10519812" y="4168631"/>
              <a:ext cx="624362" cy="88944"/>
            </a:xfrm>
            <a:custGeom>
              <a:avLst/>
              <a:gdLst>
                <a:gd name="connsiteX0" fmla="*/ 123 w 624362"/>
                <a:gd name="connsiteY0" fmla="*/ 0 h 88944"/>
                <a:gd name="connsiteX1" fmla="*/ 621367 w 624362"/>
                <a:gd name="connsiteY1" fmla="*/ 0 h 88944"/>
                <a:gd name="connsiteX2" fmla="*/ 624362 w 624362"/>
                <a:gd name="connsiteY2" fmla="*/ 10883 h 88944"/>
                <a:gd name="connsiteX3" fmla="*/ 561973 w 624362"/>
                <a:gd name="connsiteY3" fmla="*/ 69468 h 88944"/>
                <a:gd name="connsiteX4" fmla="*/ 142992 w 624362"/>
                <a:gd name="connsiteY4" fmla="*/ 65034 h 88944"/>
                <a:gd name="connsiteX5" fmla="*/ 22209 w 624362"/>
                <a:gd name="connsiteY5" fmla="*/ 61433 h 88944"/>
                <a:gd name="connsiteX6" fmla="*/ 50 w 624362"/>
                <a:gd name="connsiteY6" fmla="*/ 328 h 88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362" h="88944">
                  <a:moveTo>
                    <a:pt x="123" y="0"/>
                  </a:moveTo>
                  <a:lnTo>
                    <a:pt x="621367" y="0"/>
                  </a:lnTo>
                  <a:lnTo>
                    <a:pt x="624362" y="10883"/>
                  </a:lnTo>
                  <a:cubicBezTo>
                    <a:pt x="623296" y="43089"/>
                    <a:pt x="594181" y="70428"/>
                    <a:pt x="561973" y="69468"/>
                  </a:cubicBezTo>
                  <a:lnTo>
                    <a:pt x="142992" y="65034"/>
                  </a:lnTo>
                  <a:cubicBezTo>
                    <a:pt x="109718" y="96280"/>
                    <a:pt x="57246" y="98745"/>
                    <a:pt x="22209" y="61433"/>
                  </a:cubicBezTo>
                  <a:cubicBezTo>
                    <a:pt x="6638" y="44851"/>
                    <a:pt x="-682" y="22469"/>
                    <a:pt x="50" y="328"/>
                  </a:cubicBezTo>
                  <a:close/>
                </a:path>
              </a:pathLst>
            </a:custGeom>
            <a:solidFill>
              <a:srgbClr val="D83B0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4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>
                <a:solidFill>
                  <a:schemeClr val="tx1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6125A0A5-0FF5-452A-AAD0-417BC4C8C760}"/>
              </a:ext>
            </a:extLst>
          </p:cNvPr>
          <p:cNvGrpSpPr/>
          <p:nvPr/>
        </p:nvGrpSpPr>
        <p:grpSpPr>
          <a:xfrm>
            <a:off x="1057501" y="2340616"/>
            <a:ext cx="485888" cy="564792"/>
            <a:chOff x="6185695" y="5061756"/>
            <a:chExt cx="742515" cy="863093"/>
          </a:xfrm>
          <a:solidFill>
            <a:schemeClr val="tx1"/>
          </a:solidFill>
        </p:grpSpPr>
        <p:sp>
          <p:nvSpPr>
            <p:cNvPr id="109" name="Oval 69">
              <a:extLst>
                <a:ext uri="{FF2B5EF4-FFF2-40B4-BE49-F238E27FC236}">
                  <a16:creationId xmlns:a16="http://schemas.microsoft.com/office/drawing/2014/main" id="{66A8287C-A701-4DBA-B765-4F1FD39ECA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69737" y="5061756"/>
              <a:ext cx="368084" cy="36808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  <p:sp>
          <p:nvSpPr>
            <p:cNvPr id="110" name="Freeform 70">
              <a:extLst>
                <a:ext uri="{FF2B5EF4-FFF2-40B4-BE49-F238E27FC236}">
                  <a16:creationId xmlns:a16="http://schemas.microsoft.com/office/drawing/2014/main" id="{75ACFE0D-BE58-4F74-A48B-0F08DB50A4F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5695" y="5556765"/>
              <a:ext cx="742515" cy="368084"/>
            </a:xfrm>
            <a:custGeom>
              <a:avLst/>
              <a:gdLst>
                <a:gd name="T0" fmla="*/ 0 w 512"/>
                <a:gd name="T1" fmla="*/ 256 h 256"/>
                <a:gd name="T2" fmla="*/ 256 w 512"/>
                <a:gd name="T3" fmla="*/ 0 h 256"/>
                <a:gd name="T4" fmla="*/ 512 w 512"/>
                <a:gd name="T5" fmla="*/ 256 h 256"/>
                <a:gd name="T6" fmla="*/ 0 w 512"/>
                <a:gd name="T7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2" h="256">
                  <a:moveTo>
                    <a:pt x="0" y="256"/>
                  </a:moveTo>
                  <a:cubicBezTo>
                    <a:pt x="0" y="115"/>
                    <a:pt x="114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lnTo>
                    <a:pt x="0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</p:grpSp>
      <p:cxnSp>
        <p:nvCxnSpPr>
          <p:cNvPr id="114" name="Straight Arrow Connector 113">
            <a:extLst>
              <a:ext uri="{FF2B5EF4-FFF2-40B4-BE49-F238E27FC236}">
                <a16:creationId xmlns:a16="http://schemas.microsoft.com/office/drawing/2014/main" id="{7B958F0C-C2B5-4806-B344-DCB53E1664A3}"/>
              </a:ext>
            </a:extLst>
          </p:cNvPr>
          <p:cNvCxnSpPr>
            <a:cxnSpLocks/>
          </p:cNvCxnSpPr>
          <p:nvPr/>
        </p:nvCxnSpPr>
        <p:spPr>
          <a:xfrm>
            <a:off x="1810056" y="2520243"/>
            <a:ext cx="110556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8F16185C-CC77-4665-9A49-111505EA0D2F}"/>
              </a:ext>
            </a:extLst>
          </p:cNvPr>
          <p:cNvSpPr txBox="1"/>
          <p:nvPr/>
        </p:nvSpPr>
        <p:spPr>
          <a:xfrm>
            <a:off x="998524" y="6247073"/>
            <a:ext cx="205740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reproducibility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BEDAA6FE-EB59-4775-B807-7F8A4289A073}"/>
              </a:ext>
            </a:extLst>
          </p:cNvPr>
          <p:cNvSpPr txBox="1"/>
          <p:nvPr/>
        </p:nvSpPr>
        <p:spPr>
          <a:xfrm>
            <a:off x="9886899" y="6247073"/>
            <a:ext cx="156856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retraining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C7F907F-B6A5-4CC2-A3E2-E9CE70114DD3}"/>
              </a:ext>
            </a:extLst>
          </p:cNvPr>
          <p:cNvSpPr txBox="1"/>
          <p:nvPr/>
        </p:nvSpPr>
        <p:spPr>
          <a:xfrm>
            <a:off x="6883617" y="6247073"/>
            <a:ext cx="1903823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deployment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8A497E2-320A-43A3-B6F9-B24D26ABAC63}"/>
              </a:ext>
            </a:extLst>
          </p:cNvPr>
          <p:cNvSpPr txBox="1"/>
          <p:nvPr/>
        </p:nvSpPr>
        <p:spPr>
          <a:xfrm>
            <a:off x="4153974" y="6247073"/>
            <a:ext cx="1630183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validation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C00A378C-D5CF-46D1-865B-DCFAA77041FC}"/>
              </a:ext>
            </a:extLst>
          </p:cNvPr>
          <p:cNvSpPr txBox="1"/>
          <p:nvPr/>
        </p:nvSpPr>
        <p:spPr>
          <a:xfrm>
            <a:off x="223876" y="4645317"/>
            <a:ext cx="21531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77">
              <a:defRPr/>
            </a:pPr>
            <a:r>
              <a:rPr lang="en-US" sz="1400">
                <a:latin typeface="Segoe UI Semibold"/>
              </a:rPr>
              <a:t>Data scientist using </a:t>
            </a:r>
          </a:p>
          <a:p>
            <a:pPr algn="ctr" defTabSz="914377">
              <a:defRPr/>
            </a:pPr>
            <a:r>
              <a:rPr lang="en-US" sz="1400">
                <a:latin typeface="Segoe UI Semibold"/>
              </a:rPr>
              <a:t>Azure Machine Learning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DC91165E-64F2-4EED-9FBB-D40D69856D5D}"/>
              </a:ext>
            </a:extLst>
          </p:cNvPr>
          <p:cNvGrpSpPr/>
          <p:nvPr/>
        </p:nvGrpSpPr>
        <p:grpSpPr>
          <a:xfrm>
            <a:off x="1057501" y="4052851"/>
            <a:ext cx="485888" cy="564792"/>
            <a:chOff x="6185695" y="5061756"/>
            <a:chExt cx="742515" cy="863093"/>
          </a:xfrm>
        </p:grpSpPr>
        <p:sp>
          <p:nvSpPr>
            <p:cNvPr id="67" name="Oval 69">
              <a:extLst>
                <a:ext uri="{FF2B5EF4-FFF2-40B4-BE49-F238E27FC236}">
                  <a16:creationId xmlns:a16="http://schemas.microsoft.com/office/drawing/2014/main" id="{E7F7BDC9-B296-4C98-8F4B-C2A3DBE74B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69737" y="5061756"/>
              <a:ext cx="368084" cy="368084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  <p:sp>
          <p:nvSpPr>
            <p:cNvPr id="68" name="Freeform 70">
              <a:extLst>
                <a:ext uri="{FF2B5EF4-FFF2-40B4-BE49-F238E27FC236}">
                  <a16:creationId xmlns:a16="http://schemas.microsoft.com/office/drawing/2014/main" id="{4D904C43-1289-41AC-992A-5B6F148EE91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5695" y="5556765"/>
              <a:ext cx="742515" cy="368084"/>
            </a:xfrm>
            <a:custGeom>
              <a:avLst/>
              <a:gdLst>
                <a:gd name="T0" fmla="*/ 0 w 512"/>
                <a:gd name="T1" fmla="*/ 256 h 256"/>
                <a:gd name="T2" fmla="*/ 256 w 512"/>
                <a:gd name="T3" fmla="*/ 0 h 256"/>
                <a:gd name="T4" fmla="*/ 512 w 512"/>
                <a:gd name="T5" fmla="*/ 256 h 256"/>
                <a:gd name="T6" fmla="*/ 0 w 512"/>
                <a:gd name="T7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2" h="256">
                  <a:moveTo>
                    <a:pt x="0" y="256"/>
                  </a:moveTo>
                  <a:cubicBezTo>
                    <a:pt x="0" y="115"/>
                    <a:pt x="114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lnTo>
                    <a:pt x="0" y="256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</p:grpSp>
      <p:sp>
        <p:nvSpPr>
          <p:cNvPr id="3" name="Multiplication Sign 2">
            <a:extLst>
              <a:ext uri="{FF2B5EF4-FFF2-40B4-BE49-F238E27FC236}">
                <a16:creationId xmlns:a16="http://schemas.microsoft.com/office/drawing/2014/main" id="{73EDF72F-7C59-450E-B074-27663025F4A1}"/>
              </a:ext>
            </a:extLst>
          </p:cNvPr>
          <p:cNvSpPr/>
          <p:nvPr/>
        </p:nvSpPr>
        <p:spPr bwMode="auto">
          <a:xfrm>
            <a:off x="382798" y="6062319"/>
            <a:ext cx="615727" cy="615727"/>
          </a:xfrm>
          <a:prstGeom prst="mathMultiply">
            <a:avLst/>
          </a:prstGeom>
          <a:solidFill>
            <a:srgbClr val="FF0000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9" name="Multiplication Sign 68">
            <a:extLst>
              <a:ext uri="{FF2B5EF4-FFF2-40B4-BE49-F238E27FC236}">
                <a16:creationId xmlns:a16="http://schemas.microsoft.com/office/drawing/2014/main" id="{71ECB2E7-B710-43BC-B4DF-A28ED6B43E9A}"/>
              </a:ext>
            </a:extLst>
          </p:cNvPr>
          <p:cNvSpPr/>
          <p:nvPr/>
        </p:nvSpPr>
        <p:spPr bwMode="auto">
          <a:xfrm>
            <a:off x="3542361" y="6059271"/>
            <a:ext cx="615727" cy="615727"/>
          </a:xfrm>
          <a:prstGeom prst="mathMultiply">
            <a:avLst/>
          </a:prstGeom>
          <a:solidFill>
            <a:srgbClr val="FF0000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6" name="Multiplication Sign 75">
            <a:extLst>
              <a:ext uri="{FF2B5EF4-FFF2-40B4-BE49-F238E27FC236}">
                <a16:creationId xmlns:a16="http://schemas.microsoft.com/office/drawing/2014/main" id="{056D4490-D2AB-48E7-8B9C-28BC4CE0CC44}"/>
              </a:ext>
            </a:extLst>
          </p:cNvPr>
          <p:cNvSpPr/>
          <p:nvPr/>
        </p:nvSpPr>
        <p:spPr bwMode="auto">
          <a:xfrm>
            <a:off x="6287399" y="6059271"/>
            <a:ext cx="615727" cy="615727"/>
          </a:xfrm>
          <a:prstGeom prst="mathMultiply">
            <a:avLst/>
          </a:prstGeom>
          <a:solidFill>
            <a:srgbClr val="FF0000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0" name="Multiplication Sign 79">
            <a:extLst>
              <a:ext uri="{FF2B5EF4-FFF2-40B4-BE49-F238E27FC236}">
                <a16:creationId xmlns:a16="http://schemas.microsoft.com/office/drawing/2014/main" id="{93228578-E2BA-4F87-A029-AC93447536D6}"/>
              </a:ext>
            </a:extLst>
          </p:cNvPr>
          <p:cNvSpPr/>
          <p:nvPr/>
        </p:nvSpPr>
        <p:spPr bwMode="auto">
          <a:xfrm>
            <a:off x="9243006" y="6059271"/>
            <a:ext cx="615727" cy="615727"/>
          </a:xfrm>
          <a:prstGeom prst="mathMultiply">
            <a:avLst/>
          </a:prstGeom>
          <a:solidFill>
            <a:srgbClr val="FF0000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339148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2C86D0D-770D-4687-81C0-0D1A188E67DE}"/>
              </a:ext>
            </a:extLst>
          </p:cNvPr>
          <p:cNvSpPr/>
          <p:nvPr/>
        </p:nvSpPr>
        <p:spPr>
          <a:xfrm>
            <a:off x="3933761" y="3511462"/>
            <a:ext cx="2071231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400">
                <a:latin typeface="Segoe UI"/>
                <a:cs typeface="Courier New" panose="02070309020205020404" pitchFamily="49" charset="0"/>
              </a:rPr>
              <a:t>Code, dataset, and environment versioning</a:t>
            </a:r>
          </a:p>
        </p:txBody>
      </p:sp>
      <p:pic>
        <p:nvPicPr>
          <p:cNvPr id="1026" name="Picture 2" descr="https://azure.microsoft.com/images/page/services/machine-learning-service/machine-learning-service.png">
            <a:extLst>
              <a:ext uri="{FF2B5EF4-FFF2-40B4-BE49-F238E27FC236}">
                <a16:creationId xmlns:a16="http://schemas.microsoft.com/office/drawing/2014/main" id="{0EFAEB33-4788-4F56-AEB3-D20E7D1F55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8448" y="3537036"/>
            <a:ext cx="428985" cy="428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CCE6E774-0FA7-4A09-8EB5-EB272042E0ED}"/>
              </a:ext>
            </a:extLst>
          </p:cNvPr>
          <p:cNvSpPr/>
          <p:nvPr/>
        </p:nvSpPr>
        <p:spPr bwMode="auto">
          <a:xfrm>
            <a:off x="0" y="5882365"/>
            <a:ext cx="12192000" cy="975635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5858977-B61C-4FF9-B99A-6D5420624AC8}"/>
              </a:ext>
            </a:extLst>
          </p:cNvPr>
          <p:cNvSpPr txBox="1"/>
          <p:nvPr/>
        </p:nvSpPr>
        <p:spPr>
          <a:xfrm>
            <a:off x="998524" y="6247073"/>
            <a:ext cx="205740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reproducibility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9CC7D2A1-45E5-477B-B74C-963A4B7B8D1C}"/>
              </a:ext>
            </a:extLst>
          </p:cNvPr>
          <p:cNvSpPr txBox="1"/>
          <p:nvPr/>
        </p:nvSpPr>
        <p:spPr>
          <a:xfrm>
            <a:off x="9886899" y="6247073"/>
            <a:ext cx="156856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retraining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07ACEA88-F8A2-400B-931E-EDBE1D450608}"/>
              </a:ext>
            </a:extLst>
          </p:cNvPr>
          <p:cNvSpPr txBox="1"/>
          <p:nvPr/>
        </p:nvSpPr>
        <p:spPr>
          <a:xfrm>
            <a:off x="6883617" y="6247073"/>
            <a:ext cx="1903823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deployment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ACE5773A-ECA8-40DA-8729-9A943DA38FE9}"/>
              </a:ext>
            </a:extLst>
          </p:cNvPr>
          <p:cNvSpPr txBox="1"/>
          <p:nvPr/>
        </p:nvSpPr>
        <p:spPr>
          <a:xfrm>
            <a:off x="4153974" y="6247073"/>
            <a:ext cx="1630183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validation</a:t>
            </a:r>
          </a:p>
        </p:txBody>
      </p:sp>
      <p:sp>
        <p:nvSpPr>
          <p:cNvPr id="59" name="Rectangle 1">
            <a:extLst>
              <a:ext uri="{FF2B5EF4-FFF2-40B4-BE49-F238E27FC236}">
                <a16:creationId xmlns:a16="http://schemas.microsoft.com/office/drawing/2014/main" id="{7760BE38-A35C-4718-A2F2-13C623AAE792}"/>
              </a:ext>
            </a:extLst>
          </p:cNvPr>
          <p:cNvSpPr/>
          <p:nvPr/>
        </p:nvSpPr>
        <p:spPr bwMode="auto">
          <a:xfrm>
            <a:off x="1750229" y="3100478"/>
            <a:ext cx="1602571" cy="1201455"/>
          </a:xfrm>
          <a:custGeom>
            <a:avLst/>
            <a:gdLst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4" fmla="*/ 0 w 1471327"/>
              <a:gd name="connsiteY4" fmla="*/ 0 h 1520291"/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4" fmla="*/ 91440 w 1471327"/>
              <a:gd name="connsiteY4" fmla="*/ 91440 h 1520291"/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0" fmla="*/ 1471327 w 1471327"/>
              <a:gd name="connsiteY0" fmla="*/ 0 h 1520291"/>
              <a:gd name="connsiteX1" fmla="*/ 1471327 w 1471327"/>
              <a:gd name="connsiteY1" fmla="*/ 1520291 h 1520291"/>
              <a:gd name="connsiteX2" fmla="*/ 0 w 1471327"/>
              <a:gd name="connsiteY2" fmla="*/ 1520291 h 1520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71327" h="1520291">
                <a:moveTo>
                  <a:pt x="1471327" y="0"/>
                </a:moveTo>
                <a:lnTo>
                  <a:pt x="1471327" y="1520291"/>
                </a:lnTo>
                <a:lnTo>
                  <a:pt x="0" y="1520291"/>
                </a:lnTo>
              </a:path>
            </a:pathLst>
          </a:custGeom>
          <a:ln w="19050">
            <a:solidFill>
              <a:schemeClr val="accent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8B21E021-4666-4926-AACD-058CDE73D41D}"/>
              </a:ext>
            </a:extLst>
          </p:cNvPr>
          <p:cNvSpPr txBox="1"/>
          <p:nvPr/>
        </p:nvSpPr>
        <p:spPr>
          <a:xfrm>
            <a:off x="4393647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Build app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61419CC3-A006-4330-B51B-D667304CBB8F}"/>
              </a:ext>
            </a:extLst>
          </p:cNvPr>
          <p:cNvSpPr txBox="1"/>
          <p:nvPr/>
        </p:nvSpPr>
        <p:spPr>
          <a:xfrm>
            <a:off x="2683329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Collaborate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88C997F4-46C3-4963-802B-6DE33187C6EF}"/>
              </a:ext>
            </a:extLst>
          </p:cNvPr>
          <p:cNvSpPr txBox="1"/>
          <p:nvPr/>
        </p:nvSpPr>
        <p:spPr>
          <a:xfrm>
            <a:off x="6156979" y="1832445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Test app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4380F890-FAF3-424B-8FC4-D7E0AFF99EE0}"/>
              </a:ext>
            </a:extLst>
          </p:cNvPr>
          <p:cNvSpPr txBox="1"/>
          <p:nvPr/>
        </p:nvSpPr>
        <p:spPr>
          <a:xfrm>
            <a:off x="8067399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Release app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4E46AA6E-1313-407E-9122-2B56B5915A81}"/>
              </a:ext>
            </a:extLst>
          </p:cNvPr>
          <p:cNvSpPr txBox="1"/>
          <p:nvPr/>
        </p:nvSpPr>
        <p:spPr>
          <a:xfrm>
            <a:off x="9858731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Monitor app</a:t>
            </a:r>
          </a:p>
        </p:txBody>
      </p:sp>
      <p:cxnSp>
        <p:nvCxnSpPr>
          <p:cNvPr id="108" name="Straight Arrow Connector 107">
            <a:extLst>
              <a:ext uri="{FF2B5EF4-FFF2-40B4-BE49-F238E27FC236}">
                <a16:creationId xmlns:a16="http://schemas.microsoft.com/office/drawing/2014/main" id="{95D09AA5-8F11-43D7-9242-1F85251B44B4}"/>
              </a:ext>
            </a:extLst>
          </p:cNvPr>
          <p:cNvCxnSpPr>
            <a:cxnSpLocks/>
          </p:cNvCxnSpPr>
          <p:nvPr/>
        </p:nvCxnSpPr>
        <p:spPr>
          <a:xfrm flipV="1">
            <a:off x="3850225" y="2520243"/>
            <a:ext cx="774497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Arrow Connector 108">
            <a:extLst>
              <a:ext uri="{FF2B5EF4-FFF2-40B4-BE49-F238E27FC236}">
                <a16:creationId xmlns:a16="http://schemas.microsoft.com/office/drawing/2014/main" id="{44FC0DFB-B45A-43C9-94D7-09B3C2741854}"/>
              </a:ext>
            </a:extLst>
          </p:cNvPr>
          <p:cNvCxnSpPr>
            <a:cxnSpLocks/>
          </p:cNvCxnSpPr>
          <p:nvPr/>
        </p:nvCxnSpPr>
        <p:spPr>
          <a:xfrm>
            <a:off x="5570645" y="2520243"/>
            <a:ext cx="946287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Arrow Connector 109">
            <a:extLst>
              <a:ext uri="{FF2B5EF4-FFF2-40B4-BE49-F238E27FC236}">
                <a16:creationId xmlns:a16="http://schemas.microsoft.com/office/drawing/2014/main" id="{63C2E16C-4957-44E9-8400-85324282BFC3}"/>
              </a:ext>
            </a:extLst>
          </p:cNvPr>
          <p:cNvCxnSpPr>
            <a:cxnSpLocks/>
          </p:cNvCxnSpPr>
          <p:nvPr/>
        </p:nvCxnSpPr>
        <p:spPr>
          <a:xfrm>
            <a:off x="7196682" y="2520243"/>
            <a:ext cx="109930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>
            <a:extLst>
              <a:ext uri="{FF2B5EF4-FFF2-40B4-BE49-F238E27FC236}">
                <a16:creationId xmlns:a16="http://schemas.microsoft.com/office/drawing/2014/main" id="{A4EA2DD8-314C-4AAF-8B22-AA47AA9F0F64}"/>
              </a:ext>
            </a:extLst>
          </p:cNvPr>
          <p:cNvCxnSpPr>
            <a:cxnSpLocks/>
          </p:cNvCxnSpPr>
          <p:nvPr/>
        </p:nvCxnSpPr>
        <p:spPr>
          <a:xfrm>
            <a:off x="9112623" y="2520243"/>
            <a:ext cx="962699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ABF307AA-E8E0-4100-9079-53AA5DB7D10D}"/>
              </a:ext>
            </a:extLst>
          </p:cNvPr>
          <p:cNvGrpSpPr/>
          <p:nvPr/>
        </p:nvGrpSpPr>
        <p:grpSpPr>
          <a:xfrm>
            <a:off x="3034411" y="2271608"/>
            <a:ext cx="642716" cy="643947"/>
            <a:chOff x="3034411" y="2271607"/>
            <a:chExt cx="642716" cy="643947"/>
          </a:xfrm>
        </p:grpSpPr>
        <p:sp useBgFill="1">
          <p:nvSpPr>
            <p:cNvPr id="114" name="Freeform 5">
              <a:extLst>
                <a:ext uri="{FF2B5EF4-FFF2-40B4-BE49-F238E27FC236}">
                  <a16:creationId xmlns:a16="http://schemas.microsoft.com/office/drawing/2014/main" id="{29D9AE59-C668-433C-9A33-9556114F45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4411" y="2271607"/>
              <a:ext cx="642716" cy="643947"/>
            </a:xfrm>
            <a:prstGeom prst="ellipse">
              <a:avLst/>
            </a:prstGeom>
            <a:solidFill>
              <a:schemeClr val="bg1"/>
            </a:solidFill>
            <a:ln w="10795" cap="flat" cmpd="sng" algn="ctr">
              <a:noFill/>
              <a:prstDash val="solid"/>
            </a:ln>
            <a:effectLst>
              <a:outerShdw blurRad="190500" dist="38100" dir="2700000" algn="tl" rotWithShape="0">
                <a:prstClr val="black">
                  <a:alpha val="25000"/>
                </a:prstClr>
              </a:outerShdw>
            </a:effectLst>
          </p:spPr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ts val="600"/>
                </a:spcBef>
                <a:defRPr/>
              </a:pPr>
              <a:endParaRPr lang="en-US" sz="2000">
                <a:latin typeface="Segoe UI Semilight"/>
              </a:endParaRPr>
            </a:p>
          </p:txBody>
        </p: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DEB84A9B-BC9A-4B33-9D4B-DC6BEF478BF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034411" y="2273421"/>
              <a:ext cx="642716" cy="628550"/>
              <a:chOff x="6634" y="3297"/>
              <a:chExt cx="2092" cy="2046"/>
            </a:xfrm>
            <a:solidFill>
              <a:schemeClr val="tx1"/>
            </a:solidFill>
          </p:grpSpPr>
          <p:sp>
            <p:nvSpPr>
              <p:cNvPr id="116" name="Freeform 5">
                <a:extLst>
                  <a:ext uri="{FF2B5EF4-FFF2-40B4-BE49-F238E27FC236}">
                    <a16:creationId xmlns:a16="http://schemas.microsoft.com/office/drawing/2014/main" id="{6B791EAA-8A4D-40BF-A348-264E908B0E3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4" y="3297"/>
                <a:ext cx="2092" cy="2046"/>
              </a:xfrm>
              <a:custGeom>
                <a:avLst/>
                <a:gdLst>
                  <a:gd name="T0" fmla="*/ 594 w 1187"/>
                  <a:gd name="T1" fmla="*/ 0 h 1161"/>
                  <a:gd name="T2" fmla="*/ 594 w 1187"/>
                  <a:gd name="T3" fmla="*/ 0 h 1161"/>
                  <a:gd name="T4" fmla="*/ 0 w 1187"/>
                  <a:gd name="T5" fmla="*/ 592 h 1161"/>
                  <a:gd name="T6" fmla="*/ 406 w 1187"/>
                  <a:gd name="T7" fmla="*/ 1155 h 1161"/>
                  <a:gd name="T8" fmla="*/ 446 w 1187"/>
                  <a:gd name="T9" fmla="*/ 1126 h 1161"/>
                  <a:gd name="T10" fmla="*/ 445 w 1187"/>
                  <a:gd name="T11" fmla="*/ 1016 h 1161"/>
                  <a:gd name="T12" fmla="*/ 246 w 1187"/>
                  <a:gd name="T13" fmla="*/ 946 h 1161"/>
                  <a:gd name="T14" fmla="*/ 179 w 1187"/>
                  <a:gd name="T15" fmla="*/ 859 h 1161"/>
                  <a:gd name="T16" fmla="*/ 184 w 1187"/>
                  <a:gd name="T17" fmla="*/ 823 h 1161"/>
                  <a:gd name="T18" fmla="*/ 274 w 1187"/>
                  <a:gd name="T19" fmla="*/ 884 h 1161"/>
                  <a:gd name="T20" fmla="*/ 448 w 1187"/>
                  <a:gd name="T21" fmla="*/ 934 h 1161"/>
                  <a:gd name="T22" fmla="*/ 485 w 1187"/>
                  <a:gd name="T23" fmla="*/ 854 h 1161"/>
                  <a:gd name="T24" fmla="*/ 215 w 1187"/>
                  <a:gd name="T25" fmla="*/ 561 h 1161"/>
                  <a:gd name="T26" fmla="*/ 276 w 1187"/>
                  <a:gd name="T27" fmla="*/ 402 h 1161"/>
                  <a:gd name="T28" fmla="*/ 282 w 1187"/>
                  <a:gd name="T29" fmla="*/ 245 h 1161"/>
                  <a:gd name="T30" fmla="*/ 445 w 1187"/>
                  <a:gd name="T31" fmla="*/ 305 h 1161"/>
                  <a:gd name="T32" fmla="*/ 594 w 1187"/>
                  <a:gd name="T33" fmla="*/ 285 h 1161"/>
                  <a:gd name="T34" fmla="*/ 742 w 1187"/>
                  <a:gd name="T35" fmla="*/ 305 h 1161"/>
                  <a:gd name="T36" fmla="*/ 906 w 1187"/>
                  <a:gd name="T37" fmla="*/ 245 h 1161"/>
                  <a:gd name="T38" fmla="*/ 911 w 1187"/>
                  <a:gd name="T39" fmla="*/ 402 h 1161"/>
                  <a:gd name="T40" fmla="*/ 972 w 1187"/>
                  <a:gd name="T41" fmla="*/ 561 h 1161"/>
                  <a:gd name="T42" fmla="*/ 701 w 1187"/>
                  <a:gd name="T43" fmla="*/ 853 h 1161"/>
                  <a:gd name="T44" fmla="*/ 741 w 1187"/>
                  <a:gd name="T45" fmla="*/ 963 h 1161"/>
                  <a:gd name="T46" fmla="*/ 740 w 1187"/>
                  <a:gd name="T47" fmla="*/ 1126 h 1161"/>
                  <a:gd name="T48" fmla="*/ 782 w 1187"/>
                  <a:gd name="T49" fmla="*/ 1155 h 1161"/>
                  <a:gd name="T50" fmla="*/ 1187 w 1187"/>
                  <a:gd name="T51" fmla="*/ 592 h 1161"/>
                  <a:gd name="T52" fmla="*/ 594 w 1187"/>
                  <a:gd name="T53" fmla="*/ 0 h 1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87" h="1161">
                    <a:moveTo>
                      <a:pt x="594" y="0"/>
                    </a:moveTo>
                    <a:cubicBezTo>
                      <a:pt x="594" y="0"/>
                      <a:pt x="594" y="0"/>
                      <a:pt x="594" y="0"/>
                    </a:cubicBezTo>
                    <a:cubicBezTo>
                      <a:pt x="265" y="0"/>
                      <a:pt x="0" y="264"/>
                      <a:pt x="0" y="592"/>
                    </a:cubicBezTo>
                    <a:cubicBezTo>
                      <a:pt x="0" y="854"/>
                      <a:pt x="170" y="1077"/>
                      <a:pt x="406" y="1155"/>
                    </a:cubicBezTo>
                    <a:cubicBezTo>
                      <a:pt x="435" y="1161"/>
                      <a:pt x="446" y="1142"/>
                      <a:pt x="446" y="1126"/>
                    </a:cubicBezTo>
                    <a:cubicBezTo>
                      <a:pt x="446" y="1112"/>
                      <a:pt x="445" y="1066"/>
                      <a:pt x="445" y="1016"/>
                    </a:cubicBezTo>
                    <a:cubicBezTo>
                      <a:pt x="280" y="1052"/>
                      <a:pt x="246" y="946"/>
                      <a:pt x="246" y="946"/>
                    </a:cubicBezTo>
                    <a:cubicBezTo>
                      <a:pt x="218" y="877"/>
                      <a:pt x="179" y="859"/>
                      <a:pt x="179" y="859"/>
                    </a:cubicBezTo>
                    <a:cubicBezTo>
                      <a:pt x="125" y="822"/>
                      <a:pt x="184" y="823"/>
                      <a:pt x="184" y="823"/>
                    </a:cubicBezTo>
                    <a:cubicBezTo>
                      <a:pt x="243" y="827"/>
                      <a:pt x="274" y="884"/>
                      <a:pt x="274" y="884"/>
                    </a:cubicBezTo>
                    <a:cubicBezTo>
                      <a:pt x="327" y="975"/>
                      <a:pt x="414" y="948"/>
                      <a:pt x="448" y="934"/>
                    </a:cubicBezTo>
                    <a:cubicBezTo>
                      <a:pt x="453" y="895"/>
                      <a:pt x="468" y="869"/>
                      <a:pt x="485" y="854"/>
                    </a:cubicBezTo>
                    <a:cubicBezTo>
                      <a:pt x="353" y="839"/>
                      <a:pt x="215" y="789"/>
                      <a:pt x="215" y="561"/>
                    </a:cubicBezTo>
                    <a:cubicBezTo>
                      <a:pt x="215" y="496"/>
                      <a:pt x="237" y="443"/>
                      <a:pt x="276" y="402"/>
                    </a:cubicBezTo>
                    <a:cubicBezTo>
                      <a:pt x="269" y="387"/>
                      <a:pt x="249" y="327"/>
                      <a:pt x="282" y="245"/>
                    </a:cubicBezTo>
                    <a:cubicBezTo>
                      <a:pt x="282" y="245"/>
                      <a:pt x="331" y="229"/>
                      <a:pt x="445" y="305"/>
                    </a:cubicBezTo>
                    <a:cubicBezTo>
                      <a:pt x="492" y="293"/>
                      <a:pt x="543" y="286"/>
                      <a:pt x="594" y="285"/>
                    </a:cubicBezTo>
                    <a:cubicBezTo>
                      <a:pt x="644" y="286"/>
                      <a:pt x="695" y="293"/>
                      <a:pt x="742" y="305"/>
                    </a:cubicBezTo>
                    <a:cubicBezTo>
                      <a:pt x="855" y="229"/>
                      <a:pt x="906" y="245"/>
                      <a:pt x="906" y="245"/>
                    </a:cubicBezTo>
                    <a:cubicBezTo>
                      <a:pt x="937" y="327"/>
                      <a:pt x="917" y="387"/>
                      <a:pt x="911" y="402"/>
                    </a:cubicBezTo>
                    <a:cubicBezTo>
                      <a:pt x="949" y="443"/>
                      <a:pt x="972" y="496"/>
                      <a:pt x="972" y="561"/>
                    </a:cubicBezTo>
                    <a:cubicBezTo>
                      <a:pt x="972" y="789"/>
                      <a:pt x="833" y="839"/>
                      <a:pt x="701" y="853"/>
                    </a:cubicBezTo>
                    <a:cubicBezTo>
                      <a:pt x="723" y="872"/>
                      <a:pt x="741" y="908"/>
                      <a:pt x="741" y="963"/>
                    </a:cubicBezTo>
                    <a:cubicBezTo>
                      <a:pt x="741" y="1043"/>
                      <a:pt x="740" y="1107"/>
                      <a:pt x="740" y="1126"/>
                    </a:cubicBezTo>
                    <a:cubicBezTo>
                      <a:pt x="740" y="1142"/>
                      <a:pt x="751" y="1161"/>
                      <a:pt x="782" y="1155"/>
                    </a:cubicBezTo>
                    <a:cubicBezTo>
                      <a:pt x="1017" y="1076"/>
                      <a:pt x="1187" y="854"/>
                      <a:pt x="1187" y="592"/>
                    </a:cubicBezTo>
                    <a:cubicBezTo>
                      <a:pt x="1187" y="264"/>
                      <a:pt x="921" y="0"/>
                      <a:pt x="59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17" name="Freeform 6">
                <a:extLst>
                  <a:ext uri="{FF2B5EF4-FFF2-40B4-BE49-F238E27FC236}">
                    <a16:creationId xmlns:a16="http://schemas.microsoft.com/office/drawing/2014/main" id="{1118A2E2-8485-4F5D-8E2F-E560542E3A6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01" y="4776"/>
                <a:ext cx="31" cy="26"/>
              </a:xfrm>
              <a:custGeom>
                <a:avLst/>
                <a:gdLst>
                  <a:gd name="T0" fmla="*/ 16 w 18"/>
                  <a:gd name="T1" fmla="*/ 11 h 15"/>
                  <a:gd name="T2" fmla="*/ 16 w 18"/>
                  <a:gd name="T3" fmla="*/ 11 h 15"/>
                  <a:gd name="T4" fmla="*/ 7 w 18"/>
                  <a:gd name="T5" fmla="*/ 13 h 15"/>
                  <a:gd name="T6" fmla="*/ 1 w 18"/>
                  <a:gd name="T7" fmla="*/ 4 h 15"/>
                  <a:gd name="T8" fmla="*/ 11 w 18"/>
                  <a:gd name="T9" fmla="*/ 3 h 15"/>
                  <a:gd name="T10" fmla="*/ 16 w 18"/>
                  <a:gd name="T11" fmla="*/ 1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15">
                    <a:moveTo>
                      <a:pt x="16" y="11"/>
                    </a:moveTo>
                    <a:cubicBezTo>
                      <a:pt x="16" y="11"/>
                      <a:pt x="16" y="11"/>
                      <a:pt x="16" y="11"/>
                    </a:cubicBezTo>
                    <a:cubicBezTo>
                      <a:pt x="15" y="14"/>
                      <a:pt x="10" y="15"/>
                      <a:pt x="7" y="13"/>
                    </a:cubicBezTo>
                    <a:cubicBezTo>
                      <a:pt x="2" y="11"/>
                      <a:pt x="0" y="7"/>
                      <a:pt x="1" y="4"/>
                    </a:cubicBezTo>
                    <a:cubicBezTo>
                      <a:pt x="2" y="1"/>
                      <a:pt x="7" y="0"/>
                      <a:pt x="11" y="3"/>
                    </a:cubicBezTo>
                    <a:cubicBezTo>
                      <a:pt x="15" y="4"/>
                      <a:pt x="18" y="9"/>
                      <a:pt x="16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18" name="Freeform 7">
                <a:extLst>
                  <a:ext uri="{FF2B5EF4-FFF2-40B4-BE49-F238E27FC236}">
                    <a16:creationId xmlns:a16="http://schemas.microsoft.com/office/drawing/2014/main" id="{2E95983A-E859-4474-BAE5-704A6ED87FC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43" y="4811"/>
                <a:ext cx="33" cy="37"/>
              </a:xfrm>
              <a:custGeom>
                <a:avLst/>
                <a:gdLst>
                  <a:gd name="T0" fmla="*/ 17 w 19"/>
                  <a:gd name="T1" fmla="*/ 18 h 21"/>
                  <a:gd name="T2" fmla="*/ 17 w 19"/>
                  <a:gd name="T3" fmla="*/ 18 h 21"/>
                  <a:gd name="T4" fmla="*/ 5 w 19"/>
                  <a:gd name="T5" fmla="*/ 16 h 21"/>
                  <a:gd name="T6" fmla="*/ 3 w 19"/>
                  <a:gd name="T7" fmla="*/ 3 h 21"/>
                  <a:gd name="T8" fmla="*/ 15 w 19"/>
                  <a:gd name="T9" fmla="*/ 6 h 21"/>
                  <a:gd name="T10" fmla="*/ 17 w 19"/>
                  <a:gd name="T11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21">
                    <a:moveTo>
                      <a:pt x="17" y="18"/>
                    </a:moveTo>
                    <a:cubicBezTo>
                      <a:pt x="17" y="18"/>
                      <a:pt x="17" y="18"/>
                      <a:pt x="17" y="18"/>
                    </a:cubicBezTo>
                    <a:cubicBezTo>
                      <a:pt x="14" y="21"/>
                      <a:pt x="8" y="19"/>
                      <a:pt x="5" y="16"/>
                    </a:cubicBezTo>
                    <a:cubicBezTo>
                      <a:pt x="0" y="11"/>
                      <a:pt x="0" y="5"/>
                      <a:pt x="3" y="3"/>
                    </a:cubicBezTo>
                    <a:cubicBezTo>
                      <a:pt x="5" y="0"/>
                      <a:pt x="11" y="2"/>
                      <a:pt x="15" y="6"/>
                    </a:cubicBezTo>
                    <a:cubicBezTo>
                      <a:pt x="19" y="10"/>
                      <a:pt x="19" y="16"/>
                      <a:pt x="17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19" name="Freeform 8">
                <a:extLst>
                  <a:ext uri="{FF2B5EF4-FFF2-40B4-BE49-F238E27FC236}">
                    <a16:creationId xmlns:a16="http://schemas.microsoft.com/office/drawing/2014/main" id="{D7D34CE0-207A-4694-9F96-A209157E701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84" y="4865"/>
                <a:ext cx="37" cy="43"/>
              </a:xfrm>
              <a:custGeom>
                <a:avLst/>
                <a:gdLst>
                  <a:gd name="T0" fmla="*/ 17 w 21"/>
                  <a:gd name="T1" fmla="*/ 22 h 24"/>
                  <a:gd name="T2" fmla="*/ 17 w 21"/>
                  <a:gd name="T3" fmla="*/ 22 h 24"/>
                  <a:gd name="T4" fmla="*/ 4 w 21"/>
                  <a:gd name="T5" fmla="*/ 16 h 24"/>
                  <a:gd name="T6" fmla="*/ 4 w 21"/>
                  <a:gd name="T7" fmla="*/ 2 h 24"/>
                  <a:gd name="T8" fmla="*/ 17 w 21"/>
                  <a:gd name="T9" fmla="*/ 7 h 24"/>
                  <a:gd name="T10" fmla="*/ 17 w 21"/>
                  <a:gd name="T11" fmla="*/ 2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" h="24">
                    <a:moveTo>
                      <a:pt x="17" y="22"/>
                    </a:moveTo>
                    <a:cubicBezTo>
                      <a:pt x="17" y="22"/>
                      <a:pt x="17" y="22"/>
                      <a:pt x="17" y="22"/>
                    </a:cubicBezTo>
                    <a:cubicBezTo>
                      <a:pt x="13" y="24"/>
                      <a:pt x="8" y="22"/>
                      <a:pt x="4" y="16"/>
                    </a:cubicBezTo>
                    <a:cubicBezTo>
                      <a:pt x="0" y="11"/>
                      <a:pt x="0" y="5"/>
                      <a:pt x="4" y="2"/>
                    </a:cubicBezTo>
                    <a:cubicBezTo>
                      <a:pt x="8" y="0"/>
                      <a:pt x="13" y="2"/>
                      <a:pt x="17" y="7"/>
                    </a:cubicBezTo>
                    <a:cubicBezTo>
                      <a:pt x="21" y="13"/>
                      <a:pt x="21" y="19"/>
                      <a:pt x="17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20" name="Freeform 9">
                <a:extLst>
                  <a:ext uri="{FF2B5EF4-FFF2-40B4-BE49-F238E27FC236}">
                    <a16:creationId xmlns:a16="http://schemas.microsoft.com/office/drawing/2014/main" id="{287FE1DA-F675-4785-9F60-A34458A2556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31" y="4924"/>
                <a:ext cx="46" cy="44"/>
              </a:xfrm>
              <a:custGeom>
                <a:avLst/>
                <a:gdLst>
                  <a:gd name="T0" fmla="*/ 22 w 26"/>
                  <a:gd name="T1" fmla="*/ 22 h 25"/>
                  <a:gd name="T2" fmla="*/ 22 w 26"/>
                  <a:gd name="T3" fmla="*/ 22 h 25"/>
                  <a:gd name="T4" fmla="*/ 7 w 26"/>
                  <a:gd name="T5" fmla="*/ 19 h 25"/>
                  <a:gd name="T6" fmla="*/ 3 w 26"/>
                  <a:gd name="T7" fmla="*/ 4 h 25"/>
                  <a:gd name="T8" fmla="*/ 19 w 26"/>
                  <a:gd name="T9" fmla="*/ 6 h 25"/>
                  <a:gd name="T10" fmla="*/ 22 w 26"/>
                  <a:gd name="T11" fmla="*/ 2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25">
                    <a:moveTo>
                      <a:pt x="22" y="22"/>
                    </a:moveTo>
                    <a:cubicBezTo>
                      <a:pt x="22" y="22"/>
                      <a:pt x="22" y="22"/>
                      <a:pt x="22" y="22"/>
                    </a:cubicBezTo>
                    <a:cubicBezTo>
                      <a:pt x="19" y="25"/>
                      <a:pt x="12" y="24"/>
                      <a:pt x="7" y="19"/>
                    </a:cubicBezTo>
                    <a:cubicBezTo>
                      <a:pt x="2" y="14"/>
                      <a:pt x="0" y="8"/>
                      <a:pt x="3" y="4"/>
                    </a:cubicBezTo>
                    <a:cubicBezTo>
                      <a:pt x="7" y="0"/>
                      <a:pt x="14" y="1"/>
                      <a:pt x="19" y="6"/>
                    </a:cubicBezTo>
                    <a:cubicBezTo>
                      <a:pt x="24" y="11"/>
                      <a:pt x="26" y="18"/>
                      <a:pt x="22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21" name="Freeform 10">
                <a:extLst>
                  <a:ext uri="{FF2B5EF4-FFF2-40B4-BE49-F238E27FC236}">
                    <a16:creationId xmlns:a16="http://schemas.microsoft.com/office/drawing/2014/main" id="{CC9E1A4C-AF7E-4A01-BB29-0F2FE3057DC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02" y="4969"/>
                <a:ext cx="49" cy="39"/>
              </a:xfrm>
              <a:custGeom>
                <a:avLst/>
                <a:gdLst>
                  <a:gd name="T0" fmla="*/ 26 w 28"/>
                  <a:gd name="T1" fmla="*/ 15 h 22"/>
                  <a:gd name="T2" fmla="*/ 26 w 28"/>
                  <a:gd name="T3" fmla="*/ 15 h 22"/>
                  <a:gd name="T4" fmla="*/ 11 w 28"/>
                  <a:gd name="T5" fmla="*/ 19 h 22"/>
                  <a:gd name="T6" fmla="*/ 2 w 28"/>
                  <a:gd name="T7" fmla="*/ 8 h 22"/>
                  <a:gd name="T8" fmla="*/ 16 w 28"/>
                  <a:gd name="T9" fmla="*/ 2 h 22"/>
                  <a:gd name="T10" fmla="*/ 26 w 28"/>
                  <a:gd name="T11" fmla="*/ 1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22">
                    <a:moveTo>
                      <a:pt x="26" y="15"/>
                    </a:moveTo>
                    <a:cubicBezTo>
                      <a:pt x="26" y="15"/>
                      <a:pt x="26" y="15"/>
                      <a:pt x="26" y="15"/>
                    </a:cubicBezTo>
                    <a:cubicBezTo>
                      <a:pt x="25" y="19"/>
                      <a:pt x="18" y="22"/>
                      <a:pt x="11" y="19"/>
                    </a:cubicBezTo>
                    <a:cubicBezTo>
                      <a:pt x="5" y="17"/>
                      <a:pt x="0" y="12"/>
                      <a:pt x="2" y="8"/>
                    </a:cubicBezTo>
                    <a:cubicBezTo>
                      <a:pt x="3" y="2"/>
                      <a:pt x="10" y="0"/>
                      <a:pt x="16" y="2"/>
                    </a:cubicBezTo>
                    <a:cubicBezTo>
                      <a:pt x="23" y="5"/>
                      <a:pt x="28" y="10"/>
                      <a:pt x="26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22" name="Freeform 11">
                <a:extLst>
                  <a:ext uri="{FF2B5EF4-FFF2-40B4-BE49-F238E27FC236}">
                    <a16:creationId xmlns:a16="http://schemas.microsoft.com/office/drawing/2014/main" id="{1C3C711D-35D6-41A8-B5CC-FF7FD29D4FC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90" y="4985"/>
                <a:ext cx="44" cy="32"/>
              </a:xfrm>
              <a:custGeom>
                <a:avLst/>
                <a:gdLst>
                  <a:gd name="T0" fmla="*/ 25 w 25"/>
                  <a:gd name="T1" fmla="*/ 9 h 18"/>
                  <a:gd name="T2" fmla="*/ 25 w 25"/>
                  <a:gd name="T3" fmla="*/ 9 h 18"/>
                  <a:gd name="T4" fmla="*/ 12 w 25"/>
                  <a:gd name="T5" fmla="*/ 18 h 18"/>
                  <a:gd name="T6" fmla="*/ 0 w 25"/>
                  <a:gd name="T7" fmla="*/ 10 h 18"/>
                  <a:gd name="T8" fmla="*/ 12 w 25"/>
                  <a:gd name="T9" fmla="*/ 1 h 18"/>
                  <a:gd name="T10" fmla="*/ 25 w 25"/>
                  <a:gd name="T11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" h="18">
                    <a:moveTo>
                      <a:pt x="25" y="9"/>
                    </a:moveTo>
                    <a:cubicBezTo>
                      <a:pt x="25" y="9"/>
                      <a:pt x="25" y="9"/>
                      <a:pt x="25" y="9"/>
                    </a:cubicBezTo>
                    <a:cubicBezTo>
                      <a:pt x="25" y="14"/>
                      <a:pt x="20" y="18"/>
                      <a:pt x="12" y="18"/>
                    </a:cubicBezTo>
                    <a:cubicBezTo>
                      <a:pt x="6" y="18"/>
                      <a:pt x="0" y="14"/>
                      <a:pt x="0" y="10"/>
                    </a:cubicBezTo>
                    <a:cubicBezTo>
                      <a:pt x="0" y="4"/>
                      <a:pt x="5" y="1"/>
                      <a:pt x="12" y="1"/>
                    </a:cubicBezTo>
                    <a:cubicBezTo>
                      <a:pt x="19" y="0"/>
                      <a:pt x="25" y="4"/>
                      <a:pt x="25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23" name="Freeform 12">
                <a:extLst>
                  <a:ext uri="{FF2B5EF4-FFF2-40B4-BE49-F238E27FC236}">
                    <a16:creationId xmlns:a16="http://schemas.microsoft.com/office/drawing/2014/main" id="{10EC13D5-5CB9-4706-BFD0-541B8D1FD84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367" y="4973"/>
                <a:ext cx="48" cy="37"/>
              </a:xfrm>
              <a:custGeom>
                <a:avLst/>
                <a:gdLst>
                  <a:gd name="T0" fmla="*/ 26 w 27"/>
                  <a:gd name="T1" fmla="*/ 9 h 21"/>
                  <a:gd name="T2" fmla="*/ 26 w 27"/>
                  <a:gd name="T3" fmla="*/ 9 h 21"/>
                  <a:gd name="T4" fmla="*/ 15 w 27"/>
                  <a:gd name="T5" fmla="*/ 20 h 21"/>
                  <a:gd name="T6" fmla="*/ 1 w 27"/>
                  <a:gd name="T7" fmla="*/ 13 h 21"/>
                  <a:gd name="T8" fmla="*/ 12 w 27"/>
                  <a:gd name="T9" fmla="*/ 2 h 21"/>
                  <a:gd name="T10" fmla="*/ 26 w 27"/>
                  <a:gd name="T11" fmla="*/ 9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21">
                    <a:moveTo>
                      <a:pt x="26" y="9"/>
                    </a:moveTo>
                    <a:cubicBezTo>
                      <a:pt x="26" y="9"/>
                      <a:pt x="26" y="9"/>
                      <a:pt x="26" y="9"/>
                    </a:cubicBezTo>
                    <a:cubicBezTo>
                      <a:pt x="27" y="13"/>
                      <a:pt x="22" y="18"/>
                      <a:pt x="15" y="20"/>
                    </a:cubicBezTo>
                    <a:cubicBezTo>
                      <a:pt x="8" y="21"/>
                      <a:pt x="2" y="18"/>
                      <a:pt x="1" y="13"/>
                    </a:cubicBezTo>
                    <a:cubicBezTo>
                      <a:pt x="0" y="8"/>
                      <a:pt x="5" y="3"/>
                      <a:pt x="12" y="2"/>
                    </a:cubicBezTo>
                    <a:cubicBezTo>
                      <a:pt x="19" y="0"/>
                      <a:pt x="25" y="3"/>
                      <a:pt x="2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</p:grpSp>
      </p:grpSp>
      <p:pic>
        <p:nvPicPr>
          <p:cNvPr id="124" name="Picture 6">
            <a:extLst>
              <a:ext uri="{FF2B5EF4-FFF2-40B4-BE49-F238E27FC236}">
                <a16:creationId xmlns:a16="http://schemas.microsoft.com/office/drawing/2014/main" id="{320BFC98-9020-44CE-A05D-EB02D976CD9C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3367" y="2319423"/>
            <a:ext cx="532944" cy="53654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>
            <a:outerShdw blurRad="1905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125" name="Picture 12">
            <a:extLst>
              <a:ext uri="{FF2B5EF4-FFF2-40B4-BE49-F238E27FC236}">
                <a16:creationId xmlns:a16="http://schemas.microsoft.com/office/drawing/2014/main" id="{ACD8BEEF-FC6F-40CC-A51A-B3678A7E0998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4245" y="2322523"/>
            <a:ext cx="530347" cy="53034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>
            <a:outerShdw blurRad="1905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126" name="Graphic 125">
            <a:extLst>
              <a:ext uri="{FF2B5EF4-FFF2-40B4-BE49-F238E27FC236}">
                <a16:creationId xmlns:a16="http://schemas.microsoft.com/office/drawing/2014/main" id="{8AB2F78F-0AAA-4BA5-90DE-6ECD315390E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797813" y="2315809"/>
            <a:ext cx="536547" cy="536547"/>
          </a:xfrm>
          <a:prstGeom prst="rect">
            <a:avLst/>
          </a:prstGeom>
          <a:effectLst>
            <a:outerShdw blurRad="190500" dist="38100" dir="2700000" algn="ctr" rotWithShape="0">
              <a:prstClr val="black">
                <a:alpha val="25000"/>
              </a:prstClr>
            </a:outerShdw>
          </a:effectLst>
        </p:spPr>
      </p:pic>
      <p:cxnSp>
        <p:nvCxnSpPr>
          <p:cNvPr id="144" name="Straight Arrow Connector 143">
            <a:extLst>
              <a:ext uri="{FF2B5EF4-FFF2-40B4-BE49-F238E27FC236}">
                <a16:creationId xmlns:a16="http://schemas.microsoft.com/office/drawing/2014/main" id="{50794CBD-5D31-4A71-8EBB-927E9A19CF20}"/>
              </a:ext>
            </a:extLst>
          </p:cNvPr>
          <p:cNvCxnSpPr>
            <a:cxnSpLocks/>
          </p:cNvCxnSpPr>
          <p:nvPr/>
        </p:nvCxnSpPr>
        <p:spPr>
          <a:xfrm>
            <a:off x="1810056" y="2520243"/>
            <a:ext cx="110556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AA604511-320C-4AA3-BCA5-6A1F07688232}"/>
              </a:ext>
            </a:extLst>
          </p:cNvPr>
          <p:cNvSpPr txBox="1"/>
          <p:nvPr/>
        </p:nvSpPr>
        <p:spPr>
          <a:xfrm>
            <a:off x="361727" y="2951161"/>
            <a:ext cx="187743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77">
              <a:defRPr/>
            </a:pPr>
            <a:r>
              <a:rPr lang="en-US" sz="1400">
                <a:latin typeface="Segoe UI Semibold"/>
              </a:rPr>
              <a:t>App developer</a:t>
            </a:r>
          </a:p>
          <a:p>
            <a:pPr algn="ctr" defTabSz="914377">
              <a:defRPr/>
            </a:pPr>
            <a:r>
              <a:rPr lang="en-US" sz="1400">
                <a:latin typeface="Segoe UI Semibold"/>
              </a:rPr>
              <a:t>using Azure DevOps </a:t>
            </a: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334A6CA7-9B51-45C3-B0A8-EB6031CBFD7A}"/>
              </a:ext>
            </a:extLst>
          </p:cNvPr>
          <p:cNvGrpSpPr/>
          <p:nvPr/>
        </p:nvGrpSpPr>
        <p:grpSpPr>
          <a:xfrm>
            <a:off x="1057501" y="2340616"/>
            <a:ext cx="485888" cy="564792"/>
            <a:chOff x="6185695" y="5061756"/>
            <a:chExt cx="742515" cy="863093"/>
          </a:xfrm>
          <a:solidFill>
            <a:schemeClr val="tx1"/>
          </a:solidFill>
        </p:grpSpPr>
        <p:sp>
          <p:nvSpPr>
            <p:cNvPr id="71" name="Oval 69">
              <a:extLst>
                <a:ext uri="{FF2B5EF4-FFF2-40B4-BE49-F238E27FC236}">
                  <a16:creationId xmlns:a16="http://schemas.microsoft.com/office/drawing/2014/main" id="{D8D4D87C-B0CF-4B1E-9CA3-B35769F994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69737" y="5061756"/>
              <a:ext cx="368084" cy="36808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  <p:sp>
          <p:nvSpPr>
            <p:cNvPr id="72" name="Freeform 70">
              <a:extLst>
                <a:ext uri="{FF2B5EF4-FFF2-40B4-BE49-F238E27FC236}">
                  <a16:creationId xmlns:a16="http://schemas.microsoft.com/office/drawing/2014/main" id="{80DC9AC5-E30E-43CA-8385-EAC6D86A25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5695" y="5556765"/>
              <a:ext cx="742515" cy="368084"/>
            </a:xfrm>
            <a:custGeom>
              <a:avLst/>
              <a:gdLst>
                <a:gd name="T0" fmla="*/ 0 w 512"/>
                <a:gd name="T1" fmla="*/ 256 h 256"/>
                <a:gd name="T2" fmla="*/ 256 w 512"/>
                <a:gd name="T3" fmla="*/ 0 h 256"/>
                <a:gd name="T4" fmla="*/ 512 w 512"/>
                <a:gd name="T5" fmla="*/ 256 h 256"/>
                <a:gd name="T6" fmla="*/ 0 w 512"/>
                <a:gd name="T7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2" h="256">
                  <a:moveTo>
                    <a:pt x="0" y="256"/>
                  </a:moveTo>
                  <a:cubicBezTo>
                    <a:pt x="0" y="115"/>
                    <a:pt x="114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lnTo>
                    <a:pt x="0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</p:grpSp>
      <p:sp>
        <p:nvSpPr>
          <p:cNvPr id="73" name="TextBox 72">
            <a:extLst>
              <a:ext uri="{FF2B5EF4-FFF2-40B4-BE49-F238E27FC236}">
                <a16:creationId xmlns:a16="http://schemas.microsoft.com/office/drawing/2014/main" id="{476AEEDF-18BD-4336-BDC1-B1DE26C8F36C}"/>
              </a:ext>
            </a:extLst>
          </p:cNvPr>
          <p:cNvSpPr txBox="1"/>
          <p:nvPr/>
        </p:nvSpPr>
        <p:spPr>
          <a:xfrm>
            <a:off x="223876" y="4645317"/>
            <a:ext cx="21531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77">
              <a:defRPr/>
            </a:pPr>
            <a:r>
              <a:rPr lang="en-US" sz="1400">
                <a:latin typeface="Segoe UI Semibold"/>
              </a:rPr>
              <a:t>Data scientist using </a:t>
            </a:r>
          </a:p>
          <a:p>
            <a:pPr algn="ctr" defTabSz="914377">
              <a:defRPr/>
            </a:pPr>
            <a:r>
              <a:rPr lang="en-US" sz="1400">
                <a:latin typeface="Segoe UI Semibold"/>
              </a:rPr>
              <a:t>Azure Machine Learning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1637F807-DF77-4296-B5C1-E1633D042169}"/>
              </a:ext>
            </a:extLst>
          </p:cNvPr>
          <p:cNvGrpSpPr/>
          <p:nvPr/>
        </p:nvGrpSpPr>
        <p:grpSpPr>
          <a:xfrm>
            <a:off x="1057501" y="4052851"/>
            <a:ext cx="485888" cy="564792"/>
            <a:chOff x="6185695" y="5061756"/>
            <a:chExt cx="742515" cy="863093"/>
          </a:xfrm>
        </p:grpSpPr>
        <p:sp>
          <p:nvSpPr>
            <p:cNvPr id="75" name="Oval 69">
              <a:extLst>
                <a:ext uri="{FF2B5EF4-FFF2-40B4-BE49-F238E27FC236}">
                  <a16:creationId xmlns:a16="http://schemas.microsoft.com/office/drawing/2014/main" id="{68E6694B-829A-460C-95BB-CBECDFB15E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69737" y="5061756"/>
              <a:ext cx="368084" cy="368084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  <p:sp>
          <p:nvSpPr>
            <p:cNvPr id="76" name="Freeform 70">
              <a:extLst>
                <a:ext uri="{FF2B5EF4-FFF2-40B4-BE49-F238E27FC236}">
                  <a16:creationId xmlns:a16="http://schemas.microsoft.com/office/drawing/2014/main" id="{65D94EE6-7E80-40FB-BF8F-74A6550AA80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5695" y="5556765"/>
              <a:ext cx="742515" cy="368084"/>
            </a:xfrm>
            <a:custGeom>
              <a:avLst/>
              <a:gdLst>
                <a:gd name="T0" fmla="*/ 0 w 512"/>
                <a:gd name="T1" fmla="*/ 256 h 256"/>
                <a:gd name="T2" fmla="*/ 256 w 512"/>
                <a:gd name="T3" fmla="*/ 0 h 256"/>
                <a:gd name="T4" fmla="*/ 512 w 512"/>
                <a:gd name="T5" fmla="*/ 256 h 256"/>
                <a:gd name="T6" fmla="*/ 0 w 512"/>
                <a:gd name="T7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2" h="256">
                  <a:moveTo>
                    <a:pt x="0" y="256"/>
                  </a:moveTo>
                  <a:cubicBezTo>
                    <a:pt x="0" y="115"/>
                    <a:pt x="114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lnTo>
                    <a:pt x="0" y="256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C275385A-007F-4FE6-9549-DCE1CFF4CB8B}"/>
              </a:ext>
            </a:extLst>
          </p:cNvPr>
          <p:cNvGrpSpPr/>
          <p:nvPr/>
        </p:nvGrpSpPr>
        <p:grpSpPr>
          <a:xfrm>
            <a:off x="10208042" y="2264567"/>
            <a:ext cx="646260" cy="646260"/>
            <a:chOff x="9897614" y="3471418"/>
            <a:chExt cx="1414462" cy="1414463"/>
          </a:xfrm>
        </p:grpSpPr>
        <p:sp>
          <p:nvSpPr>
            <p:cNvPr id="78" name="Donut 67">
              <a:extLst>
                <a:ext uri="{FF2B5EF4-FFF2-40B4-BE49-F238E27FC236}">
                  <a16:creationId xmlns:a16="http://schemas.microsoft.com/office/drawing/2014/main" id="{34E83006-CAC8-4742-B540-77AEE20E3E38}"/>
                </a:ext>
              </a:extLst>
            </p:cNvPr>
            <p:cNvSpPr/>
            <p:nvPr/>
          </p:nvSpPr>
          <p:spPr bwMode="auto">
            <a:xfrm>
              <a:off x="9951778" y="3525582"/>
              <a:ext cx="1306134" cy="1306134"/>
            </a:xfrm>
            <a:prstGeom prst="ellipse">
              <a:avLst/>
            </a:prstGeom>
            <a:solidFill>
              <a:schemeClr val="tx1"/>
            </a:solidFill>
            <a:ln w="10795" cap="flat" cmpd="sng" algn="ctr">
              <a:noFill/>
              <a:prstDash val="solid"/>
            </a:ln>
            <a:effectLst>
              <a:outerShdw blurRad="190500" dist="38100" dir="2700000" algn="tl" rotWithShape="0">
                <a:prstClr val="black">
                  <a:alpha val="25000"/>
                </a:prstClr>
              </a:outerShdw>
            </a:effectLst>
          </p:spPr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ts val="600"/>
                </a:spcBef>
                <a:defRPr/>
              </a:pPr>
              <a:endParaRPr lang="en-IN" sz="2000">
                <a:latin typeface="Segoe UI Semilight"/>
              </a:endParaRPr>
            </a:p>
          </p:txBody>
        </p:sp>
        <p:sp>
          <p:nvSpPr>
            <p:cNvPr id="79" name="Donut 67">
              <a:extLst>
                <a:ext uri="{FF2B5EF4-FFF2-40B4-BE49-F238E27FC236}">
                  <a16:creationId xmlns:a16="http://schemas.microsoft.com/office/drawing/2014/main" id="{495E0533-6916-4A10-8977-82E71C8253DD}"/>
                </a:ext>
              </a:extLst>
            </p:cNvPr>
            <p:cNvSpPr/>
            <p:nvPr/>
          </p:nvSpPr>
          <p:spPr bwMode="auto">
            <a:xfrm>
              <a:off x="9897614" y="3471418"/>
              <a:ext cx="1414462" cy="1414462"/>
            </a:xfrm>
            <a:prstGeom prst="donut">
              <a:avLst>
                <a:gd name="adj" fmla="val 7423"/>
              </a:avLst>
            </a:prstGeom>
            <a:solidFill>
              <a:srgbClr val="FFFFFF">
                <a:lumMod val="8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891" indent="-342891"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Wingdings 3" panose="05040102010807070707" pitchFamily="18" charset="2"/>
                <a:buChar char="Æ"/>
                <a:defRPr/>
              </a:pPr>
              <a:endParaRPr lang="en-IN" sz="2000" b="1"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0" name="Freeform 69">
              <a:extLst>
                <a:ext uri="{FF2B5EF4-FFF2-40B4-BE49-F238E27FC236}">
                  <a16:creationId xmlns:a16="http://schemas.microsoft.com/office/drawing/2014/main" id="{915191EC-9F31-4800-AB70-F2D087D7C966}"/>
                </a:ext>
              </a:extLst>
            </p:cNvPr>
            <p:cNvSpPr/>
            <p:nvPr/>
          </p:nvSpPr>
          <p:spPr bwMode="auto">
            <a:xfrm>
              <a:off x="10260852" y="3529492"/>
              <a:ext cx="1051224" cy="1356389"/>
            </a:xfrm>
            <a:custGeom>
              <a:avLst/>
              <a:gdLst>
                <a:gd name="connsiteX0" fmla="*/ 623876 w 1051224"/>
                <a:gd name="connsiteY0" fmla="*/ 0 h 1356389"/>
                <a:gd name="connsiteX1" fmla="*/ 739413 w 1051224"/>
                <a:gd name="connsiteY1" fmla="*/ 62711 h 1356389"/>
                <a:gd name="connsiteX2" fmla="*/ 1051224 w 1051224"/>
                <a:gd name="connsiteY2" fmla="*/ 649158 h 1356389"/>
                <a:gd name="connsiteX3" fmla="*/ 343993 w 1051224"/>
                <a:gd name="connsiteY3" fmla="*/ 1356389 h 1356389"/>
                <a:gd name="connsiteX4" fmla="*/ 68707 w 1051224"/>
                <a:gd name="connsiteY4" fmla="*/ 1300812 h 1356389"/>
                <a:gd name="connsiteX5" fmla="*/ 0 w 1051224"/>
                <a:gd name="connsiteY5" fmla="*/ 1263518 h 1356389"/>
                <a:gd name="connsiteX6" fmla="*/ 46310 w 1051224"/>
                <a:gd name="connsiteY6" fmla="*/ 1169727 h 1356389"/>
                <a:gd name="connsiteX7" fmla="*/ 109576 w 1051224"/>
                <a:gd name="connsiteY7" fmla="*/ 1204067 h 1356389"/>
                <a:gd name="connsiteX8" fmla="*/ 343993 w 1051224"/>
                <a:gd name="connsiteY8" fmla="*/ 1251393 h 1356389"/>
                <a:gd name="connsiteX9" fmla="*/ 946228 w 1051224"/>
                <a:gd name="connsiteY9" fmla="*/ 649158 h 1356389"/>
                <a:gd name="connsiteX10" fmla="*/ 578410 w 1051224"/>
                <a:gd name="connsiteY10" fmla="*/ 94250 h 1356389"/>
                <a:gd name="connsiteX11" fmla="*/ 577481 w 1051224"/>
                <a:gd name="connsiteY11" fmla="*/ 93961 h 1356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1224" h="1356389">
                  <a:moveTo>
                    <a:pt x="623876" y="0"/>
                  </a:moveTo>
                  <a:lnTo>
                    <a:pt x="739413" y="62711"/>
                  </a:lnTo>
                  <a:cubicBezTo>
                    <a:pt x="927537" y="189806"/>
                    <a:pt x="1051224" y="405038"/>
                    <a:pt x="1051224" y="649158"/>
                  </a:cubicBezTo>
                  <a:cubicBezTo>
                    <a:pt x="1051224" y="1039751"/>
                    <a:pt x="734586" y="1356389"/>
                    <a:pt x="343993" y="1356389"/>
                  </a:cubicBezTo>
                  <a:cubicBezTo>
                    <a:pt x="246345" y="1356389"/>
                    <a:pt x="153319" y="1336599"/>
                    <a:pt x="68707" y="1300812"/>
                  </a:cubicBezTo>
                  <a:lnTo>
                    <a:pt x="0" y="1263518"/>
                  </a:lnTo>
                  <a:lnTo>
                    <a:pt x="46310" y="1169727"/>
                  </a:lnTo>
                  <a:lnTo>
                    <a:pt x="109576" y="1204067"/>
                  </a:lnTo>
                  <a:cubicBezTo>
                    <a:pt x="181627" y="1234541"/>
                    <a:pt x="260842" y="1251393"/>
                    <a:pt x="343993" y="1251393"/>
                  </a:cubicBezTo>
                  <a:cubicBezTo>
                    <a:pt x="676598" y="1251393"/>
                    <a:pt x="946228" y="981763"/>
                    <a:pt x="946228" y="649158"/>
                  </a:cubicBezTo>
                  <a:cubicBezTo>
                    <a:pt x="946228" y="399705"/>
                    <a:pt x="794561" y="185674"/>
                    <a:pt x="578410" y="94250"/>
                  </a:cubicBezTo>
                  <a:lnTo>
                    <a:pt x="577481" y="93961"/>
                  </a:lnTo>
                  <a:close/>
                </a:path>
              </a:pathLst>
            </a:custGeom>
            <a:solidFill>
              <a:srgbClr val="FFFFFF">
                <a:lumMod val="6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891" indent="-342891"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Wingdings 3" panose="05040102010807070707" pitchFamily="18" charset="2"/>
                <a:buChar char="Æ"/>
                <a:defRPr/>
              </a:pPr>
              <a:endParaRPr lang="en-IN" sz="2000" b="1"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EAA6BB2-A814-461F-B559-986837E773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9812" y="4086900"/>
              <a:ext cx="624392" cy="170675"/>
            </a:xfrm>
            <a:custGeom>
              <a:avLst/>
              <a:gdLst>
                <a:gd name="connsiteX0" fmla="*/ 87395 w 624392"/>
                <a:gd name="connsiteY0" fmla="*/ 41 h 170675"/>
                <a:gd name="connsiteX1" fmla="*/ 146987 w 624392"/>
                <a:gd name="connsiteY1" fmla="*/ 25995 h 170675"/>
                <a:gd name="connsiteX2" fmla="*/ 590585 w 624392"/>
                <a:gd name="connsiteY2" fmla="*/ 34373 h 170675"/>
                <a:gd name="connsiteX3" fmla="*/ 624362 w 624392"/>
                <a:gd name="connsiteY3" fmla="*/ 92614 h 170675"/>
                <a:gd name="connsiteX4" fmla="*/ 561973 w 624392"/>
                <a:gd name="connsiteY4" fmla="*/ 151199 h 170675"/>
                <a:gd name="connsiteX5" fmla="*/ 142992 w 624392"/>
                <a:gd name="connsiteY5" fmla="*/ 146765 h 170675"/>
                <a:gd name="connsiteX6" fmla="*/ 22209 w 624392"/>
                <a:gd name="connsiteY6" fmla="*/ 143164 h 170675"/>
                <a:gd name="connsiteX7" fmla="*/ 26205 w 624392"/>
                <a:gd name="connsiteY7" fmla="*/ 22394 h 170675"/>
                <a:gd name="connsiteX8" fmla="*/ 87395 w 624392"/>
                <a:gd name="connsiteY8" fmla="*/ 41 h 170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392" h="170675">
                  <a:moveTo>
                    <a:pt x="87395" y="41"/>
                  </a:moveTo>
                  <a:cubicBezTo>
                    <a:pt x="109539" y="700"/>
                    <a:pt x="131415" y="9412"/>
                    <a:pt x="146987" y="25995"/>
                  </a:cubicBezTo>
                  <a:lnTo>
                    <a:pt x="590585" y="34373"/>
                  </a:lnTo>
                  <a:cubicBezTo>
                    <a:pt x="610032" y="46097"/>
                    <a:pt x="625161" y="68460"/>
                    <a:pt x="624362" y="92614"/>
                  </a:cubicBezTo>
                  <a:cubicBezTo>
                    <a:pt x="623296" y="124820"/>
                    <a:pt x="594181" y="152159"/>
                    <a:pt x="561973" y="151199"/>
                  </a:cubicBezTo>
                  <a:lnTo>
                    <a:pt x="142992" y="146765"/>
                  </a:lnTo>
                  <a:cubicBezTo>
                    <a:pt x="109718" y="178011"/>
                    <a:pt x="57246" y="180476"/>
                    <a:pt x="22209" y="143164"/>
                  </a:cubicBezTo>
                  <a:cubicBezTo>
                    <a:pt x="-8934" y="109999"/>
                    <a:pt x="-7070" y="53639"/>
                    <a:pt x="26205" y="22394"/>
                  </a:cubicBezTo>
                  <a:cubicBezTo>
                    <a:pt x="42841" y="6771"/>
                    <a:pt x="65251" y="-620"/>
                    <a:pt x="87395" y="41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67C3055B-CCA5-424C-A948-3F9A4A8C1D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86195" y="3695702"/>
              <a:ext cx="290637" cy="267449"/>
            </a:xfrm>
            <a:custGeom>
              <a:avLst/>
              <a:gdLst>
                <a:gd name="connsiteX0" fmla="*/ 290637 w 290637"/>
                <a:gd name="connsiteY0" fmla="*/ 0 h 267449"/>
                <a:gd name="connsiteX1" fmla="*/ 290637 w 290637"/>
                <a:gd name="connsiteY1" fmla="*/ 210967 h 267449"/>
                <a:gd name="connsiteX2" fmla="*/ 258366 w 290637"/>
                <a:gd name="connsiteY2" fmla="*/ 215609 h 267449"/>
                <a:gd name="connsiteX3" fmla="*/ 216275 w 290637"/>
                <a:gd name="connsiteY3" fmla="*/ 228809 h 267449"/>
                <a:gd name="connsiteX4" fmla="*/ 150830 w 290637"/>
                <a:gd name="connsiteY4" fmla="*/ 267449 h 267449"/>
                <a:gd name="connsiteX5" fmla="*/ 17811 w 290637"/>
                <a:gd name="connsiteY5" fmla="*/ 134430 h 267449"/>
                <a:gd name="connsiteX6" fmla="*/ 0 w 290637"/>
                <a:gd name="connsiteY6" fmla="*/ 114611 h 267449"/>
                <a:gd name="connsiteX7" fmla="*/ 213477 w 290637"/>
                <a:gd name="connsiteY7" fmla="*/ 9475 h 267449"/>
                <a:gd name="connsiteX8" fmla="*/ 290637 w 290637"/>
                <a:gd name="connsiteY8" fmla="*/ 0 h 267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0637" h="267449">
                  <a:moveTo>
                    <a:pt x="290637" y="0"/>
                  </a:moveTo>
                  <a:lnTo>
                    <a:pt x="290637" y="210967"/>
                  </a:lnTo>
                  <a:lnTo>
                    <a:pt x="258366" y="215609"/>
                  </a:lnTo>
                  <a:cubicBezTo>
                    <a:pt x="243909" y="218915"/>
                    <a:pt x="229837" y="223357"/>
                    <a:pt x="216275" y="228809"/>
                  </a:cubicBezTo>
                  <a:lnTo>
                    <a:pt x="150830" y="267449"/>
                  </a:lnTo>
                  <a:lnTo>
                    <a:pt x="17811" y="134430"/>
                  </a:lnTo>
                  <a:lnTo>
                    <a:pt x="0" y="114611"/>
                  </a:lnTo>
                  <a:cubicBezTo>
                    <a:pt x="63125" y="63651"/>
                    <a:pt x="135403" y="26346"/>
                    <a:pt x="213477" y="9475"/>
                  </a:cubicBezTo>
                  <a:lnTo>
                    <a:pt x="290637" y="0"/>
                  </a:lnTo>
                  <a:close/>
                </a:path>
              </a:pathLst>
            </a:custGeom>
            <a:solidFill>
              <a:srgbClr val="BBDA7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A322B7B7-4750-4568-AFDF-E5BC6D639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2307" y="3696054"/>
              <a:ext cx="287959" cy="266888"/>
            </a:xfrm>
            <a:custGeom>
              <a:avLst/>
              <a:gdLst>
                <a:gd name="connsiteX0" fmla="*/ 0 w 287959"/>
                <a:gd name="connsiteY0" fmla="*/ 0 h 266888"/>
                <a:gd name="connsiteX1" fmla="*/ 74803 w 287959"/>
                <a:gd name="connsiteY1" fmla="*/ 9477 h 266888"/>
                <a:gd name="connsiteX2" fmla="*/ 223047 w 287959"/>
                <a:gd name="connsiteY2" fmla="*/ 69275 h 266888"/>
                <a:gd name="connsiteX3" fmla="*/ 287959 w 287959"/>
                <a:gd name="connsiteY3" fmla="*/ 114767 h 266888"/>
                <a:gd name="connsiteX4" fmla="*/ 135839 w 287959"/>
                <a:gd name="connsiteY4" fmla="*/ 266888 h 266888"/>
                <a:gd name="connsiteX5" fmla="*/ 70848 w 287959"/>
                <a:gd name="connsiteY5" fmla="*/ 227653 h 266888"/>
                <a:gd name="connsiteX6" fmla="*/ 27150 w 287959"/>
                <a:gd name="connsiteY6" fmla="*/ 212846 h 266888"/>
                <a:gd name="connsiteX7" fmla="*/ 0 w 287959"/>
                <a:gd name="connsiteY7" fmla="*/ 208513 h 266888"/>
                <a:gd name="connsiteX8" fmla="*/ 0 w 287959"/>
                <a:gd name="connsiteY8" fmla="*/ 0 h 266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7959" h="266888">
                  <a:moveTo>
                    <a:pt x="0" y="0"/>
                  </a:moveTo>
                  <a:lnTo>
                    <a:pt x="74803" y="9477"/>
                  </a:lnTo>
                  <a:cubicBezTo>
                    <a:pt x="127104" y="20976"/>
                    <a:pt x="176854" y="41582"/>
                    <a:pt x="223047" y="69275"/>
                  </a:cubicBezTo>
                  <a:lnTo>
                    <a:pt x="287959" y="114767"/>
                  </a:lnTo>
                  <a:lnTo>
                    <a:pt x="135839" y="266888"/>
                  </a:lnTo>
                  <a:lnTo>
                    <a:pt x="70848" y="227653"/>
                  </a:lnTo>
                  <a:cubicBezTo>
                    <a:pt x="56706" y="221621"/>
                    <a:pt x="42056" y="216602"/>
                    <a:pt x="27150" y="212846"/>
                  </a:cubicBezTo>
                  <a:lnTo>
                    <a:pt x="0" y="208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5CA5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E439E629-05D2-48B0-BA89-21052371C1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2399" y="3857990"/>
              <a:ext cx="269161" cy="277918"/>
            </a:xfrm>
            <a:custGeom>
              <a:avLst/>
              <a:gdLst>
                <a:gd name="connsiteX0" fmla="*/ 116870 w 269161"/>
                <a:gd name="connsiteY0" fmla="*/ 0 h 277918"/>
                <a:gd name="connsiteX1" fmla="*/ 269161 w 269161"/>
                <a:gd name="connsiteY1" fmla="*/ 152291 h 277918"/>
                <a:gd name="connsiteX2" fmla="*/ 230871 w 269161"/>
                <a:gd name="connsiteY2" fmla="*/ 215717 h 277918"/>
                <a:gd name="connsiteX3" fmla="*/ 216064 w 269161"/>
                <a:gd name="connsiteY3" fmla="*/ 259415 h 277918"/>
                <a:gd name="connsiteX4" fmla="*/ 213111 w 269161"/>
                <a:gd name="connsiteY4" fmla="*/ 277918 h 277918"/>
                <a:gd name="connsiteX5" fmla="*/ 0 w 269161"/>
                <a:gd name="connsiteY5" fmla="*/ 277918 h 277918"/>
                <a:gd name="connsiteX6" fmla="*/ 10414 w 269161"/>
                <a:gd name="connsiteY6" fmla="*/ 209482 h 277918"/>
                <a:gd name="connsiteX7" fmla="*/ 70719 w 269161"/>
                <a:gd name="connsiteY7" fmla="*/ 61744 h 277918"/>
                <a:gd name="connsiteX8" fmla="*/ 116870 w 269161"/>
                <a:gd name="connsiteY8" fmla="*/ 0 h 277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9161" h="277918">
                  <a:moveTo>
                    <a:pt x="116870" y="0"/>
                  </a:moveTo>
                  <a:lnTo>
                    <a:pt x="269161" y="152291"/>
                  </a:lnTo>
                  <a:lnTo>
                    <a:pt x="230871" y="215717"/>
                  </a:lnTo>
                  <a:cubicBezTo>
                    <a:pt x="224839" y="229859"/>
                    <a:pt x="219819" y="244509"/>
                    <a:pt x="216064" y="259415"/>
                  </a:cubicBezTo>
                  <a:lnTo>
                    <a:pt x="213111" y="277918"/>
                  </a:lnTo>
                  <a:lnTo>
                    <a:pt x="0" y="277918"/>
                  </a:lnTo>
                  <a:lnTo>
                    <a:pt x="10414" y="209482"/>
                  </a:lnTo>
                  <a:cubicBezTo>
                    <a:pt x="22420" y="157688"/>
                    <a:pt x="42519" y="107430"/>
                    <a:pt x="70719" y="61744"/>
                  </a:cubicBezTo>
                  <a:lnTo>
                    <a:pt x="116870" y="0"/>
                  </a:lnTo>
                  <a:close/>
                </a:path>
              </a:pathLst>
            </a:custGeom>
            <a:solidFill>
              <a:srgbClr val="D2E7A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FC13FDD1-2AD9-4865-ACA4-4CEDAC6F03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4046" y="3858113"/>
              <a:ext cx="259956" cy="228787"/>
            </a:xfrm>
            <a:custGeom>
              <a:avLst/>
              <a:gdLst>
                <a:gd name="connsiteX0" fmla="*/ 151525 w 259956"/>
                <a:gd name="connsiteY0" fmla="*/ 0 h 228787"/>
                <a:gd name="connsiteX1" fmla="*/ 187726 w 259956"/>
                <a:gd name="connsiteY1" fmla="*/ 47229 h 228787"/>
                <a:gd name="connsiteX2" fmla="*/ 249063 w 259956"/>
                <a:gd name="connsiteY2" fmla="*/ 177909 h 228787"/>
                <a:gd name="connsiteX3" fmla="*/ 259956 w 259956"/>
                <a:gd name="connsiteY3" fmla="*/ 228787 h 228787"/>
                <a:gd name="connsiteX4" fmla="*/ 41069 w 259956"/>
                <a:gd name="connsiteY4" fmla="*/ 228787 h 228787"/>
                <a:gd name="connsiteX5" fmla="*/ 24304 w 259956"/>
                <a:gd name="connsiteY5" fmla="*/ 188030 h 228787"/>
                <a:gd name="connsiteX6" fmla="*/ 0 w 259956"/>
                <a:gd name="connsiteY6" fmla="*/ 151525 h 228787"/>
                <a:gd name="connsiteX7" fmla="*/ 151525 w 259956"/>
                <a:gd name="connsiteY7" fmla="*/ 0 h 228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9956" h="228787">
                  <a:moveTo>
                    <a:pt x="151525" y="0"/>
                  </a:moveTo>
                  <a:lnTo>
                    <a:pt x="187726" y="47229"/>
                  </a:lnTo>
                  <a:cubicBezTo>
                    <a:pt x="214470" y="87842"/>
                    <a:pt x="235418" y="132240"/>
                    <a:pt x="249063" y="177909"/>
                  </a:cubicBezTo>
                  <a:lnTo>
                    <a:pt x="259956" y="228787"/>
                  </a:lnTo>
                  <a:lnTo>
                    <a:pt x="41069" y="228787"/>
                  </a:lnTo>
                  <a:lnTo>
                    <a:pt x="24304" y="188030"/>
                  </a:lnTo>
                  <a:lnTo>
                    <a:pt x="0" y="151525"/>
                  </a:lnTo>
                  <a:lnTo>
                    <a:pt x="151525" y="0"/>
                  </a:lnTo>
                  <a:close/>
                </a:path>
              </a:pathLst>
            </a:custGeom>
            <a:solidFill>
              <a:srgbClr val="7F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4CA36675-ADC6-47B3-9819-0BD04DE71A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5713" y="4217639"/>
              <a:ext cx="277662" cy="286335"/>
            </a:xfrm>
            <a:custGeom>
              <a:avLst/>
              <a:gdLst>
                <a:gd name="connsiteX0" fmla="*/ 0 w 277662"/>
                <a:gd name="connsiteY0" fmla="*/ 0 h 286335"/>
                <a:gd name="connsiteX1" fmla="*/ 211901 w 277662"/>
                <a:gd name="connsiteY1" fmla="*/ 0 h 286335"/>
                <a:gd name="connsiteX2" fmla="*/ 215712 w 277662"/>
                <a:gd name="connsiteY2" fmla="*/ 24896 h 286335"/>
                <a:gd name="connsiteX3" fmla="*/ 277662 w 277662"/>
                <a:gd name="connsiteY3" fmla="*/ 145645 h 286335"/>
                <a:gd name="connsiteX4" fmla="*/ 120833 w 277662"/>
                <a:gd name="connsiteY4" fmla="*/ 286335 h 286335"/>
                <a:gd name="connsiteX5" fmla="*/ 10016 w 277662"/>
                <a:gd name="connsiteY5" fmla="*/ 76009 h 286335"/>
                <a:gd name="connsiteX6" fmla="*/ 0 w 277662"/>
                <a:gd name="connsiteY6" fmla="*/ 0 h 286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7662" h="286335">
                  <a:moveTo>
                    <a:pt x="0" y="0"/>
                  </a:moveTo>
                  <a:lnTo>
                    <a:pt x="211901" y="0"/>
                  </a:lnTo>
                  <a:lnTo>
                    <a:pt x="215712" y="24896"/>
                  </a:lnTo>
                  <a:cubicBezTo>
                    <a:pt x="226173" y="68526"/>
                    <a:pt x="247391" y="109343"/>
                    <a:pt x="277662" y="145645"/>
                  </a:cubicBezTo>
                  <a:cubicBezTo>
                    <a:pt x="277662" y="145645"/>
                    <a:pt x="277662" y="145645"/>
                    <a:pt x="120833" y="286335"/>
                  </a:cubicBezTo>
                  <a:cubicBezTo>
                    <a:pt x="66353" y="225824"/>
                    <a:pt x="27712" y="154013"/>
                    <a:pt x="10016" y="76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1EFC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5315E157-B2AA-4484-A09E-6F16BCED3461}"/>
                </a:ext>
              </a:extLst>
            </p:cNvPr>
            <p:cNvSpPr/>
            <p:nvPr/>
          </p:nvSpPr>
          <p:spPr bwMode="auto">
            <a:xfrm>
              <a:off x="10519812" y="4168631"/>
              <a:ext cx="624362" cy="88944"/>
            </a:xfrm>
            <a:custGeom>
              <a:avLst/>
              <a:gdLst>
                <a:gd name="connsiteX0" fmla="*/ 123 w 624362"/>
                <a:gd name="connsiteY0" fmla="*/ 0 h 88944"/>
                <a:gd name="connsiteX1" fmla="*/ 621367 w 624362"/>
                <a:gd name="connsiteY1" fmla="*/ 0 h 88944"/>
                <a:gd name="connsiteX2" fmla="*/ 624362 w 624362"/>
                <a:gd name="connsiteY2" fmla="*/ 10883 h 88944"/>
                <a:gd name="connsiteX3" fmla="*/ 561973 w 624362"/>
                <a:gd name="connsiteY3" fmla="*/ 69468 h 88944"/>
                <a:gd name="connsiteX4" fmla="*/ 142992 w 624362"/>
                <a:gd name="connsiteY4" fmla="*/ 65034 h 88944"/>
                <a:gd name="connsiteX5" fmla="*/ 22209 w 624362"/>
                <a:gd name="connsiteY5" fmla="*/ 61433 h 88944"/>
                <a:gd name="connsiteX6" fmla="*/ 50 w 624362"/>
                <a:gd name="connsiteY6" fmla="*/ 328 h 88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362" h="88944">
                  <a:moveTo>
                    <a:pt x="123" y="0"/>
                  </a:moveTo>
                  <a:lnTo>
                    <a:pt x="621367" y="0"/>
                  </a:lnTo>
                  <a:lnTo>
                    <a:pt x="624362" y="10883"/>
                  </a:lnTo>
                  <a:cubicBezTo>
                    <a:pt x="623296" y="43089"/>
                    <a:pt x="594181" y="70428"/>
                    <a:pt x="561973" y="69468"/>
                  </a:cubicBezTo>
                  <a:lnTo>
                    <a:pt x="142992" y="65034"/>
                  </a:lnTo>
                  <a:cubicBezTo>
                    <a:pt x="109718" y="96280"/>
                    <a:pt x="57246" y="98745"/>
                    <a:pt x="22209" y="61433"/>
                  </a:cubicBezTo>
                  <a:cubicBezTo>
                    <a:pt x="6638" y="44851"/>
                    <a:pt x="-682" y="22469"/>
                    <a:pt x="50" y="328"/>
                  </a:cubicBezTo>
                  <a:close/>
                </a:path>
              </a:pathLst>
            </a:custGeom>
            <a:solidFill>
              <a:srgbClr val="D83B0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4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>
                <a:solidFill>
                  <a:schemeClr val="tx1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437F1044-3FB5-4305-A2E8-D7175472D2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MLOps</a:t>
            </a:r>
            <a:r>
              <a:rPr lang="en-US"/>
              <a:t> Workflow</a:t>
            </a:r>
          </a:p>
        </p:txBody>
      </p:sp>
      <p:sp>
        <p:nvSpPr>
          <p:cNvPr id="60" name="Multiplication Sign 59">
            <a:extLst>
              <a:ext uri="{FF2B5EF4-FFF2-40B4-BE49-F238E27FC236}">
                <a16:creationId xmlns:a16="http://schemas.microsoft.com/office/drawing/2014/main" id="{2DE0FAE6-9001-4DFF-8091-04072AF81B16}"/>
              </a:ext>
            </a:extLst>
          </p:cNvPr>
          <p:cNvSpPr/>
          <p:nvPr/>
        </p:nvSpPr>
        <p:spPr bwMode="auto">
          <a:xfrm>
            <a:off x="3542361" y="6059271"/>
            <a:ext cx="615727" cy="615727"/>
          </a:xfrm>
          <a:prstGeom prst="mathMultiply">
            <a:avLst/>
          </a:prstGeom>
          <a:solidFill>
            <a:srgbClr val="FF0000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1" name="Multiplication Sign 60">
            <a:extLst>
              <a:ext uri="{FF2B5EF4-FFF2-40B4-BE49-F238E27FC236}">
                <a16:creationId xmlns:a16="http://schemas.microsoft.com/office/drawing/2014/main" id="{8D7138C2-7816-4CAA-A577-0F6558153D08}"/>
              </a:ext>
            </a:extLst>
          </p:cNvPr>
          <p:cNvSpPr/>
          <p:nvPr/>
        </p:nvSpPr>
        <p:spPr bwMode="auto">
          <a:xfrm>
            <a:off x="6287399" y="6059271"/>
            <a:ext cx="615727" cy="615727"/>
          </a:xfrm>
          <a:prstGeom prst="mathMultiply">
            <a:avLst/>
          </a:prstGeom>
          <a:solidFill>
            <a:srgbClr val="FF0000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2" name="Multiplication Sign 61">
            <a:extLst>
              <a:ext uri="{FF2B5EF4-FFF2-40B4-BE49-F238E27FC236}">
                <a16:creationId xmlns:a16="http://schemas.microsoft.com/office/drawing/2014/main" id="{8C65C187-2DC5-4B27-B212-F3BC50686D83}"/>
              </a:ext>
            </a:extLst>
          </p:cNvPr>
          <p:cNvSpPr/>
          <p:nvPr/>
        </p:nvSpPr>
        <p:spPr bwMode="auto">
          <a:xfrm>
            <a:off x="9243006" y="6059271"/>
            <a:ext cx="615727" cy="615727"/>
          </a:xfrm>
          <a:prstGeom prst="mathMultiply">
            <a:avLst/>
          </a:prstGeom>
          <a:solidFill>
            <a:srgbClr val="FF0000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50" name="Graphic 49" descr="Checkmark">
            <a:extLst>
              <a:ext uri="{FF2B5EF4-FFF2-40B4-BE49-F238E27FC236}">
                <a16:creationId xmlns:a16="http://schemas.microsoft.com/office/drawing/2014/main" id="{1755F176-470F-41CC-BC2A-C6E79FC687E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61729" y="6059273"/>
            <a:ext cx="587425" cy="587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15448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MLOps</a:t>
            </a:r>
            <a:r>
              <a:rPr lang="en-US"/>
              <a:t> Workflow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4AECC3C6-B7BE-4B2E-B68E-BB3F5392D481}"/>
              </a:ext>
            </a:extLst>
          </p:cNvPr>
          <p:cNvSpPr/>
          <p:nvPr/>
        </p:nvSpPr>
        <p:spPr bwMode="auto">
          <a:xfrm>
            <a:off x="0" y="5882365"/>
            <a:ext cx="12192000" cy="975635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07137441-A2CF-498C-99EB-7DF147BAEE98}"/>
              </a:ext>
            </a:extLst>
          </p:cNvPr>
          <p:cNvSpPr txBox="1"/>
          <p:nvPr/>
        </p:nvSpPr>
        <p:spPr>
          <a:xfrm>
            <a:off x="998524" y="6247073"/>
            <a:ext cx="205740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reproducibility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6BE3ECA9-23E0-4CBF-94EF-6B63B02647EC}"/>
              </a:ext>
            </a:extLst>
          </p:cNvPr>
          <p:cNvSpPr txBox="1"/>
          <p:nvPr/>
        </p:nvSpPr>
        <p:spPr>
          <a:xfrm>
            <a:off x="9886899" y="6247073"/>
            <a:ext cx="156856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retraining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AC90F370-74B7-4038-861A-3DC1763BB74C}"/>
              </a:ext>
            </a:extLst>
          </p:cNvPr>
          <p:cNvSpPr txBox="1"/>
          <p:nvPr/>
        </p:nvSpPr>
        <p:spPr>
          <a:xfrm>
            <a:off x="6883617" y="6247073"/>
            <a:ext cx="1903823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deployment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E1277567-DD19-4A92-AA73-027978894551}"/>
              </a:ext>
            </a:extLst>
          </p:cNvPr>
          <p:cNvSpPr txBox="1"/>
          <p:nvPr/>
        </p:nvSpPr>
        <p:spPr>
          <a:xfrm>
            <a:off x="4153974" y="6247073"/>
            <a:ext cx="1630183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validation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DA8E58AC-CFEC-4A4C-A384-C5A46CB7E034}"/>
              </a:ext>
            </a:extLst>
          </p:cNvPr>
          <p:cNvSpPr/>
          <p:nvPr/>
        </p:nvSpPr>
        <p:spPr>
          <a:xfrm>
            <a:off x="4399670" y="3578173"/>
            <a:ext cx="2071231" cy="8279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da-DK" sz="1400">
                <a:latin typeface="Segoe UI"/>
                <a:cs typeface="Courier New" panose="02070309020205020404" pitchFamily="49" charset="0"/>
              </a:rPr>
              <a:t>Automated ML</a:t>
            </a:r>
          </a:p>
          <a:p>
            <a:pPr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da-DK" sz="1400">
                <a:latin typeface="Segoe UI"/>
                <a:cs typeface="Courier New" panose="02070309020205020404" pitchFamily="49" charset="0"/>
              </a:rPr>
              <a:t>ML Pipelines</a:t>
            </a:r>
          </a:p>
          <a:p>
            <a:pPr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da-DK" sz="1400">
                <a:latin typeface="Segoe UI"/>
                <a:cs typeface="Courier New" panose="02070309020205020404" pitchFamily="49" charset="0"/>
              </a:rPr>
              <a:t>Hyperparameter tuning</a:t>
            </a:r>
          </a:p>
        </p:txBody>
      </p:sp>
      <p:pic>
        <p:nvPicPr>
          <p:cNvPr id="60" name="Picture 2" descr="https://azure.microsoft.com/images/page/services/machine-learning-service/machine-learning-service.png">
            <a:extLst>
              <a:ext uri="{FF2B5EF4-FFF2-40B4-BE49-F238E27FC236}">
                <a16:creationId xmlns:a16="http://schemas.microsoft.com/office/drawing/2014/main" id="{9AB0AA46-15E8-4589-855D-100EBA6887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4357" y="3603749"/>
            <a:ext cx="428985" cy="428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4" name="Rectangle 1">
            <a:extLst>
              <a:ext uri="{FF2B5EF4-FFF2-40B4-BE49-F238E27FC236}">
                <a16:creationId xmlns:a16="http://schemas.microsoft.com/office/drawing/2014/main" id="{2808215D-E007-4CB6-90F9-46776BA34E9B}"/>
              </a:ext>
            </a:extLst>
          </p:cNvPr>
          <p:cNvSpPr/>
          <p:nvPr/>
        </p:nvSpPr>
        <p:spPr bwMode="auto">
          <a:xfrm>
            <a:off x="1750229" y="3100478"/>
            <a:ext cx="1602571" cy="1201455"/>
          </a:xfrm>
          <a:custGeom>
            <a:avLst/>
            <a:gdLst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4" fmla="*/ 0 w 1471327"/>
              <a:gd name="connsiteY4" fmla="*/ 0 h 1520291"/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4" fmla="*/ 91440 w 1471327"/>
              <a:gd name="connsiteY4" fmla="*/ 91440 h 1520291"/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0" fmla="*/ 1471327 w 1471327"/>
              <a:gd name="connsiteY0" fmla="*/ 0 h 1520291"/>
              <a:gd name="connsiteX1" fmla="*/ 1471327 w 1471327"/>
              <a:gd name="connsiteY1" fmla="*/ 1520291 h 1520291"/>
              <a:gd name="connsiteX2" fmla="*/ 0 w 1471327"/>
              <a:gd name="connsiteY2" fmla="*/ 1520291 h 1520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71327" h="1520291">
                <a:moveTo>
                  <a:pt x="1471327" y="0"/>
                </a:moveTo>
                <a:lnTo>
                  <a:pt x="1471327" y="1520291"/>
                </a:lnTo>
                <a:lnTo>
                  <a:pt x="0" y="1520291"/>
                </a:lnTo>
              </a:path>
            </a:pathLst>
          </a:custGeom>
          <a:ln w="19050">
            <a:solidFill>
              <a:schemeClr val="accent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AB9B6C97-304A-411E-A8B8-08D5FC91DC48}"/>
              </a:ext>
            </a:extLst>
          </p:cNvPr>
          <p:cNvSpPr txBox="1"/>
          <p:nvPr/>
        </p:nvSpPr>
        <p:spPr>
          <a:xfrm>
            <a:off x="4393647" y="3033672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Train model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F18964C3-9D73-4B9C-8304-64D43C22AC41}"/>
              </a:ext>
            </a:extLst>
          </p:cNvPr>
          <p:cNvSpPr txBox="1"/>
          <p:nvPr/>
        </p:nvSpPr>
        <p:spPr>
          <a:xfrm>
            <a:off x="4393647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Build app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91F5D33D-B97A-4D09-AF52-3109D49223B8}"/>
              </a:ext>
            </a:extLst>
          </p:cNvPr>
          <p:cNvSpPr txBox="1"/>
          <p:nvPr/>
        </p:nvSpPr>
        <p:spPr>
          <a:xfrm>
            <a:off x="2683329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Collaborate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F7F46123-A607-45EB-973D-CBD1875919B0}"/>
              </a:ext>
            </a:extLst>
          </p:cNvPr>
          <p:cNvSpPr txBox="1"/>
          <p:nvPr/>
        </p:nvSpPr>
        <p:spPr>
          <a:xfrm>
            <a:off x="6156979" y="1832445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Test app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25AF6100-CA84-4622-9BD9-96E20C84121B}"/>
              </a:ext>
            </a:extLst>
          </p:cNvPr>
          <p:cNvSpPr txBox="1"/>
          <p:nvPr/>
        </p:nvSpPr>
        <p:spPr>
          <a:xfrm>
            <a:off x="8067399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Release app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516FD44C-BA2A-4298-98AA-1DA53BBF95B4}"/>
              </a:ext>
            </a:extLst>
          </p:cNvPr>
          <p:cNvSpPr txBox="1"/>
          <p:nvPr/>
        </p:nvSpPr>
        <p:spPr>
          <a:xfrm>
            <a:off x="9858731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Monitor app</a:t>
            </a:r>
          </a:p>
        </p:txBody>
      </p:sp>
      <p:cxnSp>
        <p:nvCxnSpPr>
          <p:cNvPr id="116" name="Straight Arrow Connector 115">
            <a:extLst>
              <a:ext uri="{FF2B5EF4-FFF2-40B4-BE49-F238E27FC236}">
                <a16:creationId xmlns:a16="http://schemas.microsoft.com/office/drawing/2014/main" id="{FD2A9C5B-8041-4417-A5A1-5FA2424DA38D}"/>
              </a:ext>
            </a:extLst>
          </p:cNvPr>
          <p:cNvCxnSpPr>
            <a:cxnSpLocks/>
          </p:cNvCxnSpPr>
          <p:nvPr/>
        </p:nvCxnSpPr>
        <p:spPr>
          <a:xfrm flipV="1">
            <a:off x="3850225" y="2520243"/>
            <a:ext cx="774497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Arrow Connector 116">
            <a:extLst>
              <a:ext uri="{FF2B5EF4-FFF2-40B4-BE49-F238E27FC236}">
                <a16:creationId xmlns:a16="http://schemas.microsoft.com/office/drawing/2014/main" id="{8F4D5E4E-04A4-419E-9E42-94E3A6D5ABAE}"/>
              </a:ext>
            </a:extLst>
          </p:cNvPr>
          <p:cNvCxnSpPr>
            <a:cxnSpLocks/>
          </p:cNvCxnSpPr>
          <p:nvPr/>
        </p:nvCxnSpPr>
        <p:spPr>
          <a:xfrm>
            <a:off x="5570645" y="2520243"/>
            <a:ext cx="946287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Arrow Connector 117">
            <a:extLst>
              <a:ext uri="{FF2B5EF4-FFF2-40B4-BE49-F238E27FC236}">
                <a16:creationId xmlns:a16="http://schemas.microsoft.com/office/drawing/2014/main" id="{1B9494EC-EC71-40A2-B44E-DCD912B8875D}"/>
              </a:ext>
            </a:extLst>
          </p:cNvPr>
          <p:cNvCxnSpPr>
            <a:cxnSpLocks/>
          </p:cNvCxnSpPr>
          <p:nvPr/>
        </p:nvCxnSpPr>
        <p:spPr>
          <a:xfrm>
            <a:off x="7196682" y="2520243"/>
            <a:ext cx="109930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Arrow Connector 119">
            <a:extLst>
              <a:ext uri="{FF2B5EF4-FFF2-40B4-BE49-F238E27FC236}">
                <a16:creationId xmlns:a16="http://schemas.microsoft.com/office/drawing/2014/main" id="{98FB2F14-59F2-47E5-B130-F7C79987A4E6}"/>
              </a:ext>
            </a:extLst>
          </p:cNvPr>
          <p:cNvCxnSpPr>
            <a:cxnSpLocks/>
          </p:cNvCxnSpPr>
          <p:nvPr/>
        </p:nvCxnSpPr>
        <p:spPr>
          <a:xfrm>
            <a:off x="9112623" y="2520243"/>
            <a:ext cx="962699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8D35E522-D530-4B65-8640-DFA95ABD3F1D}"/>
              </a:ext>
            </a:extLst>
          </p:cNvPr>
          <p:cNvGrpSpPr/>
          <p:nvPr/>
        </p:nvGrpSpPr>
        <p:grpSpPr>
          <a:xfrm>
            <a:off x="3034411" y="2271608"/>
            <a:ext cx="642716" cy="643947"/>
            <a:chOff x="3034411" y="2271607"/>
            <a:chExt cx="642716" cy="643947"/>
          </a:xfrm>
        </p:grpSpPr>
        <p:sp useBgFill="1">
          <p:nvSpPr>
            <p:cNvPr id="122" name="Freeform 5">
              <a:extLst>
                <a:ext uri="{FF2B5EF4-FFF2-40B4-BE49-F238E27FC236}">
                  <a16:creationId xmlns:a16="http://schemas.microsoft.com/office/drawing/2014/main" id="{637CE75F-EED4-448D-BB6F-D39565B8C7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4411" y="2271607"/>
              <a:ext cx="642716" cy="643947"/>
            </a:xfrm>
            <a:prstGeom prst="ellipse">
              <a:avLst/>
            </a:prstGeom>
            <a:solidFill>
              <a:schemeClr val="bg1"/>
            </a:solidFill>
            <a:ln w="10795" cap="flat" cmpd="sng" algn="ctr">
              <a:noFill/>
              <a:prstDash val="solid"/>
            </a:ln>
            <a:effectLst>
              <a:outerShdw blurRad="190500" dist="38100" dir="2700000" algn="tl" rotWithShape="0">
                <a:prstClr val="black">
                  <a:alpha val="25000"/>
                </a:prstClr>
              </a:outerShdw>
            </a:effectLst>
          </p:spPr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ts val="600"/>
                </a:spcBef>
                <a:defRPr/>
              </a:pPr>
              <a:endParaRPr lang="en-US" sz="2000">
                <a:latin typeface="Segoe UI Semilight"/>
              </a:endParaRPr>
            </a:p>
          </p:txBody>
        </p:sp>
        <p:grpSp>
          <p:nvGrpSpPr>
            <p:cNvPr id="123" name="Group 122">
              <a:extLst>
                <a:ext uri="{FF2B5EF4-FFF2-40B4-BE49-F238E27FC236}">
                  <a16:creationId xmlns:a16="http://schemas.microsoft.com/office/drawing/2014/main" id="{91CD5624-C2E5-44E0-A61B-5C472617571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034411" y="2273421"/>
              <a:ext cx="642716" cy="628550"/>
              <a:chOff x="6634" y="3297"/>
              <a:chExt cx="2092" cy="2046"/>
            </a:xfrm>
            <a:solidFill>
              <a:schemeClr val="tx1"/>
            </a:solidFill>
          </p:grpSpPr>
          <p:sp>
            <p:nvSpPr>
              <p:cNvPr id="124" name="Freeform 5">
                <a:extLst>
                  <a:ext uri="{FF2B5EF4-FFF2-40B4-BE49-F238E27FC236}">
                    <a16:creationId xmlns:a16="http://schemas.microsoft.com/office/drawing/2014/main" id="{DEFC603C-EFBE-4C13-8DE0-A273300492E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4" y="3297"/>
                <a:ext cx="2092" cy="2046"/>
              </a:xfrm>
              <a:custGeom>
                <a:avLst/>
                <a:gdLst>
                  <a:gd name="T0" fmla="*/ 594 w 1187"/>
                  <a:gd name="T1" fmla="*/ 0 h 1161"/>
                  <a:gd name="T2" fmla="*/ 594 w 1187"/>
                  <a:gd name="T3" fmla="*/ 0 h 1161"/>
                  <a:gd name="T4" fmla="*/ 0 w 1187"/>
                  <a:gd name="T5" fmla="*/ 592 h 1161"/>
                  <a:gd name="T6" fmla="*/ 406 w 1187"/>
                  <a:gd name="T7" fmla="*/ 1155 h 1161"/>
                  <a:gd name="T8" fmla="*/ 446 w 1187"/>
                  <a:gd name="T9" fmla="*/ 1126 h 1161"/>
                  <a:gd name="T10" fmla="*/ 445 w 1187"/>
                  <a:gd name="T11" fmla="*/ 1016 h 1161"/>
                  <a:gd name="T12" fmla="*/ 246 w 1187"/>
                  <a:gd name="T13" fmla="*/ 946 h 1161"/>
                  <a:gd name="T14" fmla="*/ 179 w 1187"/>
                  <a:gd name="T15" fmla="*/ 859 h 1161"/>
                  <a:gd name="T16" fmla="*/ 184 w 1187"/>
                  <a:gd name="T17" fmla="*/ 823 h 1161"/>
                  <a:gd name="T18" fmla="*/ 274 w 1187"/>
                  <a:gd name="T19" fmla="*/ 884 h 1161"/>
                  <a:gd name="T20" fmla="*/ 448 w 1187"/>
                  <a:gd name="T21" fmla="*/ 934 h 1161"/>
                  <a:gd name="T22" fmla="*/ 485 w 1187"/>
                  <a:gd name="T23" fmla="*/ 854 h 1161"/>
                  <a:gd name="T24" fmla="*/ 215 w 1187"/>
                  <a:gd name="T25" fmla="*/ 561 h 1161"/>
                  <a:gd name="T26" fmla="*/ 276 w 1187"/>
                  <a:gd name="T27" fmla="*/ 402 h 1161"/>
                  <a:gd name="T28" fmla="*/ 282 w 1187"/>
                  <a:gd name="T29" fmla="*/ 245 h 1161"/>
                  <a:gd name="T30" fmla="*/ 445 w 1187"/>
                  <a:gd name="T31" fmla="*/ 305 h 1161"/>
                  <a:gd name="T32" fmla="*/ 594 w 1187"/>
                  <a:gd name="T33" fmla="*/ 285 h 1161"/>
                  <a:gd name="T34" fmla="*/ 742 w 1187"/>
                  <a:gd name="T35" fmla="*/ 305 h 1161"/>
                  <a:gd name="T36" fmla="*/ 906 w 1187"/>
                  <a:gd name="T37" fmla="*/ 245 h 1161"/>
                  <a:gd name="T38" fmla="*/ 911 w 1187"/>
                  <a:gd name="T39" fmla="*/ 402 h 1161"/>
                  <a:gd name="T40" fmla="*/ 972 w 1187"/>
                  <a:gd name="T41" fmla="*/ 561 h 1161"/>
                  <a:gd name="T42" fmla="*/ 701 w 1187"/>
                  <a:gd name="T43" fmla="*/ 853 h 1161"/>
                  <a:gd name="T44" fmla="*/ 741 w 1187"/>
                  <a:gd name="T45" fmla="*/ 963 h 1161"/>
                  <a:gd name="T46" fmla="*/ 740 w 1187"/>
                  <a:gd name="T47" fmla="*/ 1126 h 1161"/>
                  <a:gd name="T48" fmla="*/ 782 w 1187"/>
                  <a:gd name="T49" fmla="*/ 1155 h 1161"/>
                  <a:gd name="T50" fmla="*/ 1187 w 1187"/>
                  <a:gd name="T51" fmla="*/ 592 h 1161"/>
                  <a:gd name="T52" fmla="*/ 594 w 1187"/>
                  <a:gd name="T53" fmla="*/ 0 h 1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87" h="1161">
                    <a:moveTo>
                      <a:pt x="594" y="0"/>
                    </a:moveTo>
                    <a:cubicBezTo>
                      <a:pt x="594" y="0"/>
                      <a:pt x="594" y="0"/>
                      <a:pt x="594" y="0"/>
                    </a:cubicBezTo>
                    <a:cubicBezTo>
                      <a:pt x="265" y="0"/>
                      <a:pt x="0" y="264"/>
                      <a:pt x="0" y="592"/>
                    </a:cubicBezTo>
                    <a:cubicBezTo>
                      <a:pt x="0" y="854"/>
                      <a:pt x="170" y="1077"/>
                      <a:pt x="406" y="1155"/>
                    </a:cubicBezTo>
                    <a:cubicBezTo>
                      <a:pt x="435" y="1161"/>
                      <a:pt x="446" y="1142"/>
                      <a:pt x="446" y="1126"/>
                    </a:cubicBezTo>
                    <a:cubicBezTo>
                      <a:pt x="446" y="1112"/>
                      <a:pt x="445" y="1066"/>
                      <a:pt x="445" y="1016"/>
                    </a:cubicBezTo>
                    <a:cubicBezTo>
                      <a:pt x="280" y="1052"/>
                      <a:pt x="246" y="946"/>
                      <a:pt x="246" y="946"/>
                    </a:cubicBezTo>
                    <a:cubicBezTo>
                      <a:pt x="218" y="877"/>
                      <a:pt x="179" y="859"/>
                      <a:pt x="179" y="859"/>
                    </a:cubicBezTo>
                    <a:cubicBezTo>
                      <a:pt x="125" y="822"/>
                      <a:pt x="184" y="823"/>
                      <a:pt x="184" y="823"/>
                    </a:cubicBezTo>
                    <a:cubicBezTo>
                      <a:pt x="243" y="827"/>
                      <a:pt x="274" y="884"/>
                      <a:pt x="274" y="884"/>
                    </a:cubicBezTo>
                    <a:cubicBezTo>
                      <a:pt x="327" y="975"/>
                      <a:pt x="414" y="948"/>
                      <a:pt x="448" y="934"/>
                    </a:cubicBezTo>
                    <a:cubicBezTo>
                      <a:pt x="453" y="895"/>
                      <a:pt x="468" y="869"/>
                      <a:pt x="485" y="854"/>
                    </a:cubicBezTo>
                    <a:cubicBezTo>
                      <a:pt x="353" y="839"/>
                      <a:pt x="215" y="789"/>
                      <a:pt x="215" y="561"/>
                    </a:cubicBezTo>
                    <a:cubicBezTo>
                      <a:pt x="215" y="496"/>
                      <a:pt x="237" y="443"/>
                      <a:pt x="276" y="402"/>
                    </a:cubicBezTo>
                    <a:cubicBezTo>
                      <a:pt x="269" y="387"/>
                      <a:pt x="249" y="327"/>
                      <a:pt x="282" y="245"/>
                    </a:cubicBezTo>
                    <a:cubicBezTo>
                      <a:pt x="282" y="245"/>
                      <a:pt x="331" y="229"/>
                      <a:pt x="445" y="305"/>
                    </a:cubicBezTo>
                    <a:cubicBezTo>
                      <a:pt x="492" y="293"/>
                      <a:pt x="543" y="286"/>
                      <a:pt x="594" y="285"/>
                    </a:cubicBezTo>
                    <a:cubicBezTo>
                      <a:pt x="644" y="286"/>
                      <a:pt x="695" y="293"/>
                      <a:pt x="742" y="305"/>
                    </a:cubicBezTo>
                    <a:cubicBezTo>
                      <a:pt x="855" y="229"/>
                      <a:pt x="906" y="245"/>
                      <a:pt x="906" y="245"/>
                    </a:cubicBezTo>
                    <a:cubicBezTo>
                      <a:pt x="937" y="327"/>
                      <a:pt x="917" y="387"/>
                      <a:pt x="911" y="402"/>
                    </a:cubicBezTo>
                    <a:cubicBezTo>
                      <a:pt x="949" y="443"/>
                      <a:pt x="972" y="496"/>
                      <a:pt x="972" y="561"/>
                    </a:cubicBezTo>
                    <a:cubicBezTo>
                      <a:pt x="972" y="789"/>
                      <a:pt x="833" y="839"/>
                      <a:pt x="701" y="853"/>
                    </a:cubicBezTo>
                    <a:cubicBezTo>
                      <a:pt x="723" y="872"/>
                      <a:pt x="741" y="908"/>
                      <a:pt x="741" y="963"/>
                    </a:cubicBezTo>
                    <a:cubicBezTo>
                      <a:pt x="741" y="1043"/>
                      <a:pt x="740" y="1107"/>
                      <a:pt x="740" y="1126"/>
                    </a:cubicBezTo>
                    <a:cubicBezTo>
                      <a:pt x="740" y="1142"/>
                      <a:pt x="751" y="1161"/>
                      <a:pt x="782" y="1155"/>
                    </a:cubicBezTo>
                    <a:cubicBezTo>
                      <a:pt x="1017" y="1076"/>
                      <a:pt x="1187" y="854"/>
                      <a:pt x="1187" y="592"/>
                    </a:cubicBezTo>
                    <a:cubicBezTo>
                      <a:pt x="1187" y="264"/>
                      <a:pt x="921" y="0"/>
                      <a:pt x="59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25" name="Freeform 6">
                <a:extLst>
                  <a:ext uri="{FF2B5EF4-FFF2-40B4-BE49-F238E27FC236}">
                    <a16:creationId xmlns:a16="http://schemas.microsoft.com/office/drawing/2014/main" id="{C8C9D00F-E4F7-477F-B674-4D9E9E3BF1E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01" y="4776"/>
                <a:ext cx="31" cy="26"/>
              </a:xfrm>
              <a:custGeom>
                <a:avLst/>
                <a:gdLst>
                  <a:gd name="T0" fmla="*/ 16 w 18"/>
                  <a:gd name="T1" fmla="*/ 11 h 15"/>
                  <a:gd name="T2" fmla="*/ 16 w 18"/>
                  <a:gd name="T3" fmla="*/ 11 h 15"/>
                  <a:gd name="T4" fmla="*/ 7 w 18"/>
                  <a:gd name="T5" fmla="*/ 13 h 15"/>
                  <a:gd name="T6" fmla="*/ 1 w 18"/>
                  <a:gd name="T7" fmla="*/ 4 h 15"/>
                  <a:gd name="T8" fmla="*/ 11 w 18"/>
                  <a:gd name="T9" fmla="*/ 3 h 15"/>
                  <a:gd name="T10" fmla="*/ 16 w 18"/>
                  <a:gd name="T11" fmla="*/ 1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15">
                    <a:moveTo>
                      <a:pt x="16" y="11"/>
                    </a:moveTo>
                    <a:cubicBezTo>
                      <a:pt x="16" y="11"/>
                      <a:pt x="16" y="11"/>
                      <a:pt x="16" y="11"/>
                    </a:cubicBezTo>
                    <a:cubicBezTo>
                      <a:pt x="15" y="14"/>
                      <a:pt x="10" y="15"/>
                      <a:pt x="7" y="13"/>
                    </a:cubicBezTo>
                    <a:cubicBezTo>
                      <a:pt x="2" y="11"/>
                      <a:pt x="0" y="7"/>
                      <a:pt x="1" y="4"/>
                    </a:cubicBezTo>
                    <a:cubicBezTo>
                      <a:pt x="2" y="1"/>
                      <a:pt x="7" y="0"/>
                      <a:pt x="11" y="3"/>
                    </a:cubicBezTo>
                    <a:cubicBezTo>
                      <a:pt x="15" y="4"/>
                      <a:pt x="18" y="9"/>
                      <a:pt x="16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26" name="Freeform 7">
                <a:extLst>
                  <a:ext uri="{FF2B5EF4-FFF2-40B4-BE49-F238E27FC236}">
                    <a16:creationId xmlns:a16="http://schemas.microsoft.com/office/drawing/2014/main" id="{F4316448-3950-4A4E-BAB3-0A63BDB3CDF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43" y="4811"/>
                <a:ext cx="33" cy="37"/>
              </a:xfrm>
              <a:custGeom>
                <a:avLst/>
                <a:gdLst>
                  <a:gd name="T0" fmla="*/ 17 w 19"/>
                  <a:gd name="T1" fmla="*/ 18 h 21"/>
                  <a:gd name="T2" fmla="*/ 17 w 19"/>
                  <a:gd name="T3" fmla="*/ 18 h 21"/>
                  <a:gd name="T4" fmla="*/ 5 w 19"/>
                  <a:gd name="T5" fmla="*/ 16 h 21"/>
                  <a:gd name="T6" fmla="*/ 3 w 19"/>
                  <a:gd name="T7" fmla="*/ 3 h 21"/>
                  <a:gd name="T8" fmla="*/ 15 w 19"/>
                  <a:gd name="T9" fmla="*/ 6 h 21"/>
                  <a:gd name="T10" fmla="*/ 17 w 19"/>
                  <a:gd name="T11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21">
                    <a:moveTo>
                      <a:pt x="17" y="18"/>
                    </a:moveTo>
                    <a:cubicBezTo>
                      <a:pt x="17" y="18"/>
                      <a:pt x="17" y="18"/>
                      <a:pt x="17" y="18"/>
                    </a:cubicBezTo>
                    <a:cubicBezTo>
                      <a:pt x="14" y="21"/>
                      <a:pt x="8" y="19"/>
                      <a:pt x="5" y="16"/>
                    </a:cubicBezTo>
                    <a:cubicBezTo>
                      <a:pt x="0" y="11"/>
                      <a:pt x="0" y="5"/>
                      <a:pt x="3" y="3"/>
                    </a:cubicBezTo>
                    <a:cubicBezTo>
                      <a:pt x="5" y="0"/>
                      <a:pt x="11" y="2"/>
                      <a:pt x="15" y="6"/>
                    </a:cubicBezTo>
                    <a:cubicBezTo>
                      <a:pt x="19" y="10"/>
                      <a:pt x="19" y="16"/>
                      <a:pt x="17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27" name="Freeform 8">
                <a:extLst>
                  <a:ext uri="{FF2B5EF4-FFF2-40B4-BE49-F238E27FC236}">
                    <a16:creationId xmlns:a16="http://schemas.microsoft.com/office/drawing/2014/main" id="{372F0CA1-54EF-4C92-A595-9BF1EEC5B7B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84" y="4865"/>
                <a:ext cx="37" cy="43"/>
              </a:xfrm>
              <a:custGeom>
                <a:avLst/>
                <a:gdLst>
                  <a:gd name="T0" fmla="*/ 17 w 21"/>
                  <a:gd name="T1" fmla="*/ 22 h 24"/>
                  <a:gd name="T2" fmla="*/ 17 w 21"/>
                  <a:gd name="T3" fmla="*/ 22 h 24"/>
                  <a:gd name="T4" fmla="*/ 4 w 21"/>
                  <a:gd name="T5" fmla="*/ 16 h 24"/>
                  <a:gd name="T6" fmla="*/ 4 w 21"/>
                  <a:gd name="T7" fmla="*/ 2 h 24"/>
                  <a:gd name="T8" fmla="*/ 17 w 21"/>
                  <a:gd name="T9" fmla="*/ 7 h 24"/>
                  <a:gd name="T10" fmla="*/ 17 w 21"/>
                  <a:gd name="T11" fmla="*/ 2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" h="24">
                    <a:moveTo>
                      <a:pt x="17" y="22"/>
                    </a:moveTo>
                    <a:cubicBezTo>
                      <a:pt x="17" y="22"/>
                      <a:pt x="17" y="22"/>
                      <a:pt x="17" y="22"/>
                    </a:cubicBezTo>
                    <a:cubicBezTo>
                      <a:pt x="13" y="24"/>
                      <a:pt x="8" y="22"/>
                      <a:pt x="4" y="16"/>
                    </a:cubicBezTo>
                    <a:cubicBezTo>
                      <a:pt x="0" y="11"/>
                      <a:pt x="0" y="5"/>
                      <a:pt x="4" y="2"/>
                    </a:cubicBezTo>
                    <a:cubicBezTo>
                      <a:pt x="8" y="0"/>
                      <a:pt x="13" y="2"/>
                      <a:pt x="17" y="7"/>
                    </a:cubicBezTo>
                    <a:cubicBezTo>
                      <a:pt x="21" y="13"/>
                      <a:pt x="21" y="19"/>
                      <a:pt x="17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28" name="Freeform 9">
                <a:extLst>
                  <a:ext uri="{FF2B5EF4-FFF2-40B4-BE49-F238E27FC236}">
                    <a16:creationId xmlns:a16="http://schemas.microsoft.com/office/drawing/2014/main" id="{C8DABBAB-3AEA-4C9C-BEB2-91A274AC147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31" y="4924"/>
                <a:ext cx="46" cy="44"/>
              </a:xfrm>
              <a:custGeom>
                <a:avLst/>
                <a:gdLst>
                  <a:gd name="T0" fmla="*/ 22 w 26"/>
                  <a:gd name="T1" fmla="*/ 22 h 25"/>
                  <a:gd name="T2" fmla="*/ 22 w 26"/>
                  <a:gd name="T3" fmla="*/ 22 h 25"/>
                  <a:gd name="T4" fmla="*/ 7 w 26"/>
                  <a:gd name="T5" fmla="*/ 19 h 25"/>
                  <a:gd name="T6" fmla="*/ 3 w 26"/>
                  <a:gd name="T7" fmla="*/ 4 h 25"/>
                  <a:gd name="T8" fmla="*/ 19 w 26"/>
                  <a:gd name="T9" fmla="*/ 6 h 25"/>
                  <a:gd name="T10" fmla="*/ 22 w 26"/>
                  <a:gd name="T11" fmla="*/ 2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25">
                    <a:moveTo>
                      <a:pt x="22" y="22"/>
                    </a:moveTo>
                    <a:cubicBezTo>
                      <a:pt x="22" y="22"/>
                      <a:pt x="22" y="22"/>
                      <a:pt x="22" y="22"/>
                    </a:cubicBezTo>
                    <a:cubicBezTo>
                      <a:pt x="19" y="25"/>
                      <a:pt x="12" y="24"/>
                      <a:pt x="7" y="19"/>
                    </a:cubicBezTo>
                    <a:cubicBezTo>
                      <a:pt x="2" y="14"/>
                      <a:pt x="0" y="8"/>
                      <a:pt x="3" y="4"/>
                    </a:cubicBezTo>
                    <a:cubicBezTo>
                      <a:pt x="7" y="0"/>
                      <a:pt x="14" y="1"/>
                      <a:pt x="19" y="6"/>
                    </a:cubicBezTo>
                    <a:cubicBezTo>
                      <a:pt x="24" y="11"/>
                      <a:pt x="26" y="18"/>
                      <a:pt x="22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29" name="Freeform 10">
                <a:extLst>
                  <a:ext uri="{FF2B5EF4-FFF2-40B4-BE49-F238E27FC236}">
                    <a16:creationId xmlns:a16="http://schemas.microsoft.com/office/drawing/2014/main" id="{2B1F64D4-CCE9-40EF-BCD2-FD85223E793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02" y="4969"/>
                <a:ext cx="49" cy="39"/>
              </a:xfrm>
              <a:custGeom>
                <a:avLst/>
                <a:gdLst>
                  <a:gd name="T0" fmla="*/ 26 w 28"/>
                  <a:gd name="T1" fmla="*/ 15 h 22"/>
                  <a:gd name="T2" fmla="*/ 26 w 28"/>
                  <a:gd name="T3" fmla="*/ 15 h 22"/>
                  <a:gd name="T4" fmla="*/ 11 w 28"/>
                  <a:gd name="T5" fmla="*/ 19 h 22"/>
                  <a:gd name="T6" fmla="*/ 2 w 28"/>
                  <a:gd name="T7" fmla="*/ 8 h 22"/>
                  <a:gd name="T8" fmla="*/ 16 w 28"/>
                  <a:gd name="T9" fmla="*/ 2 h 22"/>
                  <a:gd name="T10" fmla="*/ 26 w 28"/>
                  <a:gd name="T11" fmla="*/ 1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22">
                    <a:moveTo>
                      <a:pt x="26" y="15"/>
                    </a:moveTo>
                    <a:cubicBezTo>
                      <a:pt x="26" y="15"/>
                      <a:pt x="26" y="15"/>
                      <a:pt x="26" y="15"/>
                    </a:cubicBezTo>
                    <a:cubicBezTo>
                      <a:pt x="25" y="19"/>
                      <a:pt x="18" y="22"/>
                      <a:pt x="11" y="19"/>
                    </a:cubicBezTo>
                    <a:cubicBezTo>
                      <a:pt x="5" y="17"/>
                      <a:pt x="0" y="12"/>
                      <a:pt x="2" y="8"/>
                    </a:cubicBezTo>
                    <a:cubicBezTo>
                      <a:pt x="3" y="2"/>
                      <a:pt x="10" y="0"/>
                      <a:pt x="16" y="2"/>
                    </a:cubicBezTo>
                    <a:cubicBezTo>
                      <a:pt x="23" y="5"/>
                      <a:pt x="28" y="10"/>
                      <a:pt x="26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30" name="Freeform 11">
                <a:extLst>
                  <a:ext uri="{FF2B5EF4-FFF2-40B4-BE49-F238E27FC236}">
                    <a16:creationId xmlns:a16="http://schemas.microsoft.com/office/drawing/2014/main" id="{087BCEBA-0451-4050-A1EC-A8737B609CE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90" y="4985"/>
                <a:ext cx="44" cy="32"/>
              </a:xfrm>
              <a:custGeom>
                <a:avLst/>
                <a:gdLst>
                  <a:gd name="T0" fmla="*/ 25 w 25"/>
                  <a:gd name="T1" fmla="*/ 9 h 18"/>
                  <a:gd name="T2" fmla="*/ 25 w 25"/>
                  <a:gd name="T3" fmla="*/ 9 h 18"/>
                  <a:gd name="T4" fmla="*/ 12 w 25"/>
                  <a:gd name="T5" fmla="*/ 18 h 18"/>
                  <a:gd name="T6" fmla="*/ 0 w 25"/>
                  <a:gd name="T7" fmla="*/ 10 h 18"/>
                  <a:gd name="T8" fmla="*/ 12 w 25"/>
                  <a:gd name="T9" fmla="*/ 1 h 18"/>
                  <a:gd name="T10" fmla="*/ 25 w 25"/>
                  <a:gd name="T11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" h="18">
                    <a:moveTo>
                      <a:pt x="25" y="9"/>
                    </a:moveTo>
                    <a:cubicBezTo>
                      <a:pt x="25" y="9"/>
                      <a:pt x="25" y="9"/>
                      <a:pt x="25" y="9"/>
                    </a:cubicBezTo>
                    <a:cubicBezTo>
                      <a:pt x="25" y="14"/>
                      <a:pt x="20" y="18"/>
                      <a:pt x="12" y="18"/>
                    </a:cubicBezTo>
                    <a:cubicBezTo>
                      <a:pt x="6" y="18"/>
                      <a:pt x="0" y="14"/>
                      <a:pt x="0" y="10"/>
                    </a:cubicBezTo>
                    <a:cubicBezTo>
                      <a:pt x="0" y="4"/>
                      <a:pt x="5" y="1"/>
                      <a:pt x="12" y="1"/>
                    </a:cubicBezTo>
                    <a:cubicBezTo>
                      <a:pt x="19" y="0"/>
                      <a:pt x="25" y="4"/>
                      <a:pt x="25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31" name="Freeform 12">
                <a:extLst>
                  <a:ext uri="{FF2B5EF4-FFF2-40B4-BE49-F238E27FC236}">
                    <a16:creationId xmlns:a16="http://schemas.microsoft.com/office/drawing/2014/main" id="{E95F4F2A-5678-47CB-AE8B-AAC58B24B17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367" y="4973"/>
                <a:ext cx="48" cy="37"/>
              </a:xfrm>
              <a:custGeom>
                <a:avLst/>
                <a:gdLst>
                  <a:gd name="T0" fmla="*/ 26 w 27"/>
                  <a:gd name="T1" fmla="*/ 9 h 21"/>
                  <a:gd name="T2" fmla="*/ 26 w 27"/>
                  <a:gd name="T3" fmla="*/ 9 h 21"/>
                  <a:gd name="T4" fmla="*/ 15 w 27"/>
                  <a:gd name="T5" fmla="*/ 20 h 21"/>
                  <a:gd name="T6" fmla="*/ 1 w 27"/>
                  <a:gd name="T7" fmla="*/ 13 h 21"/>
                  <a:gd name="T8" fmla="*/ 12 w 27"/>
                  <a:gd name="T9" fmla="*/ 2 h 21"/>
                  <a:gd name="T10" fmla="*/ 26 w 27"/>
                  <a:gd name="T11" fmla="*/ 9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21">
                    <a:moveTo>
                      <a:pt x="26" y="9"/>
                    </a:moveTo>
                    <a:cubicBezTo>
                      <a:pt x="26" y="9"/>
                      <a:pt x="26" y="9"/>
                      <a:pt x="26" y="9"/>
                    </a:cubicBezTo>
                    <a:cubicBezTo>
                      <a:pt x="27" y="13"/>
                      <a:pt x="22" y="18"/>
                      <a:pt x="15" y="20"/>
                    </a:cubicBezTo>
                    <a:cubicBezTo>
                      <a:pt x="8" y="21"/>
                      <a:pt x="2" y="18"/>
                      <a:pt x="1" y="13"/>
                    </a:cubicBezTo>
                    <a:cubicBezTo>
                      <a:pt x="0" y="8"/>
                      <a:pt x="5" y="3"/>
                      <a:pt x="12" y="2"/>
                    </a:cubicBezTo>
                    <a:cubicBezTo>
                      <a:pt x="19" y="0"/>
                      <a:pt x="25" y="3"/>
                      <a:pt x="2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</p:grpSp>
      </p:grpSp>
      <p:pic>
        <p:nvPicPr>
          <p:cNvPr id="132" name="Picture 6">
            <a:extLst>
              <a:ext uri="{FF2B5EF4-FFF2-40B4-BE49-F238E27FC236}">
                <a16:creationId xmlns:a16="http://schemas.microsoft.com/office/drawing/2014/main" id="{2E5D6F71-81E2-4B9A-BB41-7BAADA382A0C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3367" y="2319423"/>
            <a:ext cx="532944" cy="53654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>
            <a:outerShdw blurRad="1905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133" name="Picture 12">
            <a:extLst>
              <a:ext uri="{FF2B5EF4-FFF2-40B4-BE49-F238E27FC236}">
                <a16:creationId xmlns:a16="http://schemas.microsoft.com/office/drawing/2014/main" id="{13F1E650-3860-44A8-A13F-6D7FF39F48DA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4245" y="2322523"/>
            <a:ext cx="530347" cy="53034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>
            <a:outerShdw blurRad="1905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134" name="Graphic 133">
            <a:extLst>
              <a:ext uri="{FF2B5EF4-FFF2-40B4-BE49-F238E27FC236}">
                <a16:creationId xmlns:a16="http://schemas.microsoft.com/office/drawing/2014/main" id="{38AF1371-75D9-4625-B3D2-5ED5AE5FA9D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97813" y="2315809"/>
            <a:ext cx="536547" cy="536547"/>
          </a:xfrm>
          <a:prstGeom prst="rect">
            <a:avLst/>
          </a:prstGeom>
          <a:effectLst>
            <a:outerShdw blurRad="190500" dist="38100" dir="2700000" algn="ctr" rotWithShape="0">
              <a:prstClr val="black">
                <a:alpha val="25000"/>
              </a:prstClr>
            </a:outerShdw>
          </a:effectLst>
        </p:spPr>
      </p:pic>
      <p:cxnSp>
        <p:nvCxnSpPr>
          <p:cNvPr id="152" name="Straight Arrow Connector 151">
            <a:extLst>
              <a:ext uri="{FF2B5EF4-FFF2-40B4-BE49-F238E27FC236}">
                <a16:creationId xmlns:a16="http://schemas.microsoft.com/office/drawing/2014/main" id="{981F9355-04A5-4BB2-9516-CE66E569B9E2}"/>
              </a:ext>
            </a:extLst>
          </p:cNvPr>
          <p:cNvCxnSpPr>
            <a:cxnSpLocks/>
          </p:cNvCxnSpPr>
          <p:nvPr/>
        </p:nvCxnSpPr>
        <p:spPr>
          <a:xfrm>
            <a:off x="1810056" y="2520243"/>
            <a:ext cx="110556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Arrow Connector 152">
            <a:extLst>
              <a:ext uri="{FF2B5EF4-FFF2-40B4-BE49-F238E27FC236}">
                <a16:creationId xmlns:a16="http://schemas.microsoft.com/office/drawing/2014/main" id="{3C04B496-9142-44FF-BE6C-0CA6EFD5CD5C}"/>
              </a:ext>
            </a:extLst>
          </p:cNvPr>
          <p:cNvCxnSpPr>
            <a:cxnSpLocks/>
          </p:cNvCxnSpPr>
          <p:nvPr/>
        </p:nvCxnSpPr>
        <p:spPr>
          <a:xfrm flipV="1">
            <a:off x="3850225" y="2664541"/>
            <a:ext cx="774497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C9C129EB-BED7-43CA-9A66-C3ABA830780A}"/>
              </a:ext>
            </a:extLst>
          </p:cNvPr>
          <p:cNvSpPr txBox="1"/>
          <p:nvPr/>
        </p:nvSpPr>
        <p:spPr>
          <a:xfrm>
            <a:off x="361727" y="2951161"/>
            <a:ext cx="187743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77">
              <a:defRPr/>
            </a:pPr>
            <a:r>
              <a:rPr lang="en-US" sz="1400">
                <a:latin typeface="Segoe UI Semibold"/>
              </a:rPr>
              <a:t>App developer</a:t>
            </a:r>
          </a:p>
          <a:p>
            <a:pPr algn="ctr" defTabSz="914377">
              <a:defRPr/>
            </a:pPr>
            <a:r>
              <a:rPr lang="en-US" sz="1400">
                <a:latin typeface="Segoe UI Semibold"/>
              </a:rPr>
              <a:t>using Azure DevOps 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A796B06C-CAD9-45EA-89AA-FC50E8E945F7}"/>
              </a:ext>
            </a:extLst>
          </p:cNvPr>
          <p:cNvGrpSpPr/>
          <p:nvPr/>
        </p:nvGrpSpPr>
        <p:grpSpPr>
          <a:xfrm>
            <a:off x="1057501" y="2340616"/>
            <a:ext cx="485888" cy="564792"/>
            <a:chOff x="6185695" y="5061756"/>
            <a:chExt cx="742515" cy="863093"/>
          </a:xfrm>
          <a:solidFill>
            <a:schemeClr val="tx1"/>
          </a:solidFill>
        </p:grpSpPr>
        <p:sp>
          <p:nvSpPr>
            <p:cNvPr id="63" name="Oval 69">
              <a:extLst>
                <a:ext uri="{FF2B5EF4-FFF2-40B4-BE49-F238E27FC236}">
                  <a16:creationId xmlns:a16="http://schemas.microsoft.com/office/drawing/2014/main" id="{1A2DC684-A724-4769-A52A-EDF6358451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69737" y="5061756"/>
              <a:ext cx="368084" cy="36808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  <p:sp>
          <p:nvSpPr>
            <p:cNvPr id="66" name="Freeform 70">
              <a:extLst>
                <a:ext uri="{FF2B5EF4-FFF2-40B4-BE49-F238E27FC236}">
                  <a16:creationId xmlns:a16="http://schemas.microsoft.com/office/drawing/2014/main" id="{7710B1A2-68C9-4C8C-82B0-655412E3395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5695" y="5556765"/>
              <a:ext cx="742515" cy="368084"/>
            </a:xfrm>
            <a:custGeom>
              <a:avLst/>
              <a:gdLst>
                <a:gd name="T0" fmla="*/ 0 w 512"/>
                <a:gd name="T1" fmla="*/ 256 h 256"/>
                <a:gd name="T2" fmla="*/ 256 w 512"/>
                <a:gd name="T3" fmla="*/ 0 h 256"/>
                <a:gd name="T4" fmla="*/ 512 w 512"/>
                <a:gd name="T5" fmla="*/ 256 h 256"/>
                <a:gd name="T6" fmla="*/ 0 w 512"/>
                <a:gd name="T7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2" h="256">
                  <a:moveTo>
                    <a:pt x="0" y="256"/>
                  </a:moveTo>
                  <a:cubicBezTo>
                    <a:pt x="0" y="115"/>
                    <a:pt x="114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lnTo>
                    <a:pt x="0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</p:grpSp>
      <p:sp>
        <p:nvSpPr>
          <p:cNvPr id="67" name="TextBox 66">
            <a:extLst>
              <a:ext uri="{FF2B5EF4-FFF2-40B4-BE49-F238E27FC236}">
                <a16:creationId xmlns:a16="http://schemas.microsoft.com/office/drawing/2014/main" id="{BEB497AD-5AE0-4712-B132-A37B9D289137}"/>
              </a:ext>
            </a:extLst>
          </p:cNvPr>
          <p:cNvSpPr txBox="1"/>
          <p:nvPr/>
        </p:nvSpPr>
        <p:spPr>
          <a:xfrm>
            <a:off x="223876" y="4645317"/>
            <a:ext cx="21531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77">
              <a:defRPr/>
            </a:pPr>
            <a:r>
              <a:rPr lang="en-US" sz="1400">
                <a:latin typeface="Segoe UI Semibold"/>
              </a:rPr>
              <a:t>Data scientist using </a:t>
            </a:r>
          </a:p>
          <a:p>
            <a:pPr algn="ctr" defTabSz="914377">
              <a:defRPr/>
            </a:pPr>
            <a:r>
              <a:rPr lang="en-US" sz="1400">
                <a:latin typeface="Segoe UI Semibold"/>
              </a:rPr>
              <a:t>Azure Machine Learning</a:t>
            </a: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9CD5711A-A0B9-4A8F-8C1F-3479214D3384}"/>
              </a:ext>
            </a:extLst>
          </p:cNvPr>
          <p:cNvGrpSpPr/>
          <p:nvPr/>
        </p:nvGrpSpPr>
        <p:grpSpPr>
          <a:xfrm>
            <a:off x="1057501" y="4052851"/>
            <a:ext cx="485888" cy="564792"/>
            <a:chOff x="6185695" y="5061756"/>
            <a:chExt cx="742515" cy="863093"/>
          </a:xfrm>
        </p:grpSpPr>
        <p:sp>
          <p:nvSpPr>
            <p:cNvPr id="69" name="Oval 69">
              <a:extLst>
                <a:ext uri="{FF2B5EF4-FFF2-40B4-BE49-F238E27FC236}">
                  <a16:creationId xmlns:a16="http://schemas.microsoft.com/office/drawing/2014/main" id="{89239B06-3555-4519-9342-0B0A67845B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69737" y="5061756"/>
              <a:ext cx="368084" cy="368084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  <p:sp>
          <p:nvSpPr>
            <p:cNvPr id="70" name="Freeform 70">
              <a:extLst>
                <a:ext uri="{FF2B5EF4-FFF2-40B4-BE49-F238E27FC236}">
                  <a16:creationId xmlns:a16="http://schemas.microsoft.com/office/drawing/2014/main" id="{63098DFD-3EF0-442B-8550-BB50F69B2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5695" y="5556765"/>
              <a:ext cx="742515" cy="368084"/>
            </a:xfrm>
            <a:custGeom>
              <a:avLst/>
              <a:gdLst>
                <a:gd name="T0" fmla="*/ 0 w 512"/>
                <a:gd name="T1" fmla="*/ 256 h 256"/>
                <a:gd name="T2" fmla="*/ 256 w 512"/>
                <a:gd name="T3" fmla="*/ 0 h 256"/>
                <a:gd name="T4" fmla="*/ 512 w 512"/>
                <a:gd name="T5" fmla="*/ 256 h 256"/>
                <a:gd name="T6" fmla="*/ 0 w 512"/>
                <a:gd name="T7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2" h="256">
                  <a:moveTo>
                    <a:pt x="0" y="256"/>
                  </a:moveTo>
                  <a:cubicBezTo>
                    <a:pt x="0" y="115"/>
                    <a:pt x="114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lnTo>
                    <a:pt x="0" y="256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F7B8C2C6-1D80-4480-89F7-4CB1FEBA3C4B}"/>
              </a:ext>
            </a:extLst>
          </p:cNvPr>
          <p:cNvGrpSpPr/>
          <p:nvPr/>
        </p:nvGrpSpPr>
        <p:grpSpPr>
          <a:xfrm>
            <a:off x="10208042" y="2264567"/>
            <a:ext cx="646260" cy="646260"/>
            <a:chOff x="9897614" y="3471418"/>
            <a:chExt cx="1414462" cy="1414463"/>
          </a:xfrm>
        </p:grpSpPr>
        <p:sp>
          <p:nvSpPr>
            <p:cNvPr id="72" name="Donut 67">
              <a:extLst>
                <a:ext uri="{FF2B5EF4-FFF2-40B4-BE49-F238E27FC236}">
                  <a16:creationId xmlns:a16="http://schemas.microsoft.com/office/drawing/2014/main" id="{DB5467E1-7582-45C2-B433-D19547D9D758}"/>
                </a:ext>
              </a:extLst>
            </p:cNvPr>
            <p:cNvSpPr/>
            <p:nvPr/>
          </p:nvSpPr>
          <p:spPr bwMode="auto">
            <a:xfrm>
              <a:off x="9951778" y="3525582"/>
              <a:ext cx="1306134" cy="1306134"/>
            </a:xfrm>
            <a:prstGeom prst="ellipse">
              <a:avLst/>
            </a:prstGeom>
            <a:solidFill>
              <a:schemeClr val="tx1"/>
            </a:solidFill>
            <a:ln w="10795" cap="flat" cmpd="sng" algn="ctr">
              <a:noFill/>
              <a:prstDash val="solid"/>
            </a:ln>
            <a:effectLst>
              <a:outerShdw blurRad="190500" dist="38100" dir="2700000" algn="tl" rotWithShape="0">
                <a:prstClr val="black">
                  <a:alpha val="25000"/>
                </a:prstClr>
              </a:outerShdw>
            </a:effectLst>
          </p:spPr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ts val="600"/>
                </a:spcBef>
                <a:defRPr/>
              </a:pPr>
              <a:endParaRPr lang="en-IN" sz="2000">
                <a:latin typeface="Segoe UI Semilight"/>
              </a:endParaRPr>
            </a:p>
          </p:txBody>
        </p:sp>
        <p:sp>
          <p:nvSpPr>
            <p:cNvPr id="73" name="Donut 67">
              <a:extLst>
                <a:ext uri="{FF2B5EF4-FFF2-40B4-BE49-F238E27FC236}">
                  <a16:creationId xmlns:a16="http://schemas.microsoft.com/office/drawing/2014/main" id="{DC4E5555-9918-4F2C-BE92-82A624BB173D}"/>
                </a:ext>
              </a:extLst>
            </p:cNvPr>
            <p:cNvSpPr/>
            <p:nvPr/>
          </p:nvSpPr>
          <p:spPr bwMode="auto">
            <a:xfrm>
              <a:off x="9897614" y="3471418"/>
              <a:ext cx="1414462" cy="1414462"/>
            </a:xfrm>
            <a:prstGeom prst="donut">
              <a:avLst>
                <a:gd name="adj" fmla="val 7423"/>
              </a:avLst>
            </a:prstGeom>
            <a:solidFill>
              <a:srgbClr val="FFFFFF">
                <a:lumMod val="8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891" indent="-342891"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Wingdings 3" panose="05040102010807070707" pitchFamily="18" charset="2"/>
                <a:buChar char="Æ"/>
                <a:defRPr/>
              </a:pPr>
              <a:endParaRPr lang="en-IN" sz="2000" b="1"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5" name="Freeform 69">
              <a:extLst>
                <a:ext uri="{FF2B5EF4-FFF2-40B4-BE49-F238E27FC236}">
                  <a16:creationId xmlns:a16="http://schemas.microsoft.com/office/drawing/2014/main" id="{EDEEB007-B9AB-42E5-BDA1-D8E98C469A17}"/>
                </a:ext>
              </a:extLst>
            </p:cNvPr>
            <p:cNvSpPr/>
            <p:nvPr/>
          </p:nvSpPr>
          <p:spPr bwMode="auto">
            <a:xfrm>
              <a:off x="10260852" y="3529492"/>
              <a:ext cx="1051224" cy="1356389"/>
            </a:xfrm>
            <a:custGeom>
              <a:avLst/>
              <a:gdLst>
                <a:gd name="connsiteX0" fmla="*/ 623876 w 1051224"/>
                <a:gd name="connsiteY0" fmla="*/ 0 h 1356389"/>
                <a:gd name="connsiteX1" fmla="*/ 739413 w 1051224"/>
                <a:gd name="connsiteY1" fmla="*/ 62711 h 1356389"/>
                <a:gd name="connsiteX2" fmla="*/ 1051224 w 1051224"/>
                <a:gd name="connsiteY2" fmla="*/ 649158 h 1356389"/>
                <a:gd name="connsiteX3" fmla="*/ 343993 w 1051224"/>
                <a:gd name="connsiteY3" fmla="*/ 1356389 h 1356389"/>
                <a:gd name="connsiteX4" fmla="*/ 68707 w 1051224"/>
                <a:gd name="connsiteY4" fmla="*/ 1300812 h 1356389"/>
                <a:gd name="connsiteX5" fmla="*/ 0 w 1051224"/>
                <a:gd name="connsiteY5" fmla="*/ 1263518 h 1356389"/>
                <a:gd name="connsiteX6" fmla="*/ 46310 w 1051224"/>
                <a:gd name="connsiteY6" fmla="*/ 1169727 h 1356389"/>
                <a:gd name="connsiteX7" fmla="*/ 109576 w 1051224"/>
                <a:gd name="connsiteY7" fmla="*/ 1204067 h 1356389"/>
                <a:gd name="connsiteX8" fmla="*/ 343993 w 1051224"/>
                <a:gd name="connsiteY8" fmla="*/ 1251393 h 1356389"/>
                <a:gd name="connsiteX9" fmla="*/ 946228 w 1051224"/>
                <a:gd name="connsiteY9" fmla="*/ 649158 h 1356389"/>
                <a:gd name="connsiteX10" fmla="*/ 578410 w 1051224"/>
                <a:gd name="connsiteY10" fmla="*/ 94250 h 1356389"/>
                <a:gd name="connsiteX11" fmla="*/ 577481 w 1051224"/>
                <a:gd name="connsiteY11" fmla="*/ 93961 h 1356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1224" h="1356389">
                  <a:moveTo>
                    <a:pt x="623876" y="0"/>
                  </a:moveTo>
                  <a:lnTo>
                    <a:pt x="739413" y="62711"/>
                  </a:lnTo>
                  <a:cubicBezTo>
                    <a:pt x="927537" y="189806"/>
                    <a:pt x="1051224" y="405038"/>
                    <a:pt x="1051224" y="649158"/>
                  </a:cubicBezTo>
                  <a:cubicBezTo>
                    <a:pt x="1051224" y="1039751"/>
                    <a:pt x="734586" y="1356389"/>
                    <a:pt x="343993" y="1356389"/>
                  </a:cubicBezTo>
                  <a:cubicBezTo>
                    <a:pt x="246345" y="1356389"/>
                    <a:pt x="153319" y="1336599"/>
                    <a:pt x="68707" y="1300812"/>
                  </a:cubicBezTo>
                  <a:lnTo>
                    <a:pt x="0" y="1263518"/>
                  </a:lnTo>
                  <a:lnTo>
                    <a:pt x="46310" y="1169727"/>
                  </a:lnTo>
                  <a:lnTo>
                    <a:pt x="109576" y="1204067"/>
                  </a:lnTo>
                  <a:cubicBezTo>
                    <a:pt x="181627" y="1234541"/>
                    <a:pt x="260842" y="1251393"/>
                    <a:pt x="343993" y="1251393"/>
                  </a:cubicBezTo>
                  <a:cubicBezTo>
                    <a:pt x="676598" y="1251393"/>
                    <a:pt x="946228" y="981763"/>
                    <a:pt x="946228" y="649158"/>
                  </a:cubicBezTo>
                  <a:cubicBezTo>
                    <a:pt x="946228" y="399705"/>
                    <a:pt x="794561" y="185674"/>
                    <a:pt x="578410" y="94250"/>
                  </a:cubicBezTo>
                  <a:lnTo>
                    <a:pt x="577481" y="93961"/>
                  </a:lnTo>
                  <a:close/>
                </a:path>
              </a:pathLst>
            </a:custGeom>
            <a:solidFill>
              <a:srgbClr val="FFFFFF">
                <a:lumMod val="6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891" indent="-342891"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Wingdings 3" panose="05040102010807070707" pitchFamily="18" charset="2"/>
                <a:buChar char="Æ"/>
                <a:defRPr/>
              </a:pPr>
              <a:endParaRPr lang="en-IN" sz="2000" b="1"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2F03D978-9D05-40F3-A5F9-7643D27E35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9812" y="4086900"/>
              <a:ext cx="624392" cy="170675"/>
            </a:xfrm>
            <a:custGeom>
              <a:avLst/>
              <a:gdLst>
                <a:gd name="connsiteX0" fmla="*/ 87395 w 624392"/>
                <a:gd name="connsiteY0" fmla="*/ 41 h 170675"/>
                <a:gd name="connsiteX1" fmla="*/ 146987 w 624392"/>
                <a:gd name="connsiteY1" fmla="*/ 25995 h 170675"/>
                <a:gd name="connsiteX2" fmla="*/ 590585 w 624392"/>
                <a:gd name="connsiteY2" fmla="*/ 34373 h 170675"/>
                <a:gd name="connsiteX3" fmla="*/ 624362 w 624392"/>
                <a:gd name="connsiteY3" fmla="*/ 92614 h 170675"/>
                <a:gd name="connsiteX4" fmla="*/ 561973 w 624392"/>
                <a:gd name="connsiteY4" fmla="*/ 151199 h 170675"/>
                <a:gd name="connsiteX5" fmla="*/ 142992 w 624392"/>
                <a:gd name="connsiteY5" fmla="*/ 146765 h 170675"/>
                <a:gd name="connsiteX6" fmla="*/ 22209 w 624392"/>
                <a:gd name="connsiteY6" fmla="*/ 143164 h 170675"/>
                <a:gd name="connsiteX7" fmla="*/ 26205 w 624392"/>
                <a:gd name="connsiteY7" fmla="*/ 22394 h 170675"/>
                <a:gd name="connsiteX8" fmla="*/ 87395 w 624392"/>
                <a:gd name="connsiteY8" fmla="*/ 41 h 170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392" h="170675">
                  <a:moveTo>
                    <a:pt x="87395" y="41"/>
                  </a:moveTo>
                  <a:cubicBezTo>
                    <a:pt x="109539" y="700"/>
                    <a:pt x="131415" y="9412"/>
                    <a:pt x="146987" y="25995"/>
                  </a:cubicBezTo>
                  <a:lnTo>
                    <a:pt x="590585" y="34373"/>
                  </a:lnTo>
                  <a:cubicBezTo>
                    <a:pt x="610032" y="46097"/>
                    <a:pt x="625161" y="68460"/>
                    <a:pt x="624362" y="92614"/>
                  </a:cubicBezTo>
                  <a:cubicBezTo>
                    <a:pt x="623296" y="124820"/>
                    <a:pt x="594181" y="152159"/>
                    <a:pt x="561973" y="151199"/>
                  </a:cubicBezTo>
                  <a:lnTo>
                    <a:pt x="142992" y="146765"/>
                  </a:lnTo>
                  <a:cubicBezTo>
                    <a:pt x="109718" y="178011"/>
                    <a:pt x="57246" y="180476"/>
                    <a:pt x="22209" y="143164"/>
                  </a:cubicBezTo>
                  <a:cubicBezTo>
                    <a:pt x="-8934" y="109999"/>
                    <a:pt x="-7070" y="53639"/>
                    <a:pt x="26205" y="22394"/>
                  </a:cubicBezTo>
                  <a:cubicBezTo>
                    <a:pt x="42841" y="6771"/>
                    <a:pt x="65251" y="-620"/>
                    <a:pt x="87395" y="41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C6247A3E-C160-4F12-98B5-ABA001FDE3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86195" y="3695702"/>
              <a:ext cx="290637" cy="267449"/>
            </a:xfrm>
            <a:custGeom>
              <a:avLst/>
              <a:gdLst>
                <a:gd name="connsiteX0" fmla="*/ 290637 w 290637"/>
                <a:gd name="connsiteY0" fmla="*/ 0 h 267449"/>
                <a:gd name="connsiteX1" fmla="*/ 290637 w 290637"/>
                <a:gd name="connsiteY1" fmla="*/ 210967 h 267449"/>
                <a:gd name="connsiteX2" fmla="*/ 258366 w 290637"/>
                <a:gd name="connsiteY2" fmla="*/ 215609 h 267449"/>
                <a:gd name="connsiteX3" fmla="*/ 216275 w 290637"/>
                <a:gd name="connsiteY3" fmla="*/ 228809 h 267449"/>
                <a:gd name="connsiteX4" fmla="*/ 150830 w 290637"/>
                <a:gd name="connsiteY4" fmla="*/ 267449 h 267449"/>
                <a:gd name="connsiteX5" fmla="*/ 17811 w 290637"/>
                <a:gd name="connsiteY5" fmla="*/ 134430 h 267449"/>
                <a:gd name="connsiteX6" fmla="*/ 0 w 290637"/>
                <a:gd name="connsiteY6" fmla="*/ 114611 h 267449"/>
                <a:gd name="connsiteX7" fmla="*/ 213477 w 290637"/>
                <a:gd name="connsiteY7" fmla="*/ 9475 h 267449"/>
                <a:gd name="connsiteX8" fmla="*/ 290637 w 290637"/>
                <a:gd name="connsiteY8" fmla="*/ 0 h 267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0637" h="267449">
                  <a:moveTo>
                    <a:pt x="290637" y="0"/>
                  </a:moveTo>
                  <a:lnTo>
                    <a:pt x="290637" y="210967"/>
                  </a:lnTo>
                  <a:lnTo>
                    <a:pt x="258366" y="215609"/>
                  </a:lnTo>
                  <a:cubicBezTo>
                    <a:pt x="243909" y="218915"/>
                    <a:pt x="229837" y="223357"/>
                    <a:pt x="216275" y="228809"/>
                  </a:cubicBezTo>
                  <a:lnTo>
                    <a:pt x="150830" y="267449"/>
                  </a:lnTo>
                  <a:lnTo>
                    <a:pt x="17811" y="134430"/>
                  </a:lnTo>
                  <a:lnTo>
                    <a:pt x="0" y="114611"/>
                  </a:lnTo>
                  <a:cubicBezTo>
                    <a:pt x="63125" y="63651"/>
                    <a:pt x="135403" y="26346"/>
                    <a:pt x="213477" y="9475"/>
                  </a:cubicBezTo>
                  <a:lnTo>
                    <a:pt x="290637" y="0"/>
                  </a:lnTo>
                  <a:close/>
                </a:path>
              </a:pathLst>
            </a:custGeom>
            <a:solidFill>
              <a:srgbClr val="BBDA7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E32CA1F2-EFEA-44BA-8DB0-6109EED6E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2307" y="3696054"/>
              <a:ext cx="287959" cy="266888"/>
            </a:xfrm>
            <a:custGeom>
              <a:avLst/>
              <a:gdLst>
                <a:gd name="connsiteX0" fmla="*/ 0 w 287959"/>
                <a:gd name="connsiteY0" fmla="*/ 0 h 266888"/>
                <a:gd name="connsiteX1" fmla="*/ 74803 w 287959"/>
                <a:gd name="connsiteY1" fmla="*/ 9477 h 266888"/>
                <a:gd name="connsiteX2" fmla="*/ 223047 w 287959"/>
                <a:gd name="connsiteY2" fmla="*/ 69275 h 266888"/>
                <a:gd name="connsiteX3" fmla="*/ 287959 w 287959"/>
                <a:gd name="connsiteY3" fmla="*/ 114767 h 266888"/>
                <a:gd name="connsiteX4" fmla="*/ 135839 w 287959"/>
                <a:gd name="connsiteY4" fmla="*/ 266888 h 266888"/>
                <a:gd name="connsiteX5" fmla="*/ 70848 w 287959"/>
                <a:gd name="connsiteY5" fmla="*/ 227653 h 266888"/>
                <a:gd name="connsiteX6" fmla="*/ 27150 w 287959"/>
                <a:gd name="connsiteY6" fmla="*/ 212846 h 266888"/>
                <a:gd name="connsiteX7" fmla="*/ 0 w 287959"/>
                <a:gd name="connsiteY7" fmla="*/ 208513 h 266888"/>
                <a:gd name="connsiteX8" fmla="*/ 0 w 287959"/>
                <a:gd name="connsiteY8" fmla="*/ 0 h 266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7959" h="266888">
                  <a:moveTo>
                    <a:pt x="0" y="0"/>
                  </a:moveTo>
                  <a:lnTo>
                    <a:pt x="74803" y="9477"/>
                  </a:lnTo>
                  <a:cubicBezTo>
                    <a:pt x="127104" y="20976"/>
                    <a:pt x="176854" y="41582"/>
                    <a:pt x="223047" y="69275"/>
                  </a:cubicBezTo>
                  <a:lnTo>
                    <a:pt x="287959" y="114767"/>
                  </a:lnTo>
                  <a:lnTo>
                    <a:pt x="135839" y="266888"/>
                  </a:lnTo>
                  <a:lnTo>
                    <a:pt x="70848" y="227653"/>
                  </a:lnTo>
                  <a:cubicBezTo>
                    <a:pt x="56706" y="221621"/>
                    <a:pt x="42056" y="216602"/>
                    <a:pt x="27150" y="212846"/>
                  </a:cubicBezTo>
                  <a:lnTo>
                    <a:pt x="0" y="208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5CA5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951ED6D2-EE45-4E56-901B-62826334EA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2399" y="3857990"/>
              <a:ext cx="269161" cy="277918"/>
            </a:xfrm>
            <a:custGeom>
              <a:avLst/>
              <a:gdLst>
                <a:gd name="connsiteX0" fmla="*/ 116870 w 269161"/>
                <a:gd name="connsiteY0" fmla="*/ 0 h 277918"/>
                <a:gd name="connsiteX1" fmla="*/ 269161 w 269161"/>
                <a:gd name="connsiteY1" fmla="*/ 152291 h 277918"/>
                <a:gd name="connsiteX2" fmla="*/ 230871 w 269161"/>
                <a:gd name="connsiteY2" fmla="*/ 215717 h 277918"/>
                <a:gd name="connsiteX3" fmla="*/ 216064 w 269161"/>
                <a:gd name="connsiteY3" fmla="*/ 259415 h 277918"/>
                <a:gd name="connsiteX4" fmla="*/ 213111 w 269161"/>
                <a:gd name="connsiteY4" fmla="*/ 277918 h 277918"/>
                <a:gd name="connsiteX5" fmla="*/ 0 w 269161"/>
                <a:gd name="connsiteY5" fmla="*/ 277918 h 277918"/>
                <a:gd name="connsiteX6" fmla="*/ 10414 w 269161"/>
                <a:gd name="connsiteY6" fmla="*/ 209482 h 277918"/>
                <a:gd name="connsiteX7" fmla="*/ 70719 w 269161"/>
                <a:gd name="connsiteY7" fmla="*/ 61744 h 277918"/>
                <a:gd name="connsiteX8" fmla="*/ 116870 w 269161"/>
                <a:gd name="connsiteY8" fmla="*/ 0 h 277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9161" h="277918">
                  <a:moveTo>
                    <a:pt x="116870" y="0"/>
                  </a:moveTo>
                  <a:lnTo>
                    <a:pt x="269161" y="152291"/>
                  </a:lnTo>
                  <a:lnTo>
                    <a:pt x="230871" y="215717"/>
                  </a:lnTo>
                  <a:cubicBezTo>
                    <a:pt x="224839" y="229859"/>
                    <a:pt x="219819" y="244509"/>
                    <a:pt x="216064" y="259415"/>
                  </a:cubicBezTo>
                  <a:lnTo>
                    <a:pt x="213111" y="277918"/>
                  </a:lnTo>
                  <a:lnTo>
                    <a:pt x="0" y="277918"/>
                  </a:lnTo>
                  <a:lnTo>
                    <a:pt x="10414" y="209482"/>
                  </a:lnTo>
                  <a:cubicBezTo>
                    <a:pt x="22420" y="157688"/>
                    <a:pt x="42519" y="107430"/>
                    <a:pt x="70719" y="61744"/>
                  </a:cubicBezTo>
                  <a:lnTo>
                    <a:pt x="116870" y="0"/>
                  </a:lnTo>
                  <a:close/>
                </a:path>
              </a:pathLst>
            </a:custGeom>
            <a:solidFill>
              <a:srgbClr val="D2E7A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0AE5043-0FE9-4338-968C-83C0689794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4046" y="3858113"/>
              <a:ext cx="259956" cy="228787"/>
            </a:xfrm>
            <a:custGeom>
              <a:avLst/>
              <a:gdLst>
                <a:gd name="connsiteX0" fmla="*/ 151525 w 259956"/>
                <a:gd name="connsiteY0" fmla="*/ 0 h 228787"/>
                <a:gd name="connsiteX1" fmla="*/ 187726 w 259956"/>
                <a:gd name="connsiteY1" fmla="*/ 47229 h 228787"/>
                <a:gd name="connsiteX2" fmla="*/ 249063 w 259956"/>
                <a:gd name="connsiteY2" fmla="*/ 177909 h 228787"/>
                <a:gd name="connsiteX3" fmla="*/ 259956 w 259956"/>
                <a:gd name="connsiteY3" fmla="*/ 228787 h 228787"/>
                <a:gd name="connsiteX4" fmla="*/ 41069 w 259956"/>
                <a:gd name="connsiteY4" fmla="*/ 228787 h 228787"/>
                <a:gd name="connsiteX5" fmla="*/ 24304 w 259956"/>
                <a:gd name="connsiteY5" fmla="*/ 188030 h 228787"/>
                <a:gd name="connsiteX6" fmla="*/ 0 w 259956"/>
                <a:gd name="connsiteY6" fmla="*/ 151525 h 228787"/>
                <a:gd name="connsiteX7" fmla="*/ 151525 w 259956"/>
                <a:gd name="connsiteY7" fmla="*/ 0 h 228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9956" h="228787">
                  <a:moveTo>
                    <a:pt x="151525" y="0"/>
                  </a:moveTo>
                  <a:lnTo>
                    <a:pt x="187726" y="47229"/>
                  </a:lnTo>
                  <a:cubicBezTo>
                    <a:pt x="214470" y="87842"/>
                    <a:pt x="235418" y="132240"/>
                    <a:pt x="249063" y="177909"/>
                  </a:cubicBezTo>
                  <a:lnTo>
                    <a:pt x="259956" y="228787"/>
                  </a:lnTo>
                  <a:lnTo>
                    <a:pt x="41069" y="228787"/>
                  </a:lnTo>
                  <a:lnTo>
                    <a:pt x="24304" y="188030"/>
                  </a:lnTo>
                  <a:lnTo>
                    <a:pt x="0" y="151525"/>
                  </a:lnTo>
                  <a:lnTo>
                    <a:pt x="151525" y="0"/>
                  </a:lnTo>
                  <a:close/>
                </a:path>
              </a:pathLst>
            </a:custGeom>
            <a:solidFill>
              <a:srgbClr val="7F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6FDD035F-BE35-4A58-B4D8-55A64DA573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5713" y="4217639"/>
              <a:ext cx="277662" cy="286335"/>
            </a:xfrm>
            <a:custGeom>
              <a:avLst/>
              <a:gdLst>
                <a:gd name="connsiteX0" fmla="*/ 0 w 277662"/>
                <a:gd name="connsiteY0" fmla="*/ 0 h 286335"/>
                <a:gd name="connsiteX1" fmla="*/ 211901 w 277662"/>
                <a:gd name="connsiteY1" fmla="*/ 0 h 286335"/>
                <a:gd name="connsiteX2" fmla="*/ 215712 w 277662"/>
                <a:gd name="connsiteY2" fmla="*/ 24896 h 286335"/>
                <a:gd name="connsiteX3" fmla="*/ 277662 w 277662"/>
                <a:gd name="connsiteY3" fmla="*/ 145645 h 286335"/>
                <a:gd name="connsiteX4" fmla="*/ 120833 w 277662"/>
                <a:gd name="connsiteY4" fmla="*/ 286335 h 286335"/>
                <a:gd name="connsiteX5" fmla="*/ 10016 w 277662"/>
                <a:gd name="connsiteY5" fmla="*/ 76009 h 286335"/>
                <a:gd name="connsiteX6" fmla="*/ 0 w 277662"/>
                <a:gd name="connsiteY6" fmla="*/ 0 h 286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7662" h="286335">
                  <a:moveTo>
                    <a:pt x="0" y="0"/>
                  </a:moveTo>
                  <a:lnTo>
                    <a:pt x="211901" y="0"/>
                  </a:lnTo>
                  <a:lnTo>
                    <a:pt x="215712" y="24896"/>
                  </a:lnTo>
                  <a:cubicBezTo>
                    <a:pt x="226173" y="68526"/>
                    <a:pt x="247391" y="109343"/>
                    <a:pt x="277662" y="145645"/>
                  </a:cubicBezTo>
                  <a:cubicBezTo>
                    <a:pt x="277662" y="145645"/>
                    <a:pt x="277662" y="145645"/>
                    <a:pt x="120833" y="286335"/>
                  </a:cubicBezTo>
                  <a:cubicBezTo>
                    <a:pt x="66353" y="225824"/>
                    <a:pt x="27712" y="154013"/>
                    <a:pt x="10016" y="76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1EFC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3F14B306-9CBA-4621-A1A6-12471EEC037C}"/>
                </a:ext>
              </a:extLst>
            </p:cNvPr>
            <p:cNvSpPr/>
            <p:nvPr/>
          </p:nvSpPr>
          <p:spPr bwMode="auto">
            <a:xfrm>
              <a:off x="10519812" y="4168631"/>
              <a:ext cx="624362" cy="88944"/>
            </a:xfrm>
            <a:custGeom>
              <a:avLst/>
              <a:gdLst>
                <a:gd name="connsiteX0" fmla="*/ 123 w 624362"/>
                <a:gd name="connsiteY0" fmla="*/ 0 h 88944"/>
                <a:gd name="connsiteX1" fmla="*/ 621367 w 624362"/>
                <a:gd name="connsiteY1" fmla="*/ 0 h 88944"/>
                <a:gd name="connsiteX2" fmla="*/ 624362 w 624362"/>
                <a:gd name="connsiteY2" fmla="*/ 10883 h 88944"/>
                <a:gd name="connsiteX3" fmla="*/ 561973 w 624362"/>
                <a:gd name="connsiteY3" fmla="*/ 69468 h 88944"/>
                <a:gd name="connsiteX4" fmla="*/ 142992 w 624362"/>
                <a:gd name="connsiteY4" fmla="*/ 65034 h 88944"/>
                <a:gd name="connsiteX5" fmla="*/ 22209 w 624362"/>
                <a:gd name="connsiteY5" fmla="*/ 61433 h 88944"/>
                <a:gd name="connsiteX6" fmla="*/ 50 w 624362"/>
                <a:gd name="connsiteY6" fmla="*/ 328 h 88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362" h="88944">
                  <a:moveTo>
                    <a:pt x="123" y="0"/>
                  </a:moveTo>
                  <a:lnTo>
                    <a:pt x="621367" y="0"/>
                  </a:lnTo>
                  <a:lnTo>
                    <a:pt x="624362" y="10883"/>
                  </a:lnTo>
                  <a:cubicBezTo>
                    <a:pt x="623296" y="43089"/>
                    <a:pt x="594181" y="70428"/>
                    <a:pt x="561973" y="69468"/>
                  </a:cubicBezTo>
                  <a:lnTo>
                    <a:pt x="142992" y="65034"/>
                  </a:lnTo>
                  <a:cubicBezTo>
                    <a:pt x="109718" y="96280"/>
                    <a:pt x="57246" y="98745"/>
                    <a:pt x="22209" y="61433"/>
                  </a:cubicBezTo>
                  <a:cubicBezTo>
                    <a:pt x="6638" y="44851"/>
                    <a:pt x="-682" y="22469"/>
                    <a:pt x="50" y="328"/>
                  </a:cubicBezTo>
                  <a:close/>
                </a:path>
              </a:pathLst>
            </a:custGeom>
            <a:solidFill>
              <a:srgbClr val="D83B0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4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>
                <a:solidFill>
                  <a:schemeClr val="tx1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65" name="Multiplication Sign 64">
            <a:extLst>
              <a:ext uri="{FF2B5EF4-FFF2-40B4-BE49-F238E27FC236}">
                <a16:creationId xmlns:a16="http://schemas.microsoft.com/office/drawing/2014/main" id="{2344E989-F1AA-46E0-9943-FC844C5A52A3}"/>
              </a:ext>
            </a:extLst>
          </p:cNvPr>
          <p:cNvSpPr/>
          <p:nvPr/>
        </p:nvSpPr>
        <p:spPr bwMode="auto">
          <a:xfrm>
            <a:off x="3542361" y="6059271"/>
            <a:ext cx="615727" cy="615727"/>
          </a:xfrm>
          <a:prstGeom prst="mathMultiply">
            <a:avLst/>
          </a:prstGeom>
          <a:solidFill>
            <a:srgbClr val="FF0000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4" name="Multiplication Sign 83">
            <a:extLst>
              <a:ext uri="{FF2B5EF4-FFF2-40B4-BE49-F238E27FC236}">
                <a16:creationId xmlns:a16="http://schemas.microsoft.com/office/drawing/2014/main" id="{0C210C8F-9B27-4D64-99F8-3A1CDFA0CBF2}"/>
              </a:ext>
            </a:extLst>
          </p:cNvPr>
          <p:cNvSpPr/>
          <p:nvPr/>
        </p:nvSpPr>
        <p:spPr bwMode="auto">
          <a:xfrm>
            <a:off x="6287399" y="6059271"/>
            <a:ext cx="615727" cy="615727"/>
          </a:xfrm>
          <a:prstGeom prst="mathMultiply">
            <a:avLst/>
          </a:prstGeom>
          <a:solidFill>
            <a:srgbClr val="FF0000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5" name="Multiplication Sign 84">
            <a:extLst>
              <a:ext uri="{FF2B5EF4-FFF2-40B4-BE49-F238E27FC236}">
                <a16:creationId xmlns:a16="http://schemas.microsoft.com/office/drawing/2014/main" id="{303990B9-331B-4809-BF96-6F79801B42E2}"/>
              </a:ext>
            </a:extLst>
          </p:cNvPr>
          <p:cNvSpPr/>
          <p:nvPr/>
        </p:nvSpPr>
        <p:spPr bwMode="auto">
          <a:xfrm>
            <a:off x="9243006" y="6059271"/>
            <a:ext cx="615727" cy="615727"/>
          </a:xfrm>
          <a:prstGeom prst="mathMultiply">
            <a:avLst/>
          </a:prstGeom>
          <a:solidFill>
            <a:srgbClr val="FF0000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6" name="Graphic 85" descr="Checkmark">
            <a:extLst>
              <a:ext uri="{FF2B5EF4-FFF2-40B4-BE49-F238E27FC236}">
                <a16:creationId xmlns:a16="http://schemas.microsoft.com/office/drawing/2014/main" id="{478C1BBE-860C-472F-B0D9-A7B21F255AD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61729" y="6059273"/>
            <a:ext cx="587425" cy="587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620780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MLOps</a:t>
            </a:r>
            <a:r>
              <a:rPr lang="en-US"/>
              <a:t> Workflow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2834783D-1223-4D67-844F-B3A27B1C0734}"/>
              </a:ext>
            </a:extLst>
          </p:cNvPr>
          <p:cNvSpPr/>
          <p:nvPr/>
        </p:nvSpPr>
        <p:spPr>
          <a:xfrm>
            <a:off x="6138057" y="3772017"/>
            <a:ext cx="1531424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da-DK" sz="1400">
                <a:latin typeface="Segoe UI"/>
                <a:cs typeface="Courier New" panose="02070309020205020404" pitchFamily="49" charset="0"/>
              </a:rPr>
              <a:t>Model validation &amp; certification</a:t>
            </a:r>
          </a:p>
        </p:txBody>
      </p:sp>
      <p:pic>
        <p:nvPicPr>
          <p:cNvPr id="113" name="Picture 2" descr="https://azure.microsoft.com/images/page/services/machine-learning-service/machine-learning-service.png">
            <a:extLst>
              <a:ext uri="{FF2B5EF4-FFF2-40B4-BE49-F238E27FC236}">
                <a16:creationId xmlns:a16="http://schemas.microsoft.com/office/drawing/2014/main" id="{6EAD169A-6F37-48EE-BDDC-112A01DEF1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2745" y="3797590"/>
            <a:ext cx="428985" cy="428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Rectangle 51">
            <a:extLst>
              <a:ext uri="{FF2B5EF4-FFF2-40B4-BE49-F238E27FC236}">
                <a16:creationId xmlns:a16="http://schemas.microsoft.com/office/drawing/2014/main" id="{AFC51FCC-2467-4DBB-A6A2-C32B9FD99A2F}"/>
              </a:ext>
            </a:extLst>
          </p:cNvPr>
          <p:cNvSpPr/>
          <p:nvPr/>
        </p:nvSpPr>
        <p:spPr bwMode="auto">
          <a:xfrm>
            <a:off x="0" y="5882365"/>
            <a:ext cx="12192000" cy="975635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E92FDBB-47A0-4226-B3AF-BBB4EEDD923E}"/>
              </a:ext>
            </a:extLst>
          </p:cNvPr>
          <p:cNvSpPr txBox="1"/>
          <p:nvPr/>
        </p:nvSpPr>
        <p:spPr>
          <a:xfrm>
            <a:off x="998524" y="6247073"/>
            <a:ext cx="205740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reproducibility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8DB18FE6-B7FA-46B9-A94C-8AE9CBF03720}"/>
              </a:ext>
            </a:extLst>
          </p:cNvPr>
          <p:cNvSpPr txBox="1"/>
          <p:nvPr/>
        </p:nvSpPr>
        <p:spPr>
          <a:xfrm>
            <a:off x="9886899" y="6247073"/>
            <a:ext cx="156856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retraining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BC8F4955-7AFB-41F5-B487-3D6651E483AA}"/>
              </a:ext>
            </a:extLst>
          </p:cNvPr>
          <p:cNvSpPr txBox="1"/>
          <p:nvPr/>
        </p:nvSpPr>
        <p:spPr>
          <a:xfrm>
            <a:off x="6883617" y="6247073"/>
            <a:ext cx="1903823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deployment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441C690-7013-442D-800B-6226D1D0B3A8}"/>
              </a:ext>
            </a:extLst>
          </p:cNvPr>
          <p:cNvSpPr txBox="1"/>
          <p:nvPr/>
        </p:nvSpPr>
        <p:spPr>
          <a:xfrm>
            <a:off x="4153974" y="6247073"/>
            <a:ext cx="1630183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validation</a:t>
            </a:r>
          </a:p>
        </p:txBody>
      </p:sp>
      <p:sp>
        <p:nvSpPr>
          <p:cNvPr id="163" name="Rectangle 1">
            <a:extLst>
              <a:ext uri="{FF2B5EF4-FFF2-40B4-BE49-F238E27FC236}">
                <a16:creationId xmlns:a16="http://schemas.microsoft.com/office/drawing/2014/main" id="{CC913717-B929-44AF-A024-ACB1335D7F24}"/>
              </a:ext>
            </a:extLst>
          </p:cNvPr>
          <p:cNvSpPr/>
          <p:nvPr/>
        </p:nvSpPr>
        <p:spPr bwMode="auto">
          <a:xfrm>
            <a:off x="1750229" y="3100478"/>
            <a:ext cx="1602571" cy="1201455"/>
          </a:xfrm>
          <a:custGeom>
            <a:avLst/>
            <a:gdLst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4" fmla="*/ 0 w 1471327"/>
              <a:gd name="connsiteY4" fmla="*/ 0 h 1520291"/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4" fmla="*/ 91440 w 1471327"/>
              <a:gd name="connsiteY4" fmla="*/ 91440 h 1520291"/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0" fmla="*/ 1471327 w 1471327"/>
              <a:gd name="connsiteY0" fmla="*/ 0 h 1520291"/>
              <a:gd name="connsiteX1" fmla="*/ 1471327 w 1471327"/>
              <a:gd name="connsiteY1" fmla="*/ 1520291 h 1520291"/>
              <a:gd name="connsiteX2" fmla="*/ 0 w 1471327"/>
              <a:gd name="connsiteY2" fmla="*/ 1520291 h 1520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71327" h="1520291">
                <a:moveTo>
                  <a:pt x="1471327" y="0"/>
                </a:moveTo>
                <a:lnTo>
                  <a:pt x="1471327" y="1520291"/>
                </a:lnTo>
                <a:lnTo>
                  <a:pt x="0" y="1520291"/>
                </a:lnTo>
              </a:path>
            </a:pathLst>
          </a:custGeom>
          <a:ln w="19050">
            <a:solidFill>
              <a:schemeClr val="accent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58EF8E3B-571E-4D02-9728-D1464AF196BB}"/>
              </a:ext>
            </a:extLst>
          </p:cNvPr>
          <p:cNvSpPr txBox="1"/>
          <p:nvPr/>
        </p:nvSpPr>
        <p:spPr>
          <a:xfrm>
            <a:off x="4393647" y="3033672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Train model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3A58FFDE-B189-4CDA-8E59-37F93FCF91A9}"/>
              </a:ext>
            </a:extLst>
          </p:cNvPr>
          <p:cNvSpPr txBox="1"/>
          <p:nvPr/>
        </p:nvSpPr>
        <p:spPr>
          <a:xfrm>
            <a:off x="6063707" y="3033672"/>
            <a:ext cx="1531424" cy="535531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Courier New" panose="02070309020205020404" pitchFamily="49" charset="0"/>
              </a:defRPr>
            </a:lvl1pPr>
          </a:lstStyle>
          <a:p>
            <a:pPr defTabSz="914377">
              <a:defRPr/>
            </a:pPr>
            <a:r>
              <a:rPr lang="en-US">
                <a:solidFill>
                  <a:schemeClr val="tx1"/>
                </a:solidFill>
                <a:latin typeface="Segoe UI Semibold"/>
              </a:rPr>
              <a:t>Validate model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470A2EE4-2D1D-4CF4-9A74-8D4A3D3676AF}"/>
              </a:ext>
            </a:extLst>
          </p:cNvPr>
          <p:cNvSpPr txBox="1"/>
          <p:nvPr/>
        </p:nvSpPr>
        <p:spPr>
          <a:xfrm>
            <a:off x="4393647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Build app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D72A3CEA-0A3A-49DB-BB16-7303EED3F5D5}"/>
              </a:ext>
            </a:extLst>
          </p:cNvPr>
          <p:cNvSpPr txBox="1"/>
          <p:nvPr/>
        </p:nvSpPr>
        <p:spPr>
          <a:xfrm>
            <a:off x="2683329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Collaborate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1C9CFECC-EFE4-455C-8EF0-E89A9B83853A}"/>
              </a:ext>
            </a:extLst>
          </p:cNvPr>
          <p:cNvSpPr txBox="1"/>
          <p:nvPr/>
        </p:nvSpPr>
        <p:spPr>
          <a:xfrm>
            <a:off x="6156979" y="1832445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Test app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7F32CF36-92D2-4166-9BC8-C5806684AFCC}"/>
              </a:ext>
            </a:extLst>
          </p:cNvPr>
          <p:cNvSpPr txBox="1"/>
          <p:nvPr/>
        </p:nvSpPr>
        <p:spPr>
          <a:xfrm>
            <a:off x="8067399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Release app</a:t>
            </a:r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911497D9-AC7A-436A-8877-11985FDCDC3B}"/>
              </a:ext>
            </a:extLst>
          </p:cNvPr>
          <p:cNvSpPr txBox="1"/>
          <p:nvPr/>
        </p:nvSpPr>
        <p:spPr>
          <a:xfrm>
            <a:off x="9858731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Monitor app</a:t>
            </a:r>
          </a:p>
        </p:txBody>
      </p:sp>
      <p:cxnSp>
        <p:nvCxnSpPr>
          <p:cNvPr id="173" name="Straight Arrow Connector 172">
            <a:extLst>
              <a:ext uri="{FF2B5EF4-FFF2-40B4-BE49-F238E27FC236}">
                <a16:creationId xmlns:a16="http://schemas.microsoft.com/office/drawing/2014/main" id="{36926983-ED4B-4213-B208-D7E45E3F7B6D}"/>
              </a:ext>
            </a:extLst>
          </p:cNvPr>
          <p:cNvCxnSpPr>
            <a:cxnSpLocks/>
          </p:cNvCxnSpPr>
          <p:nvPr/>
        </p:nvCxnSpPr>
        <p:spPr>
          <a:xfrm flipV="1">
            <a:off x="3850225" y="2520243"/>
            <a:ext cx="774497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Arrow Connector 173">
            <a:extLst>
              <a:ext uri="{FF2B5EF4-FFF2-40B4-BE49-F238E27FC236}">
                <a16:creationId xmlns:a16="http://schemas.microsoft.com/office/drawing/2014/main" id="{62C046BF-9804-43B7-AF12-2C10D5987103}"/>
              </a:ext>
            </a:extLst>
          </p:cNvPr>
          <p:cNvCxnSpPr>
            <a:cxnSpLocks/>
          </p:cNvCxnSpPr>
          <p:nvPr/>
        </p:nvCxnSpPr>
        <p:spPr>
          <a:xfrm>
            <a:off x="5570645" y="2520243"/>
            <a:ext cx="946287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Arrow Connector 174">
            <a:extLst>
              <a:ext uri="{FF2B5EF4-FFF2-40B4-BE49-F238E27FC236}">
                <a16:creationId xmlns:a16="http://schemas.microsoft.com/office/drawing/2014/main" id="{E7566388-943D-401A-9916-3063C6D9C586}"/>
              </a:ext>
            </a:extLst>
          </p:cNvPr>
          <p:cNvCxnSpPr>
            <a:cxnSpLocks/>
          </p:cNvCxnSpPr>
          <p:nvPr/>
        </p:nvCxnSpPr>
        <p:spPr>
          <a:xfrm>
            <a:off x="7196682" y="2520243"/>
            <a:ext cx="109930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Arrow Connector 176">
            <a:extLst>
              <a:ext uri="{FF2B5EF4-FFF2-40B4-BE49-F238E27FC236}">
                <a16:creationId xmlns:a16="http://schemas.microsoft.com/office/drawing/2014/main" id="{7E633DB0-4564-407A-AD20-E5950956A5D0}"/>
              </a:ext>
            </a:extLst>
          </p:cNvPr>
          <p:cNvCxnSpPr>
            <a:cxnSpLocks/>
          </p:cNvCxnSpPr>
          <p:nvPr/>
        </p:nvCxnSpPr>
        <p:spPr>
          <a:xfrm>
            <a:off x="9112623" y="2520243"/>
            <a:ext cx="962699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8" name="Group 177">
            <a:extLst>
              <a:ext uri="{FF2B5EF4-FFF2-40B4-BE49-F238E27FC236}">
                <a16:creationId xmlns:a16="http://schemas.microsoft.com/office/drawing/2014/main" id="{5ACF2F0C-0683-4041-9B1E-85731121C4BD}"/>
              </a:ext>
            </a:extLst>
          </p:cNvPr>
          <p:cNvGrpSpPr/>
          <p:nvPr/>
        </p:nvGrpSpPr>
        <p:grpSpPr>
          <a:xfrm>
            <a:off x="3034411" y="2271608"/>
            <a:ext cx="642716" cy="643947"/>
            <a:chOff x="3034411" y="2271607"/>
            <a:chExt cx="642716" cy="643947"/>
          </a:xfrm>
        </p:grpSpPr>
        <p:sp useBgFill="1">
          <p:nvSpPr>
            <p:cNvPr id="179" name="Freeform 5">
              <a:extLst>
                <a:ext uri="{FF2B5EF4-FFF2-40B4-BE49-F238E27FC236}">
                  <a16:creationId xmlns:a16="http://schemas.microsoft.com/office/drawing/2014/main" id="{051C8A51-E35D-4A06-9D63-B40E988FB0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4411" y="2271607"/>
              <a:ext cx="642716" cy="643947"/>
            </a:xfrm>
            <a:prstGeom prst="ellipse">
              <a:avLst/>
            </a:prstGeom>
            <a:solidFill>
              <a:schemeClr val="bg1"/>
            </a:solidFill>
            <a:ln w="10795" cap="flat" cmpd="sng" algn="ctr">
              <a:noFill/>
              <a:prstDash val="solid"/>
            </a:ln>
            <a:effectLst>
              <a:outerShdw blurRad="190500" dist="38100" dir="2700000" algn="tl" rotWithShape="0">
                <a:prstClr val="black">
                  <a:alpha val="25000"/>
                </a:prstClr>
              </a:outerShdw>
            </a:effectLst>
          </p:spPr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ts val="600"/>
                </a:spcBef>
                <a:defRPr/>
              </a:pPr>
              <a:endParaRPr lang="en-US" sz="2000">
                <a:latin typeface="Segoe UI Semilight"/>
              </a:endParaRPr>
            </a:p>
          </p:txBody>
        </p:sp>
        <p:grpSp>
          <p:nvGrpSpPr>
            <p:cNvPr id="180" name="Group 179">
              <a:extLst>
                <a:ext uri="{FF2B5EF4-FFF2-40B4-BE49-F238E27FC236}">
                  <a16:creationId xmlns:a16="http://schemas.microsoft.com/office/drawing/2014/main" id="{E10C7494-702B-4D4E-9C9E-E36DAC17306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034411" y="2273421"/>
              <a:ext cx="642716" cy="628550"/>
              <a:chOff x="6634" y="3297"/>
              <a:chExt cx="2092" cy="2046"/>
            </a:xfrm>
            <a:solidFill>
              <a:schemeClr val="tx1"/>
            </a:solidFill>
          </p:grpSpPr>
          <p:sp>
            <p:nvSpPr>
              <p:cNvPr id="181" name="Freeform 5">
                <a:extLst>
                  <a:ext uri="{FF2B5EF4-FFF2-40B4-BE49-F238E27FC236}">
                    <a16:creationId xmlns:a16="http://schemas.microsoft.com/office/drawing/2014/main" id="{4C1BDA49-0A58-47FC-B46D-ACF34EBDB7C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4" y="3297"/>
                <a:ext cx="2092" cy="2046"/>
              </a:xfrm>
              <a:custGeom>
                <a:avLst/>
                <a:gdLst>
                  <a:gd name="T0" fmla="*/ 594 w 1187"/>
                  <a:gd name="T1" fmla="*/ 0 h 1161"/>
                  <a:gd name="T2" fmla="*/ 594 w 1187"/>
                  <a:gd name="T3" fmla="*/ 0 h 1161"/>
                  <a:gd name="T4" fmla="*/ 0 w 1187"/>
                  <a:gd name="T5" fmla="*/ 592 h 1161"/>
                  <a:gd name="T6" fmla="*/ 406 w 1187"/>
                  <a:gd name="T7" fmla="*/ 1155 h 1161"/>
                  <a:gd name="T8" fmla="*/ 446 w 1187"/>
                  <a:gd name="T9" fmla="*/ 1126 h 1161"/>
                  <a:gd name="T10" fmla="*/ 445 w 1187"/>
                  <a:gd name="T11" fmla="*/ 1016 h 1161"/>
                  <a:gd name="T12" fmla="*/ 246 w 1187"/>
                  <a:gd name="T13" fmla="*/ 946 h 1161"/>
                  <a:gd name="T14" fmla="*/ 179 w 1187"/>
                  <a:gd name="T15" fmla="*/ 859 h 1161"/>
                  <a:gd name="T16" fmla="*/ 184 w 1187"/>
                  <a:gd name="T17" fmla="*/ 823 h 1161"/>
                  <a:gd name="T18" fmla="*/ 274 w 1187"/>
                  <a:gd name="T19" fmla="*/ 884 h 1161"/>
                  <a:gd name="T20" fmla="*/ 448 w 1187"/>
                  <a:gd name="T21" fmla="*/ 934 h 1161"/>
                  <a:gd name="T22" fmla="*/ 485 w 1187"/>
                  <a:gd name="T23" fmla="*/ 854 h 1161"/>
                  <a:gd name="T24" fmla="*/ 215 w 1187"/>
                  <a:gd name="T25" fmla="*/ 561 h 1161"/>
                  <a:gd name="T26" fmla="*/ 276 w 1187"/>
                  <a:gd name="T27" fmla="*/ 402 h 1161"/>
                  <a:gd name="T28" fmla="*/ 282 w 1187"/>
                  <a:gd name="T29" fmla="*/ 245 h 1161"/>
                  <a:gd name="T30" fmla="*/ 445 w 1187"/>
                  <a:gd name="T31" fmla="*/ 305 h 1161"/>
                  <a:gd name="T32" fmla="*/ 594 w 1187"/>
                  <a:gd name="T33" fmla="*/ 285 h 1161"/>
                  <a:gd name="T34" fmla="*/ 742 w 1187"/>
                  <a:gd name="T35" fmla="*/ 305 h 1161"/>
                  <a:gd name="T36" fmla="*/ 906 w 1187"/>
                  <a:gd name="T37" fmla="*/ 245 h 1161"/>
                  <a:gd name="T38" fmla="*/ 911 w 1187"/>
                  <a:gd name="T39" fmla="*/ 402 h 1161"/>
                  <a:gd name="T40" fmla="*/ 972 w 1187"/>
                  <a:gd name="T41" fmla="*/ 561 h 1161"/>
                  <a:gd name="T42" fmla="*/ 701 w 1187"/>
                  <a:gd name="T43" fmla="*/ 853 h 1161"/>
                  <a:gd name="T44" fmla="*/ 741 w 1187"/>
                  <a:gd name="T45" fmla="*/ 963 h 1161"/>
                  <a:gd name="T46" fmla="*/ 740 w 1187"/>
                  <a:gd name="T47" fmla="*/ 1126 h 1161"/>
                  <a:gd name="T48" fmla="*/ 782 w 1187"/>
                  <a:gd name="T49" fmla="*/ 1155 h 1161"/>
                  <a:gd name="T50" fmla="*/ 1187 w 1187"/>
                  <a:gd name="T51" fmla="*/ 592 h 1161"/>
                  <a:gd name="T52" fmla="*/ 594 w 1187"/>
                  <a:gd name="T53" fmla="*/ 0 h 1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87" h="1161">
                    <a:moveTo>
                      <a:pt x="594" y="0"/>
                    </a:moveTo>
                    <a:cubicBezTo>
                      <a:pt x="594" y="0"/>
                      <a:pt x="594" y="0"/>
                      <a:pt x="594" y="0"/>
                    </a:cubicBezTo>
                    <a:cubicBezTo>
                      <a:pt x="265" y="0"/>
                      <a:pt x="0" y="264"/>
                      <a:pt x="0" y="592"/>
                    </a:cubicBezTo>
                    <a:cubicBezTo>
                      <a:pt x="0" y="854"/>
                      <a:pt x="170" y="1077"/>
                      <a:pt x="406" y="1155"/>
                    </a:cubicBezTo>
                    <a:cubicBezTo>
                      <a:pt x="435" y="1161"/>
                      <a:pt x="446" y="1142"/>
                      <a:pt x="446" y="1126"/>
                    </a:cubicBezTo>
                    <a:cubicBezTo>
                      <a:pt x="446" y="1112"/>
                      <a:pt x="445" y="1066"/>
                      <a:pt x="445" y="1016"/>
                    </a:cubicBezTo>
                    <a:cubicBezTo>
                      <a:pt x="280" y="1052"/>
                      <a:pt x="246" y="946"/>
                      <a:pt x="246" y="946"/>
                    </a:cubicBezTo>
                    <a:cubicBezTo>
                      <a:pt x="218" y="877"/>
                      <a:pt x="179" y="859"/>
                      <a:pt x="179" y="859"/>
                    </a:cubicBezTo>
                    <a:cubicBezTo>
                      <a:pt x="125" y="822"/>
                      <a:pt x="184" y="823"/>
                      <a:pt x="184" y="823"/>
                    </a:cubicBezTo>
                    <a:cubicBezTo>
                      <a:pt x="243" y="827"/>
                      <a:pt x="274" y="884"/>
                      <a:pt x="274" y="884"/>
                    </a:cubicBezTo>
                    <a:cubicBezTo>
                      <a:pt x="327" y="975"/>
                      <a:pt x="414" y="948"/>
                      <a:pt x="448" y="934"/>
                    </a:cubicBezTo>
                    <a:cubicBezTo>
                      <a:pt x="453" y="895"/>
                      <a:pt x="468" y="869"/>
                      <a:pt x="485" y="854"/>
                    </a:cubicBezTo>
                    <a:cubicBezTo>
                      <a:pt x="353" y="839"/>
                      <a:pt x="215" y="789"/>
                      <a:pt x="215" y="561"/>
                    </a:cubicBezTo>
                    <a:cubicBezTo>
                      <a:pt x="215" y="496"/>
                      <a:pt x="237" y="443"/>
                      <a:pt x="276" y="402"/>
                    </a:cubicBezTo>
                    <a:cubicBezTo>
                      <a:pt x="269" y="387"/>
                      <a:pt x="249" y="327"/>
                      <a:pt x="282" y="245"/>
                    </a:cubicBezTo>
                    <a:cubicBezTo>
                      <a:pt x="282" y="245"/>
                      <a:pt x="331" y="229"/>
                      <a:pt x="445" y="305"/>
                    </a:cubicBezTo>
                    <a:cubicBezTo>
                      <a:pt x="492" y="293"/>
                      <a:pt x="543" y="286"/>
                      <a:pt x="594" y="285"/>
                    </a:cubicBezTo>
                    <a:cubicBezTo>
                      <a:pt x="644" y="286"/>
                      <a:pt x="695" y="293"/>
                      <a:pt x="742" y="305"/>
                    </a:cubicBezTo>
                    <a:cubicBezTo>
                      <a:pt x="855" y="229"/>
                      <a:pt x="906" y="245"/>
                      <a:pt x="906" y="245"/>
                    </a:cubicBezTo>
                    <a:cubicBezTo>
                      <a:pt x="937" y="327"/>
                      <a:pt x="917" y="387"/>
                      <a:pt x="911" y="402"/>
                    </a:cubicBezTo>
                    <a:cubicBezTo>
                      <a:pt x="949" y="443"/>
                      <a:pt x="972" y="496"/>
                      <a:pt x="972" y="561"/>
                    </a:cubicBezTo>
                    <a:cubicBezTo>
                      <a:pt x="972" y="789"/>
                      <a:pt x="833" y="839"/>
                      <a:pt x="701" y="853"/>
                    </a:cubicBezTo>
                    <a:cubicBezTo>
                      <a:pt x="723" y="872"/>
                      <a:pt x="741" y="908"/>
                      <a:pt x="741" y="963"/>
                    </a:cubicBezTo>
                    <a:cubicBezTo>
                      <a:pt x="741" y="1043"/>
                      <a:pt x="740" y="1107"/>
                      <a:pt x="740" y="1126"/>
                    </a:cubicBezTo>
                    <a:cubicBezTo>
                      <a:pt x="740" y="1142"/>
                      <a:pt x="751" y="1161"/>
                      <a:pt x="782" y="1155"/>
                    </a:cubicBezTo>
                    <a:cubicBezTo>
                      <a:pt x="1017" y="1076"/>
                      <a:pt x="1187" y="854"/>
                      <a:pt x="1187" y="592"/>
                    </a:cubicBezTo>
                    <a:cubicBezTo>
                      <a:pt x="1187" y="264"/>
                      <a:pt x="921" y="0"/>
                      <a:pt x="59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82" name="Freeform 6">
                <a:extLst>
                  <a:ext uri="{FF2B5EF4-FFF2-40B4-BE49-F238E27FC236}">
                    <a16:creationId xmlns:a16="http://schemas.microsoft.com/office/drawing/2014/main" id="{CD6D90F8-54AB-48A7-B752-B08EBF7BFC5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01" y="4776"/>
                <a:ext cx="31" cy="26"/>
              </a:xfrm>
              <a:custGeom>
                <a:avLst/>
                <a:gdLst>
                  <a:gd name="T0" fmla="*/ 16 w 18"/>
                  <a:gd name="T1" fmla="*/ 11 h 15"/>
                  <a:gd name="T2" fmla="*/ 16 w 18"/>
                  <a:gd name="T3" fmla="*/ 11 h 15"/>
                  <a:gd name="T4" fmla="*/ 7 w 18"/>
                  <a:gd name="T5" fmla="*/ 13 h 15"/>
                  <a:gd name="T6" fmla="*/ 1 w 18"/>
                  <a:gd name="T7" fmla="*/ 4 h 15"/>
                  <a:gd name="T8" fmla="*/ 11 w 18"/>
                  <a:gd name="T9" fmla="*/ 3 h 15"/>
                  <a:gd name="T10" fmla="*/ 16 w 18"/>
                  <a:gd name="T11" fmla="*/ 1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15">
                    <a:moveTo>
                      <a:pt x="16" y="11"/>
                    </a:moveTo>
                    <a:cubicBezTo>
                      <a:pt x="16" y="11"/>
                      <a:pt x="16" y="11"/>
                      <a:pt x="16" y="11"/>
                    </a:cubicBezTo>
                    <a:cubicBezTo>
                      <a:pt x="15" y="14"/>
                      <a:pt x="10" y="15"/>
                      <a:pt x="7" y="13"/>
                    </a:cubicBezTo>
                    <a:cubicBezTo>
                      <a:pt x="2" y="11"/>
                      <a:pt x="0" y="7"/>
                      <a:pt x="1" y="4"/>
                    </a:cubicBezTo>
                    <a:cubicBezTo>
                      <a:pt x="2" y="1"/>
                      <a:pt x="7" y="0"/>
                      <a:pt x="11" y="3"/>
                    </a:cubicBezTo>
                    <a:cubicBezTo>
                      <a:pt x="15" y="4"/>
                      <a:pt x="18" y="9"/>
                      <a:pt x="16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83" name="Freeform 7">
                <a:extLst>
                  <a:ext uri="{FF2B5EF4-FFF2-40B4-BE49-F238E27FC236}">
                    <a16:creationId xmlns:a16="http://schemas.microsoft.com/office/drawing/2014/main" id="{358CA338-8FDB-4A44-AACD-E47DAF94EDB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43" y="4811"/>
                <a:ext cx="33" cy="37"/>
              </a:xfrm>
              <a:custGeom>
                <a:avLst/>
                <a:gdLst>
                  <a:gd name="T0" fmla="*/ 17 w 19"/>
                  <a:gd name="T1" fmla="*/ 18 h 21"/>
                  <a:gd name="T2" fmla="*/ 17 w 19"/>
                  <a:gd name="T3" fmla="*/ 18 h 21"/>
                  <a:gd name="T4" fmla="*/ 5 w 19"/>
                  <a:gd name="T5" fmla="*/ 16 h 21"/>
                  <a:gd name="T6" fmla="*/ 3 w 19"/>
                  <a:gd name="T7" fmla="*/ 3 h 21"/>
                  <a:gd name="T8" fmla="*/ 15 w 19"/>
                  <a:gd name="T9" fmla="*/ 6 h 21"/>
                  <a:gd name="T10" fmla="*/ 17 w 19"/>
                  <a:gd name="T11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21">
                    <a:moveTo>
                      <a:pt x="17" y="18"/>
                    </a:moveTo>
                    <a:cubicBezTo>
                      <a:pt x="17" y="18"/>
                      <a:pt x="17" y="18"/>
                      <a:pt x="17" y="18"/>
                    </a:cubicBezTo>
                    <a:cubicBezTo>
                      <a:pt x="14" y="21"/>
                      <a:pt x="8" y="19"/>
                      <a:pt x="5" y="16"/>
                    </a:cubicBezTo>
                    <a:cubicBezTo>
                      <a:pt x="0" y="11"/>
                      <a:pt x="0" y="5"/>
                      <a:pt x="3" y="3"/>
                    </a:cubicBezTo>
                    <a:cubicBezTo>
                      <a:pt x="5" y="0"/>
                      <a:pt x="11" y="2"/>
                      <a:pt x="15" y="6"/>
                    </a:cubicBezTo>
                    <a:cubicBezTo>
                      <a:pt x="19" y="10"/>
                      <a:pt x="19" y="16"/>
                      <a:pt x="17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84" name="Freeform 8">
                <a:extLst>
                  <a:ext uri="{FF2B5EF4-FFF2-40B4-BE49-F238E27FC236}">
                    <a16:creationId xmlns:a16="http://schemas.microsoft.com/office/drawing/2014/main" id="{A4A1606B-7677-4DC2-9AFC-195C4ADBEBF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84" y="4865"/>
                <a:ext cx="37" cy="43"/>
              </a:xfrm>
              <a:custGeom>
                <a:avLst/>
                <a:gdLst>
                  <a:gd name="T0" fmla="*/ 17 w 21"/>
                  <a:gd name="T1" fmla="*/ 22 h 24"/>
                  <a:gd name="T2" fmla="*/ 17 w 21"/>
                  <a:gd name="T3" fmla="*/ 22 h 24"/>
                  <a:gd name="T4" fmla="*/ 4 w 21"/>
                  <a:gd name="T5" fmla="*/ 16 h 24"/>
                  <a:gd name="T6" fmla="*/ 4 w 21"/>
                  <a:gd name="T7" fmla="*/ 2 h 24"/>
                  <a:gd name="T8" fmla="*/ 17 w 21"/>
                  <a:gd name="T9" fmla="*/ 7 h 24"/>
                  <a:gd name="T10" fmla="*/ 17 w 21"/>
                  <a:gd name="T11" fmla="*/ 2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" h="24">
                    <a:moveTo>
                      <a:pt x="17" y="22"/>
                    </a:moveTo>
                    <a:cubicBezTo>
                      <a:pt x="17" y="22"/>
                      <a:pt x="17" y="22"/>
                      <a:pt x="17" y="22"/>
                    </a:cubicBezTo>
                    <a:cubicBezTo>
                      <a:pt x="13" y="24"/>
                      <a:pt x="8" y="22"/>
                      <a:pt x="4" y="16"/>
                    </a:cubicBezTo>
                    <a:cubicBezTo>
                      <a:pt x="0" y="11"/>
                      <a:pt x="0" y="5"/>
                      <a:pt x="4" y="2"/>
                    </a:cubicBezTo>
                    <a:cubicBezTo>
                      <a:pt x="8" y="0"/>
                      <a:pt x="13" y="2"/>
                      <a:pt x="17" y="7"/>
                    </a:cubicBezTo>
                    <a:cubicBezTo>
                      <a:pt x="21" y="13"/>
                      <a:pt x="21" y="19"/>
                      <a:pt x="17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85" name="Freeform 9">
                <a:extLst>
                  <a:ext uri="{FF2B5EF4-FFF2-40B4-BE49-F238E27FC236}">
                    <a16:creationId xmlns:a16="http://schemas.microsoft.com/office/drawing/2014/main" id="{61A97F38-E738-457F-B80D-0D7F9DB404B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31" y="4924"/>
                <a:ext cx="46" cy="44"/>
              </a:xfrm>
              <a:custGeom>
                <a:avLst/>
                <a:gdLst>
                  <a:gd name="T0" fmla="*/ 22 w 26"/>
                  <a:gd name="T1" fmla="*/ 22 h 25"/>
                  <a:gd name="T2" fmla="*/ 22 w 26"/>
                  <a:gd name="T3" fmla="*/ 22 h 25"/>
                  <a:gd name="T4" fmla="*/ 7 w 26"/>
                  <a:gd name="T5" fmla="*/ 19 h 25"/>
                  <a:gd name="T6" fmla="*/ 3 w 26"/>
                  <a:gd name="T7" fmla="*/ 4 h 25"/>
                  <a:gd name="T8" fmla="*/ 19 w 26"/>
                  <a:gd name="T9" fmla="*/ 6 h 25"/>
                  <a:gd name="T10" fmla="*/ 22 w 26"/>
                  <a:gd name="T11" fmla="*/ 2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25">
                    <a:moveTo>
                      <a:pt x="22" y="22"/>
                    </a:moveTo>
                    <a:cubicBezTo>
                      <a:pt x="22" y="22"/>
                      <a:pt x="22" y="22"/>
                      <a:pt x="22" y="22"/>
                    </a:cubicBezTo>
                    <a:cubicBezTo>
                      <a:pt x="19" y="25"/>
                      <a:pt x="12" y="24"/>
                      <a:pt x="7" y="19"/>
                    </a:cubicBezTo>
                    <a:cubicBezTo>
                      <a:pt x="2" y="14"/>
                      <a:pt x="0" y="8"/>
                      <a:pt x="3" y="4"/>
                    </a:cubicBezTo>
                    <a:cubicBezTo>
                      <a:pt x="7" y="0"/>
                      <a:pt x="14" y="1"/>
                      <a:pt x="19" y="6"/>
                    </a:cubicBezTo>
                    <a:cubicBezTo>
                      <a:pt x="24" y="11"/>
                      <a:pt x="26" y="18"/>
                      <a:pt x="22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86" name="Freeform 10">
                <a:extLst>
                  <a:ext uri="{FF2B5EF4-FFF2-40B4-BE49-F238E27FC236}">
                    <a16:creationId xmlns:a16="http://schemas.microsoft.com/office/drawing/2014/main" id="{DB410052-50DE-4EEA-A951-44D10AF8D8D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02" y="4969"/>
                <a:ext cx="49" cy="39"/>
              </a:xfrm>
              <a:custGeom>
                <a:avLst/>
                <a:gdLst>
                  <a:gd name="T0" fmla="*/ 26 w 28"/>
                  <a:gd name="T1" fmla="*/ 15 h 22"/>
                  <a:gd name="T2" fmla="*/ 26 w 28"/>
                  <a:gd name="T3" fmla="*/ 15 h 22"/>
                  <a:gd name="T4" fmla="*/ 11 w 28"/>
                  <a:gd name="T5" fmla="*/ 19 h 22"/>
                  <a:gd name="T6" fmla="*/ 2 w 28"/>
                  <a:gd name="T7" fmla="*/ 8 h 22"/>
                  <a:gd name="T8" fmla="*/ 16 w 28"/>
                  <a:gd name="T9" fmla="*/ 2 h 22"/>
                  <a:gd name="T10" fmla="*/ 26 w 28"/>
                  <a:gd name="T11" fmla="*/ 1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22">
                    <a:moveTo>
                      <a:pt x="26" y="15"/>
                    </a:moveTo>
                    <a:cubicBezTo>
                      <a:pt x="26" y="15"/>
                      <a:pt x="26" y="15"/>
                      <a:pt x="26" y="15"/>
                    </a:cubicBezTo>
                    <a:cubicBezTo>
                      <a:pt x="25" y="19"/>
                      <a:pt x="18" y="22"/>
                      <a:pt x="11" y="19"/>
                    </a:cubicBezTo>
                    <a:cubicBezTo>
                      <a:pt x="5" y="17"/>
                      <a:pt x="0" y="12"/>
                      <a:pt x="2" y="8"/>
                    </a:cubicBezTo>
                    <a:cubicBezTo>
                      <a:pt x="3" y="2"/>
                      <a:pt x="10" y="0"/>
                      <a:pt x="16" y="2"/>
                    </a:cubicBezTo>
                    <a:cubicBezTo>
                      <a:pt x="23" y="5"/>
                      <a:pt x="28" y="10"/>
                      <a:pt x="26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87" name="Freeform 11">
                <a:extLst>
                  <a:ext uri="{FF2B5EF4-FFF2-40B4-BE49-F238E27FC236}">
                    <a16:creationId xmlns:a16="http://schemas.microsoft.com/office/drawing/2014/main" id="{39A5BE7E-30F0-4051-9FD6-0DD96C850AF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90" y="4985"/>
                <a:ext cx="44" cy="32"/>
              </a:xfrm>
              <a:custGeom>
                <a:avLst/>
                <a:gdLst>
                  <a:gd name="T0" fmla="*/ 25 w 25"/>
                  <a:gd name="T1" fmla="*/ 9 h 18"/>
                  <a:gd name="T2" fmla="*/ 25 w 25"/>
                  <a:gd name="T3" fmla="*/ 9 h 18"/>
                  <a:gd name="T4" fmla="*/ 12 w 25"/>
                  <a:gd name="T5" fmla="*/ 18 h 18"/>
                  <a:gd name="T6" fmla="*/ 0 w 25"/>
                  <a:gd name="T7" fmla="*/ 10 h 18"/>
                  <a:gd name="T8" fmla="*/ 12 w 25"/>
                  <a:gd name="T9" fmla="*/ 1 h 18"/>
                  <a:gd name="T10" fmla="*/ 25 w 25"/>
                  <a:gd name="T11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" h="18">
                    <a:moveTo>
                      <a:pt x="25" y="9"/>
                    </a:moveTo>
                    <a:cubicBezTo>
                      <a:pt x="25" y="9"/>
                      <a:pt x="25" y="9"/>
                      <a:pt x="25" y="9"/>
                    </a:cubicBezTo>
                    <a:cubicBezTo>
                      <a:pt x="25" y="14"/>
                      <a:pt x="20" y="18"/>
                      <a:pt x="12" y="18"/>
                    </a:cubicBezTo>
                    <a:cubicBezTo>
                      <a:pt x="6" y="18"/>
                      <a:pt x="0" y="14"/>
                      <a:pt x="0" y="10"/>
                    </a:cubicBezTo>
                    <a:cubicBezTo>
                      <a:pt x="0" y="4"/>
                      <a:pt x="5" y="1"/>
                      <a:pt x="12" y="1"/>
                    </a:cubicBezTo>
                    <a:cubicBezTo>
                      <a:pt x="19" y="0"/>
                      <a:pt x="25" y="4"/>
                      <a:pt x="25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88" name="Freeform 12">
                <a:extLst>
                  <a:ext uri="{FF2B5EF4-FFF2-40B4-BE49-F238E27FC236}">
                    <a16:creationId xmlns:a16="http://schemas.microsoft.com/office/drawing/2014/main" id="{EAFD7AC4-5F9E-48AF-AE37-8ADF239BF82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367" y="4973"/>
                <a:ext cx="48" cy="37"/>
              </a:xfrm>
              <a:custGeom>
                <a:avLst/>
                <a:gdLst>
                  <a:gd name="T0" fmla="*/ 26 w 27"/>
                  <a:gd name="T1" fmla="*/ 9 h 21"/>
                  <a:gd name="T2" fmla="*/ 26 w 27"/>
                  <a:gd name="T3" fmla="*/ 9 h 21"/>
                  <a:gd name="T4" fmla="*/ 15 w 27"/>
                  <a:gd name="T5" fmla="*/ 20 h 21"/>
                  <a:gd name="T6" fmla="*/ 1 w 27"/>
                  <a:gd name="T7" fmla="*/ 13 h 21"/>
                  <a:gd name="T8" fmla="*/ 12 w 27"/>
                  <a:gd name="T9" fmla="*/ 2 h 21"/>
                  <a:gd name="T10" fmla="*/ 26 w 27"/>
                  <a:gd name="T11" fmla="*/ 9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21">
                    <a:moveTo>
                      <a:pt x="26" y="9"/>
                    </a:moveTo>
                    <a:cubicBezTo>
                      <a:pt x="26" y="9"/>
                      <a:pt x="26" y="9"/>
                      <a:pt x="26" y="9"/>
                    </a:cubicBezTo>
                    <a:cubicBezTo>
                      <a:pt x="27" y="13"/>
                      <a:pt x="22" y="18"/>
                      <a:pt x="15" y="20"/>
                    </a:cubicBezTo>
                    <a:cubicBezTo>
                      <a:pt x="8" y="21"/>
                      <a:pt x="2" y="18"/>
                      <a:pt x="1" y="13"/>
                    </a:cubicBezTo>
                    <a:cubicBezTo>
                      <a:pt x="0" y="8"/>
                      <a:pt x="5" y="3"/>
                      <a:pt x="12" y="2"/>
                    </a:cubicBezTo>
                    <a:cubicBezTo>
                      <a:pt x="19" y="0"/>
                      <a:pt x="25" y="3"/>
                      <a:pt x="2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</p:grpSp>
      </p:grpSp>
      <p:pic>
        <p:nvPicPr>
          <p:cNvPr id="189" name="Picture 6">
            <a:extLst>
              <a:ext uri="{FF2B5EF4-FFF2-40B4-BE49-F238E27FC236}">
                <a16:creationId xmlns:a16="http://schemas.microsoft.com/office/drawing/2014/main" id="{8324494B-EBF2-4BCE-A852-2F2F8827EF4C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3367" y="2319423"/>
            <a:ext cx="532944" cy="53654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>
            <a:outerShdw blurRad="1905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190" name="Picture 12">
            <a:extLst>
              <a:ext uri="{FF2B5EF4-FFF2-40B4-BE49-F238E27FC236}">
                <a16:creationId xmlns:a16="http://schemas.microsoft.com/office/drawing/2014/main" id="{A1F97AD8-A973-455F-979B-F3CE34763C67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4245" y="2322523"/>
            <a:ext cx="530347" cy="53034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>
            <a:outerShdw blurRad="1905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191" name="Graphic 190">
            <a:extLst>
              <a:ext uri="{FF2B5EF4-FFF2-40B4-BE49-F238E27FC236}">
                <a16:creationId xmlns:a16="http://schemas.microsoft.com/office/drawing/2014/main" id="{F9EE5D61-45D0-488B-9EC2-8EC47B2CD4C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97813" y="2315809"/>
            <a:ext cx="536547" cy="536547"/>
          </a:xfrm>
          <a:prstGeom prst="rect">
            <a:avLst/>
          </a:prstGeom>
          <a:effectLst>
            <a:outerShdw blurRad="190500" dist="38100" dir="2700000" algn="ctr" rotWithShape="0">
              <a:prstClr val="black">
                <a:alpha val="25000"/>
              </a:prstClr>
            </a:outerShdw>
          </a:effectLst>
        </p:spPr>
      </p:pic>
      <p:cxnSp>
        <p:nvCxnSpPr>
          <p:cNvPr id="209" name="Straight Arrow Connector 208">
            <a:extLst>
              <a:ext uri="{FF2B5EF4-FFF2-40B4-BE49-F238E27FC236}">
                <a16:creationId xmlns:a16="http://schemas.microsoft.com/office/drawing/2014/main" id="{EF849FEB-D6C8-40C3-A8A8-50E72CBE0BC9}"/>
              </a:ext>
            </a:extLst>
          </p:cNvPr>
          <p:cNvCxnSpPr>
            <a:cxnSpLocks/>
          </p:cNvCxnSpPr>
          <p:nvPr/>
        </p:nvCxnSpPr>
        <p:spPr>
          <a:xfrm>
            <a:off x="1810056" y="2520243"/>
            <a:ext cx="110556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Straight Arrow Connector 209">
            <a:extLst>
              <a:ext uri="{FF2B5EF4-FFF2-40B4-BE49-F238E27FC236}">
                <a16:creationId xmlns:a16="http://schemas.microsoft.com/office/drawing/2014/main" id="{999C83A8-9F3E-4DF6-AA30-435182AE9337}"/>
              </a:ext>
            </a:extLst>
          </p:cNvPr>
          <p:cNvCxnSpPr>
            <a:cxnSpLocks/>
          </p:cNvCxnSpPr>
          <p:nvPr/>
        </p:nvCxnSpPr>
        <p:spPr>
          <a:xfrm flipV="1">
            <a:off x="3850225" y="2664541"/>
            <a:ext cx="774497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Straight Arrow Connector 210">
            <a:extLst>
              <a:ext uri="{FF2B5EF4-FFF2-40B4-BE49-F238E27FC236}">
                <a16:creationId xmlns:a16="http://schemas.microsoft.com/office/drawing/2014/main" id="{1A926B78-D054-4863-9350-9BD61BA68462}"/>
              </a:ext>
            </a:extLst>
          </p:cNvPr>
          <p:cNvCxnSpPr>
            <a:cxnSpLocks/>
          </p:cNvCxnSpPr>
          <p:nvPr/>
        </p:nvCxnSpPr>
        <p:spPr>
          <a:xfrm>
            <a:off x="5570645" y="2664541"/>
            <a:ext cx="946287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6EFDF893-7535-43AD-BD6B-550803ECF405}"/>
              </a:ext>
            </a:extLst>
          </p:cNvPr>
          <p:cNvSpPr txBox="1"/>
          <p:nvPr/>
        </p:nvSpPr>
        <p:spPr>
          <a:xfrm>
            <a:off x="361727" y="2951161"/>
            <a:ext cx="187743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77">
              <a:defRPr/>
            </a:pPr>
            <a:r>
              <a:rPr lang="en-US" sz="1400">
                <a:latin typeface="Segoe UI Semibold"/>
              </a:rPr>
              <a:t>App developer</a:t>
            </a:r>
          </a:p>
          <a:p>
            <a:pPr algn="ctr" defTabSz="914377">
              <a:defRPr/>
            </a:pPr>
            <a:r>
              <a:rPr lang="en-US" sz="1400">
                <a:latin typeface="Segoe UI Semibold"/>
              </a:rPr>
              <a:t>using Azure DevOps </a:t>
            </a: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18EB30B0-4EE5-4E2B-A151-64B2BD729548}"/>
              </a:ext>
            </a:extLst>
          </p:cNvPr>
          <p:cNvGrpSpPr/>
          <p:nvPr/>
        </p:nvGrpSpPr>
        <p:grpSpPr>
          <a:xfrm>
            <a:off x="1057501" y="2340616"/>
            <a:ext cx="485888" cy="564792"/>
            <a:chOff x="6185695" y="5061756"/>
            <a:chExt cx="742515" cy="863093"/>
          </a:xfrm>
          <a:solidFill>
            <a:schemeClr val="tx1"/>
          </a:solidFill>
        </p:grpSpPr>
        <p:sp>
          <p:nvSpPr>
            <p:cNvPr id="64" name="Oval 69">
              <a:extLst>
                <a:ext uri="{FF2B5EF4-FFF2-40B4-BE49-F238E27FC236}">
                  <a16:creationId xmlns:a16="http://schemas.microsoft.com/office/drawing/2014/main" id="{73A6E105-F0DA-436C-A0CA-A7A98D6D9D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69737" y="5061756"/>
              <a:ext cx="368084" cy="36808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  <p:sp>
          <p:nvSpPr>
            <p:cNvPr id="67" name="Freeform 70">
              <a:extLst>
                <a:ext uri="{FF2B5EF4-FFF2-40B4-BE49-F238E27FC236}">
                  <a16:creationId xmlns:a16="http://schemas.microsoft.com/office/drawing/2014/main" id="{C6E5FE10-26E2-4A18-913D-E5C9A3FC6A6A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5695" y="5556765"/>
              <a:ext cx="742515" cy="368084"/>
            </a:xfrm>
            <a:custGeom>
              <a:avLst/>
              <a:gdLst>
                <a:gd name="T0" fmla="*/ 0 w 512"/>
                <a:gd name="T1" fmla="*/ 256 h 256"/>
                <a:gd name="T2" fmla="*/ 256 w 512"/>
                <a:gd name="T3" fmla="*/ 0 h 256"/>
                <a:gd name="T4" fmla="*/ 512 w 512"/>
                <a:gd name="T5" fmla="*/ 256 h 256"/>
                <a:gd name="T6" fmla="*/ 0 w 512"/>
                <a:gd name="T7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2" h="256">
                  <a:moveTo>
                    <a:pt x="0" y="256"/>
                  </a:moveTo>
                  <a:cubicBezTo>
                    <a:pt x="0" y="115"/>
                    <a:pt x="114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lnTo>
                    <a:pt x="0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</p:grpSp>
      <p:sp>
        <p:nvSpPr>
          <p:cNvPr id="68" name="TextBox 67">
            <a:extLst>
              <a:ext uri="{FF2B5EF4-FFF2-40B4-BE49-F238E27FC236}">
                <a16:creationId xmlns:a16="http://schemas.microsoft.com/office/drawing/2014/main" id="{2E7B1DFF-D8FD-4E97-A599-EBE1F4554253}"/>
              </a:ext>
            </a:extLst>
          </p:cNvPr>
          <p:cNvSpPr txBox="1"/>
          <p:nvPr/>
        </p:nvSpPr>
        <p:spPr>
          <a:xfrm>
            <a:off x="223876" y="4645317"/>
            <a:ext cx="21531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77">
              <a:defRPr/>
            </a:pPr>
            <a:r>
              <a:rPr lang="en-US" sz="1400">
                <a:latin typeface="Segoe UI Semibold"/>
              </a:rPr>
              <a:t>Data scientist using </a:t>
            </a:r>
          </a:p>
          <a:p>
            <a:pPr algn="ctr" defTabSz="914377">
              <a:defRPr/>
            </a:pPr>
            <a:r>
              <a:rPr lang="en-US" sz="1400">
                <a:latin typeface="Segoe UI Semibold"/>
              </a:rPr>
              <a:t>Azure Machine Learning</a:t>
            </a: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E5E9C5A7-D486-4CE4-833A-1E6DE6E57CC2}"/>
              </a:ext>
            </a:extLst>
          </p:cNvPr>
          <p:cNvGrpSpPr/>
          <p:nvPr/>
        </p:nvGrpSpPr>
        <p:grpSpPr>
          <a:xfrm>
            <a:off x="1057501" y="4052851"/>
            <a:ext cx="485888" cy="564792"/>
            <a:chOff x="6185695" y="5061756"/>
            <a:chExt cx="742515" cy="863093"/>
          </a:xfrm>
        </p:grpSpPr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29DE2AAB-7D7F-49D5-8ED4-BBC86A5D95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69737" y="5061756"/>
              <a:ext cx="368084" cy="368084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  <p:sp>
          <p:nvSpPr>
            <p:cNvPr id="71" name="Freeform 70">
              <a:extLst>
                <a:ext uri="{FF2B5EF4-FFF2-40B4-BE49-F238E27FC236}">
                  <a16:creationId xmlns:a16="http://schemas.microsoft.com/office/drawing/2014/main" id="{2710FA19-1FC8-4D5B-8D1D-8AE29F129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5695" y="5556765"/>
              <a:ext cx="742515" cy="368084"/>
            </a:xfrm>
            <a:custGeom>
              <a:avLst/>
              <a:gdLst>
                <a:gd name="T0" fmla="*/ 0 w 512"/>
                <a:gd name="T1" fmla="*/ 256 h 256"/>
                <a:gd name="T2" fmla="*/ 256 w 512"/>
                <a:gd name="T3" fmla="*/ 0 h 256"/>
                <a:gd name="T4" fmla="*/ 512 w 512"/>
                <a:gd name="T5" fmla="*/ 256 h 256"/>
                <a:gd name="T6" fmla="*/ 0 w 512"/>
                <a:gd name="T7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2" h="256">
                  <a:moveTo>
                    <a:pt x="0" y="256"/>
                  </a:moveTo>
                  <a:cubicBezTo>
                    <a:pt x="0" y="115"/>
                    <a:pt x="114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lnTo>
                    <a:pt x="0" y="256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8FCD9341-3AF0-4BA6-970E-E527AB0EA522}"/>
              </a:ext>
            </a:extLst>
          </p:cNvPr>
          <p:cNvGrpSpPr/>
          <p:nvPr/>
        </p:nvGrpSpPr>
        <p:grpSpPr>
          <a:xfrm>
            <a:off x="10208042" y="2264567"/>
            <a:ext cx="646260" cy="646260"/>
            <a:chOff x="9897614" y="3471418"/>
            <a:chExt cx="1414462" cy="1414463"/>
          </a:xfrm>
        </p:grpSpPr>
        <p:sp>
          <p:nvSpPr>
            <p:cNvPr id="73" name="Donut 67">
              <a:extLst>
                <a:ext uri="{FF2B5EF4-FFF2-40B4-BE49-F238E27FC236}">
                  <a16:creationId xmlns:a16="http://schemas.microsoft.com/office/drawing/2014/main" id="{9E6448E1-6F03-4D8F-8949-6A6432E655B0}"/>
                </a:ext>
              </a:extLst>
            </p:cNvPr>
            <p:cNvSpPr/>
            <p:nvPr/>
          </p:nvSpPr>
          <p:spPr bwMode="auto">
            <a:xfrm>
              <a:off x="9951778" y="3525582"/>
              <a:ext cx="1306134" cy="1306134"/>
            </a:xfrm>
            <a:prstGeom prst="ellipse">
              <a:avLst/>
            </a:prstGeom>
            <a:solidFill>
              <a:schemeClr val="tx1"/>
            </a:solidFill>
            <a:ln w="10795" cap="flat" cmpd="sng" algn="ctr">
              <a:noFill/>
              <a:prstDash val="solid"/>
            </a:ln>
            <a:effectLst>
              <a:outerShdw blurRad="190500" dist="38100" dir="2700000" algn="tl" rotWithShape="0">
                <a:prstClr val="black">
                  <a:alpha val="25000"/>
                </a:prstClr>
              </a:outerShdw>
            </a:effectLst>
          </p:spPr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ts val="600"/>
                </a:spcBef>
                <a:defRPr/>
              </a:pPr>
              <a:endParaRPr lang="en-IN" sz="2000">
                <a:latin typeface="Segoe UI Semilight"/>
              </a:endParaRPr>
            </a:p>
          </p:txBody>
        </p:sp>
        <p:sp>
          <p:nvSpPr>
            <p:cNvPr id="74" name="Donut 67">
              <a:extLst>
                <a:ext uri="{FF2B5EF4-FFF2-40B4-BE49-F238E27FC236}">
                  <a16:creationId xmlns:a16="http://schemas.microsoft.com/office/drawing/2014/main" id="{6A143E21-07AB-4560-9ACE-ED75E02331C1}"/>
                </a:ext>
              </a:extLst>
            </p:cNvPr>
            <p:cNvSpPr/>
            <p:nvPr/>
          </p:nvSpPr>
          <p:spPr bwMode="auto">
            <a:xfrm>
              <a:off x="9897614" y="3471418"/>
              <a:ext cx="1414462" cy="1414462"/>
            </a:xfrm>
            <a:prstGeom prst="donut">
              <a:avLst>
                <a:gd name="adj" fmla="val 7423"/>
              </a:avLst>
            </a:prstGeom>
            <a:solidFill>
              <a:srgbClr val="FFFFFF">
                <a:lumMod val="8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891" indent="-342891"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Wingdings 3" panose="05040102010807070707" pitchFamily="18" charset="2"/>
                <a:buChar char="Æ"/>
                <a:defRPr/>
              </a:pPr>
              <a:endParaRPr lang="en-IN" sz="2000" b="1"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5" name="Freeform 69">
              <a:extLst>
                <a:ext uri="{FF2B5EF4-FFF2-40B4-BE49-F238E27FC236}">
                  <a16:creationId xmlns:a16="http://schemas.microsoft.com/office/drawing/2014/main" id="{BC0A5C93-D1FC-477F-A234-B860A188D5D4}"/>
                </a:ext>
              </a:extLst>
            </p:cNvPr>
            <p:cNvSpPr/>
            <p:nvPr/>
          </p:nvSpPr>
          <p:spPr bwMode="auto">
            <a:xfrm>
              <a:off x="10260852" y="3529492"/>
              <a:ext cx="1051224" cy="1356389"/>
            </a:xfrm>
            <a:custGeom>
              <a:avLst/>
              <a:gdLst>
                <a:gd name="connsiteX0" fmla="*/ 623876 w 1051224"/>
                <a:gd name="connsiteY0" fmla="*/ 0 h 1356389"/>
                <a:gd name="connsiteX1" fmla="*/ 739413 w 1051224"/>
                <a:gd name="connsiteY1" fmla="*/ 62711 h 1356389"/>
                <a:gd name="connsiteX2" fmla="*/ 1051224 w 1051224"/>
                <a:gd name="connsiteY2" fmla="*/ 649158 h 1356389"/>
                <a:gd name="connsiteX3" fmla="*/ 343993 w 1051224"/>
                <a:gd name="connsiteY3" fmla="*/ 1356389 h 1356389"/>
                <a:gd name="connsiteX4" fmla="*/ 68707 w 1051224"/>
                <a:gd name="connsiteY4" fmla="*/ 1300812 h 1356389"/>
                <a:gd name="connsiteX5" fmla="*/ 0 w 1051224"/>
                <a:gd name="connsiteY5" fmla="*/ 1263518 h 1356389"/>
                <a:gd name="connsiteX6" fmla="*/ 46310 w 1051224"/>
                <a:gd name="connsiteY6" fmla="*/ 1169727 h 1356389"/>
                <a:gd name="connsiteX7" fmla="*/ 109576 w 1051224"/>
                <a:gd name="connsiteY7" fmla="*/ 1204067 h 1356389"/>
                <a:gd name="connsiteX8" fmla="*/ 343993 w 1051224"/>
                <a:gd name="connsiteY8" fmla="*/ 1251393 h 1356389"/>
                <a:gd name="connsiteX9" fmla="*/ 946228 w 1051224"/>
                <a:gd name="connsiteY9" fmla="*/ 649158 h 1356389"/>
                <a:gd name="connsiteX10" fmla="*/ 578410 w 1051224"/>
                <a:gd name="connsiteY10" fmla="*/ 94250 h 1356389"/>
                <a:gd name="connsiteX11" fmla="*/ 577481 w 1051224"/>
                <a:gd name="connsiteY11" fmla="*/ 93961 h 1356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1224" h="1356389">
                  <a:moveTo>
                    <a:pt x="623876" y="0"/>
                  </a:moveTo>
                  <a:lnTo>
                    <a:pt x="739413" y="62711"/>
                  </a:lnTo>
                  <a:cubicBezTo>
                    <a:pt x="927537" y="189806"/>
                    <a:pt x="1051224" y="405038"/>
                    <a:pt x="1051224" y="649158"/>
                  </a:cubicBezTo>
                  <a:cubicBezTo>
                    <a:pt x="1051224" y="1039751"/>
                    <a:pt x="734586" y="1356389"/>
                    <a:pt x="343993" y="1356389"/>
                  </a:cubicBezTo>
                  <a:cubicBezTo>
                    <a:pt x="246345" y="1356389"/>
                    <a:pt x="153319" y="1336599"/>
                    <a:pt x="68707" y="1300812"/>
                  </a:cubicBezTo>
                  <a:lnTo>
                    <a:pt x="0" y="1263518"/>
                  </a:lnTo>
                  <a:lnTo>
                    <a:pt x="46310" y="1169727"/>
                  </a:lnTo>
                  <a:lnTo>
                    <a:pt x="109576" y="1204067"/>
                  </a:lnTo>
                  <a:cubicBezTo>
                    <a:pt x="181627" y="1234541"/>
                    <a:pt x="260842" y="1251393"/>
                    <a:pt x="343993" y="1251393"/>
                  </a:cubicBezTo>
                  <a:cubicBezTo>
                    <a:pt x="676598" y="1251393"/>
                    <a:pt x="946228" y="981763"/>
                    <a:pt x="946228" y="649158"/>
                  </a:cubicBezTo>
                  <a:cubicBezTo>
                    <a:pt x="946228" y="399705"/>
                    <a:pt x="794561" y="185674"/>
                    <a:pt x="578410" y="94250"/>
                  </a:cubicBezTo>
                  <a:lnTo>
                    <a:pt x="577481" y="93961"/>
                  </a:lnTo>
                  <a:close/>
                </a:path>
              </a:pathLst>
            </a:custGeom>
            <a:solidFill>
              <a:srgbClr val="FFFFFF">
                <a:lumMod val="6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891" indent="-342891"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Wingdings 3" panose="05040102010807070707" pitchFamily="18" charset="2"/>
                <a:buChar char="Æ"/>
                <a:defRPr/>
              </a:pPr>
              <a:endParaRPr lang="en-IN" sz="2000" b="1"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7164B414-F8F3-45C3-86FE-2D281360E41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9812" y="4086900"/>
              <a:ext cx="624392" cy="170675"/>
            </a:xfrm>
            <a:custGeom>
              <a:avLst/>
              <a:gdLst>
                <a:gd name="connsiteX0" fmla="*/ 87395 w 624392"/>
                <a:gd name="connsiteY0" fmla="*/ 41 h 170675"/>
                <a:gd name="connsiteX1" fmla="*/ 146987 w 624392"/>
                <a:gd name="connsiteY1" fmla="*/ 25995 h 170675"/>
                <a:gd name="connsiteX2" fmla="*/ 590585 w 624392"/>
                <a:gd name="connsiteY2" fmla="*/ 34373 h 170675"/>
                <a:gd name="connsiteX3" fmla="*/ 624362 w 624392"/>
                <a:gd name="connsiteY3" fmla="*/ 92614 h 170675"/>
                <a:gd name="connsiteX4" fmla="*/ 561973 w 624392"/>
                <a:gd name="connsiteY4" fmla="*/ 151199 h 170675"/>
                <a:gd name="connsiteX5" fmla="*/ 142992 w 624392"/>
                <a:gd name="connsiteY5" fmla="*/ 146765 h 170675"/>
                <a:gd name="connsiteX6" fmla="*/ 22209 w 624392"/>
                <a:gd name="connsiteY6" fmla="*/ 143164 h 170675"/>
                <a:gd name="connsiteX7" fmla="*/ 26205 w 624392"/>
                <a:gd name="connsiteY7" fmla="*/ 22394 h 170675"/>
                <a:gd name="connsiteX8" fmla="*/ 87395 w 624392"/>
                <a:gd name="connsiteY8" fmla="*/ 41 h 170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392" h="170675">
                  <a:moveTo>
                    <a:pt x="87395" y="41"/>
                  </a:moveTo>
                  <a:cubicBezTo>
                    <a:pt x="109539" y="700"/>
                    <a:pt x="131415" y="9412"/>
                    <a:pt x="146987" y="25995"/>
                  </a:cubicBezTo>
                  <a:lnTo>
                    <a:pt x="590585" y="34373"/>
                  </a:lnTo>
                  <a:cubicBezTo>
                    <a:pt x="610032" y="46097"/>
                    <a:pt x="625161" y="68460"/>
                    <a:pt x="624362" y="92614"/>
                  </a:cubicBezTo>
                  <a:cubicBezTo>
                    <a:pt x="623296" y="124820"/>
                    <a:pt x="594181" y="152159"/>
                    <a:pt x="561973" y="151199"/>
                  </a:cubicBezTo>
                  <a:lnTo>
                    <a:pt x="142992" y="146765"/>
                  </a:lnTo>
                  <a:cubicBezTo>
                    <a:pt x="109718" y="178011"/>
                    <a:pt x="57246" y="180476"/>
                    <a:pt x="22209" y="143164"/>
                  </a:cubicBezTo>
                  <a:cubicBezTo>
                    <a:pt x="-8934" y="109999"/>
                    <a:pt x="-7070" y="53639"/>
                    <a:pt x="26205" y="22394"/>
                  </a:cubicBezTo>
                  <a:cubicBezTo>
                    <a:pt x="42841" y="6771"/>
                    <a:pt x="65251" y="-620"/>
                    <a:pt x="87395" y="41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0E663FE6-FCE4-4396-82F0-F2E7BC2C30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86195" y="3695702"/>
              <a:ext cx="290637" cy="267449"/>
            </a:xfrm>
            <a:custGeom>
              <a:avLst/>
              <a:gdLst>
                <a:gd name="connsiteX0" fmla="*/ 290637 w 290637"/>
                <a:gd name="connsiteY0" fmla="*/ 0 h 267449"/>
                <a:gd name="connsiteX1" fmla="*/ 290637 w 290637"/>
                <a:gd name="connsiteY1" fmla="*/ 210967 h 267449"/>
                <a:gd name="connsiteX2" fmla="*/ 258366 w 290637"/>
                <a:gd name="connsiteY2" fmla="*/ 215609 h 267449"/>
                <a:gd name="connsiteX3" fmla="*/ 216275 w 290637"/>
                <a:gd name="connsiteY3" fmla="*/ 228809 h 267449"/>
                <a:gd name="connsiteX4" fmla="*/ 150830 w 290637"/>
                <a:gd name="connsiteY4" fmla="*/ 267449 h 267449"/>
                <a:gd name="connsiteX5" fmla="*/ 17811 w 290637"/>
                <a:gd name="connsiteY5" fmla="*/ 134430 h 267449"/>
                <a:gd name="connsiteX6" fmla="*/ 0 w 290637"/>
                <a:gd name="connsiteY6" fmla="*/ 114611 h 267449"/>
                <a:gd name="connsiteX7" fmla="*/ 213477 w 290637"/>
                <a:gd name="connsiteY7" fmla="*/ 9475 h 267449"/>
                <a:gd name="connsiteX8" fmla="*/ 290637 w 290637"/>
                <a:gd name="connsiteY8" fmla="*/ 0 h 267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0637" h="267449">
                  <a:moveTo>
                    <a:pt x="290637" y="0"/>
                  </a:moveTo>
                  <a:lnTo>
                    <a:pt x="290637" y="210967"/>
                  </a:lnTo>
                  <a:lnTo>
                    <a:pt x="258366" y="215609"/>
                  </a:lnTo>
                  <a:cubicBezTo>
                    <a:pt x="243909" y="218915"/>
                    <a:pt x="229837" y="223357"/>
                    <a:pt x="216275" y="228809"/>
                  </a:cubicBezTo>
                  <a:lnTo>
                    <a:pt x="150830" y="267449"/>
                  </a:lnTo>
                  <a:lnTo>
                    <a:pt x="17811" y="134430"/>
                  </a:lnTo>
                  <a:lnTo>
                    <a:pt x="0" y="114611"/>
                  </a:lnTo>
                  <a:cubicBezTo>
                    <a:pt x="63125" y="63651"/>
                    <a:pt x="135403" y="26346"/>
                    <a:pt x="213477" y="9475"/>
                  </a:cubicBezTo>
                  <a:lnTo>
                    <a:pt x="290637" y="0"/>
                  </a:lnTo>
                  <a:close/>
                </a:path>
              </a:pathLst>
            </a:custGeom>
            <a:solidFill>
              <a:srgbClr val="BBDA7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74990B7D-5670-4752-9B04-030F94AD1F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2307" y="3696054"/>
              <a:ext cx="287959" cy="266888"/>
            </a:xfrm>
            <a:custGeom>
              <a:avLst/>
              <a:gdLst>
                <a:gd name="connsiteX0" fmla="*/ 0 w 287959"/>
                <a:gd name="connsiteY0" fmla="*/ 0 h 266888"/>
                <a:gd name="connsiteX1" fmla="*/ 74803 w 287959"/>
                <a:gd name="connsiteY1" fmla="*/ 9477 h 266888"/>
                <a:gd name="connsiteX2" fmla="*/ 223047 w 287959"/>
                <a:gd name="connsiteY2" fmla="*/ 69275 h 266888"/>
                <a:gd name="connsiteX3" fmla="*/ 287959 w 287959"/>
                <a:gd name="connsiteY3" fmla="*/ 114767 h 266888"/>
                <a:gd name="connsiteX4" fmla="*/ 135839 w 287959"/>
                <a:gd name="connsiteY4" fmla="*/ 266888 h 266888"/>
                <a:gd name="connsiteX5" fmla="*/ 70848 w 287959"/>
                <a:gd name="connsiteY5" fmla="*/ 227653 h 266888"/>
                <a:gd name="connsiteX6" fmla="*/ 27150 w 287959"/>
                <a:gd name="connsiteY6" fmla="*/ 212846 h 266888"/>
                <a:gd name="connsiteX7" fmla="*/ 0 w 287959"/>
                <a:gd name="connsiteY7" fmla="*/ 208513 h 266888"/>
                <a:gd name="connsiteX8" fmla="*/ 0 w 287959"/>
                <a:gd name="connsiteY8" fmla="*/ 0 h 266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7959" h="266888">
                  <a:moveTo>
                    <a:pt x="0" y="0"/>
                  </a:moveTo>
                  <a:lnTo>
                    <a:pt x="74803" y="9477"/>
                  </a:lnTo>
                  <a:cubicBezTo>
                    <a:pt x="127104" y="20976"/>
                    <a:pt x="176854" y="41582"/>
                    <a:pt x="223047" y="69275"/>
                  </a:cubicBezTo>
                  <a:lnTo>
                    <a:pt x="287959" y="114767"/>
                  </a:lnTo>
                  <a:lnTo>
                    <a:pt x="135839" y="266888"/>
                  </a:lnTo>
                  <a:lnTo>
                    <a:pt x="70848" y="227653"/>
                  </a:lnTo>
                  <a:cubicBezTo>
                    <a:pt x="56706" y="221621"/>
                    <a:pt x="42056" y="216602"/>
                    <a:pt x="27150" y="212846"/>
                  </a:cubicBezTo>
                  <a:lnTo>
                    <a:pt x="0" y="208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5CA5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FEDB74-5CD9-4035-9305-D4D2F74405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2399" y="3857990"/>
              <a:ext cx="269161" cy="277918"/>
            </a:xfrm>
            <a:custGeom>
              <a:avLst/>
              <a:gdLst>
                <a:gd name="connsiteX0" fmla="*/ 116870 w 269161"/>
                <a:gd name="connsiteY0" fmla="*/ 0 h 277918"/>
                <a:gd name="connsiteX1" fmla="*/ 269161 w 269161"/>
                <a:gd name="connsiteY1" fmla="*/ 152291 h 277918"/>
                <a:gd name="connsiteX2" fmla="*/ 230871 w 269161"/>
                <a:gd name="connsiteY2" fmla="*/ 215717 h 277918"/>
                <a:gd name="connsiteX3" fmla="*/ 216064 w 269161"/>
                <a:gd name="connsiteY3" fmla="*/ 259415 h 277918"/>
                <a:gd name="connsiteX4" fmla="*/ 213111 w 269161"/>
                <a:gd name="connsiteY4" fmla="*/ 277918 h 277918"/>
                <a:gd name="connsiteX5" fmla="*/ 0 w 269161"/>
                <a:gd name="connsiteY5" fmla="*/ 277918 h 277918"/>
                <a:gd name="connsiteX6" fmla="*/ 10414 w 269161"/>
                <a:gd name="connsiteY6" fmla="*/ 209482 h 277918"/>
                <a:gd name="connsiteX7" fmla="*/ 70719 w 269161"/>
                <a:gd name="connsiteY7" fmla="*/ 61744 h 277918"/>
                <a:gd name="connsiteX8" fmla="*/ 116870 w 269161"/>
                <a:gd name="connsiteY8" fmla="*/ 0 h 277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9161" h="277918">
                  <a:moveTo>
                    <a:pt x="116870" y="0"/>
                  </a:moveTo>
                  <a:lnTo>
                    <a:pt x="269161" y="152291"/>
                  </a:lnTo>
                  <a:lnTo>
                    <a:pt x="230871" y="215717"/>
                  </a:lnTo>
                  <a:cubicBezTo>
                    <a:pt x="224839" y="229859"/>
                    <a:pt x="219819" y="244509"/>
                    <a:pt x="216064" y="259415"/>
                  </a:cubicBezTo>
                  <a:lnTo>
                    <a:pt x="213111" y="277918"/>
                  </a:lnTo>
                  <a:lnTo>
                    <a:pt x="0" y="277918"/>
                  </a:lnTo>
                  <a:lnTo>
                    <a:pt x="10414" y="209482"/>
                  </a:lnTo>
                  <a:cubicBezTo>
                    <a:pt x="22420" y="157688"/>
                    <a:pt x="42519" y="107430"/>
                    <a:pt x="70719" y="61744"/>
                  </a:cubicBezTo>
                  <a:lnTo>
                    <a:pt x="116870" y="0"/>
                  </a:lnTo>
                  <a:close/>
                </a:path>
              </a:pathLst>
            </a:custGeom>
            <a:solidFill>
              <a:srgbClr val="D2E7A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40F1E087-D3F6-4425-9114-BF3537C0A6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4046" y="3858113"/>
              <a:ext cx="259956" cy="228787"/>
            </a:xfrm>
            <a:custGeom>
              <a:avLst/>
              <a:gdLst>
                <a:gd name="connsiteX0" fmla="*/ 151525 w 259956"/>
                <a:gd name="connsiteY0" fmla="*/ 0 h 228787"/>
                <a:gd name="connsiteX1" fmla="*/ 187726 w 259956"/>
                <a:gd name="connsiteY1" fmla="*/ 47229 h 228787"/>
                <a:gd name="connsiteX2" fmla="*/ 249063 w 259956"/>
                <a:gd name="connsiteY2" fmla="*/ 177909 h 228787"/>
                <a:gd name="connsiteX3" fmla="*/ 259956 w 259956"/>
                <a:gd name="connsiteY3" fmla="*/ 228787 h 228787"/>
                <a:gd name="connsiteX4" fmla="*/ 41069 w 259956"/>
                <a:gd name="connsiteY4" fmla="*/ 228787 h 228787"/>
                <a:gd name="connsiteX5" fmla="*/ 24304 w 259956"/>
                <a:gd name="connsiteY5" fmla="*/ 188030 h 228787"/>
                <a:gd name="connsiteX6" fmla="*/ 0 w 259956"/>
                <a:gd name="connsiteY6" fmla="*/ 151525 h 228787"/>
                <a:gd name="connsiteX7" fmla="*/ 151525 w 259956"/>
                <a:gd name="connsiteY7" fmla="*/ 0 h 228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9956" h="228787">
                  <a:moveTo>
                    <a:pt x="151525" y="0"/>
                  </a:moveTo>
                  <a:lnTo>
                    <a:pt x="187726" y="47229"/>
                  </a:lnTo>
                  <a:cubicBezTo>
                    <a:pt x="214470" y="87842"/>
                    <a:pt x="235418" y="132240"/>
                    <a:pt x="249063" y="177909"/>
                  </a:cubicBezTo>
                  <a:lnTo>
                    <a:pt x="259956" y="228787"/>
                  </a:lnTo>
                  <a:lnTo>
                    <a:pt x="41069" y="228787"/>
                  </a:lnTo>
                  <a:lnTo>
                    <a:pt x="24304" y="188030"/>
                  </a:lnTo>
                  <a:lnTo>
                    <a:pt x="0" y="151525"/>
                  </a:lnTo>
                  <a:lnTo>
                    <a:pt x="151525" y="0"/>
                  </a:lnTo>
                  <a:close/>
                </a:path>
              </a:pathLst>
            </a:custGeom>
            <a:solidFill>
              <a:srgbClr val="7F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FA9B7C44-60B0-4A36-AD41-87BCA271F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5713" y="4217639"/>
              <a:ext cx="277662" cy="286335"/>
            </a:xfrm>
            <a:custGeom>
              <a:avLst/>
              <a:gdLst>
                <a:gd name="connsiteX0" fmla="*/ 0 w 277662"/>
                <a:gd name="connsiteY0" fmla="*/ 0 h 286335"/>
                <a:gd name="connsiteX1" fmla="*/ 211901 w 277662"/>
                <a:gd name="connsiteY1" fmla="*/ 0 h 286335"/>
                <a:gd name="connsiteX2" fmla="*/ 215712 w 277662"/>
                <a:gd name="connsiteY2" fmla="*/ 24896 h 286335"/>
                <a:gd name="connsiteX3" fmla="*/ 277662 w 277662"/>
                <a:gd name="connsiteY3" fmla="*/ 145645 h 286335"/>
                <a:gd name="connsiteX4" fmla="*/ 120833 w 277662"/>
                <a:gd name="connsiteY4" fmla="*/ 286335 h 286335"/>
                <a:gd name="connsiteX5" fmla="*/ 10016 w 277662"/>
                <a:gd name="connsiteY5" fmla="*/ 76009 h 286335"/>
                <a:gd name="connsiteX6" fmla="*/ 0 w 277662"/>
                <a:gd name="connsiteY6" fmla="*/ 0 h 286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7662" h="286335">
                  <a:moveTo>
                    <a:pt x="0" y="0"/>
                  </a:moveTo>
                  <a:lnTo>
                    <a:pt x="211901" y="0"/>
                  </a:lnTo>
                  <a:lnTo>
                    <a:pt x="215712" y="24896"/>
                  </a:lnTo>
                  <a:cubicBezTo>
                    <a:pt x="226173" y="68526"/>
                    <a:pt x="247391" y="109343"/>
                    <a:pt x="277662" y="145645"/>
                  </a:cubicBezTo>
                  <a:cubicBezTo>
                    <a:pt x="277662" y="145645"/>
                    <a:pt x="277662" y="145645"/>
                    <a:pt x="120833" y="286335"/>
                  </a:cubicBezTo>
                  <a:cubicBezTo>
                    <a:pt x="66353" y="225824"/>
                    <a:pt x="27712" y="154013"/>
                    <a:pt x="10016" y="76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1EFC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B0B91603-B77C-43AE-97FA-A3619589FB6B}"/>
                </a:ext>
              </a:extLst>
            </p:cNvPr>
            <p:cNvSpPr/>
            <p:nvPr/>
          </p:nvSpPr>
          <p:spPr bwMode="auto">
            <a:xfrm>
              <a:off x="10519812" y="4168631"/>
              <a:ext cx="624362" cy="88944"/>
            </a:xfrm>
            <a:custGeom>
              <a:avLst/>
              <a:gdLst>
                <a:gd name="connsiteX0" fmla="*/ 123 w 624362"/>
                <a:gd name="connsiteY0" fmla="*/ 0 h 88944"/>
                <a:gd name="connsiteX1" fmla="*/ 621367 w 624362"/>
                <a:gd name="connsiteY1" fmla="*/ 0 h 88944"/>
                <a:gd name="connsiteX2" fmla="*/ 624362 w 624362"/>
                <a:gd name="connsiteY2" fmla="*/ 10883 h 88944"/>
                <a:gd name="connsiteX3" fmla="*/ 561973 w 624362"/>
                <a:gd name="connsiteY3" fmla="*/ 69468 h 88944"/>
                <a:gd name="connsiteX4" fmla="*/ 142992 w 624362"/>
                <a:gd name="connsiteY4" fmla="*/ 65034 h 88944"/>
                <a:gd name="connsiteX5" fmla="*/ 22209 w 624362"/>
                <a:gd name="connsiteY5" fmla="*/ 61433 h 88944"/>
                <a:gd name="connsiteX6" fmla="*/ 50 w 624362"/>
                <a:gd name="connsiteY6" fmla="*/ 328 h 88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362" h="88944">
                  <a:moveTo>
                    <a:pt x="123" y="0"/>
                  </a:moveTo>
                  <a:lnTo>
                    <a:pt x="621367" y="0"/>
                  </a:lnTo>
                  <a:lnTo>
                    <a:pt x="624362" y="10883"/>
                  </a:lnTo>
                  <a:cubicBezTo>
                    <a:pt x="623296" y="43089"/>
                    <a:pt x="594181" y="70428"/>
                    <a:pt x="561973" y="69468"/>
                  </a:cubicBezTo>
                  <a:lnTo>
                    <a:pt x="142992" y="65034"/>
                  </a:lnTo>
                  <a:cubicBezTo>
                    <a:pt x="109718" y="96280"/>
                    <a:pt x="57246" y="98745"/>
                    <a:pt x="22209" y="61433"/>
                  </a:cubicBezTo>
                  <a:cubicBezTo>
                    <a:pt x="6638" y="44851"/>
                    <a:pt x="-682" y="22469"/>
                    <a:pt x="50" y="328"/>
                  </a:cubicBezTo>
                  <a:close/>
                </a:path>
              </a:pathLst>
            </a:custGeom>
            <a:solidFill>
              <a:srgbClr val="D83B0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4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>
                <a:solidFill>
                  <a:schemeClr val="tx1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83" name="Multiplication Sign 82">
            <a:extLst>
              <a:ext uri="{FF2B5EF4-FFF2-40B4-BE49-F238E27FC236}">
                <a16:creationId xmlns:a16="http://schemas.microsoft.com/office/drawing/2014/main" id="{12FE80B1-2323-4A5C-89AA-A792A7378491}"/>
              </a:ext>
            </a:extLst>
          </p:cNvPr>
          <p:cNvSpPr/>
          <p:nvPr/>
        </p:nvSpPr>
        <p:spPr bwMode="auto">
          <a:xfrm>
            <a:off x="6287399" y="6059271"/>
            <a:ext cx="615727" cy="615727"/>
          </a:xfrm>
          <a:prstGeom prst="mathMultiply">
            <a:avLst/>
          </a:prstGeom>
          <a:solidFill>
            <a:srgbClr val="FF0000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4" name="Multiplication Sign 83">
            <a:extLst>
              <a:ext uri="{FF2B5EF4-FFF2-40B4-BE49-F238E27FC236}">
                <a16:creationId xmlns:a16="http://schemas.microsoft.com/office/drawing/2014/main" id="{9EF52919-7FBC-4798-BF0D-A2AE676061CB}"/>
              </a:ext>
            </a:extLst>
          </p:cNvPr>
          <p:cNvSpPr/>
          <p:nvPr/>
        </p:nvSpPr>
        <p:spPr bwMode="auto">
          <a:xfrm>
            <a:off x="9243006" y="6059271"/>
            <a:ext cx="615727" cy="615727"/>
          </a:xfrm>
          <a:prstGeom prst="mathMultiply">
            <a:avLst/>
          </a:prstGeom>
          <a:solidFill>
            <a:srgbClr val="FF0000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5" name="Graphic 84" descr="Checkmark">
            <a:extLst>
              <a:ext uri="{FF2B5EF4-FFF2-40B4-BE49-F238E27FC236}">
                <a16:creationId xmlns:a16="http://schemas.microsoft.com/office/drawing/2014/main" id="{528B9307-D51E-4808-8100-02C85A56AED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61729" y="6059273"/>
            <a:ext cx="587425" cy="587425"/>
          </a:xfrm>
          <a:prstGeom prst="rect">
            <a:avLst/>
          </a:prstGeom>
        </p:spPr>
      </p:pic>
      <p:pic>
        <p:nvPicPr>
          <p:cNvPr id="86" name="Graphic 85" descr="Checkmark">
            <a:extLst>
              <a:ext uri="{FF2B5EF4-FFF2-40B4-BE49-F238E27FC236}">
                <a16:creationId xmlns:a16="http://schemas.microsoft.com/office/drawing/2014/main" id="{4C015DDE-0AF5-4FDB-818F-D0C05C69D3B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511493" y="6026665"/>
            <a:ext cx="587425" cy="587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65111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MLOps</a:t>
            </a:r>
            <a:r>
              <a:rPr lang="en-US"/>
              <a:t> Workflow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6298F9B4-C6AA-4CCD-8FB0-D4F6C055F910}"/>
              </a:ext>
            </a:extLst>
          </p:cNvPr>
          <p:cNvSpPr/>
          <p:nvPr/>
        </p:nvSpPr>
        <p:spPr>
          <a:xfrm>
            <a:off x="8266501" y="3695997"/>
            <a:ext cx="2071231" cy="5570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400">
                <a:latin typeface="Segoe UI"/>
                <a:cs typeface="Courier New" panose="02070309020205020404" pitchFamily="49" charset="0"/>
              </a:rPr>
              <a:t>Model packaging</a:t>
            </a:r>
          </a:p>
          <a:p>
            <a:pPr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400">
                <a:latin typeface="Segoe UI"/>
                <a:cs typeface="Courier New" panose="02070309020205020404" pitchFamily="49" charset="0"/>
              </a:rPr>
              <a:t>Simple deployment</a:t>
            </a:r>
          </a:p>
        </p:txBody>
      </p:sp>
      <p:pic>
        <p:nvPicPr>
          <p:cNvPr id="116" name="Picture 2" descr="https://azure.microsoft.com/images/page/services/machine-learning-service/machine-learning-service.png">
            <a:extLst>
              <a:ext uri="{FF2B5EF4-FFF2-40B4-BE49-F238E27FC236}">
                <a16:creationId xmlns:a16="http://schemas.microsoft.com/office/drawing/2014/main" id="{848E31BF-0093-4009-8D52-F776932781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1188" y="3721570"/>
            <a:ext cx="428985" cy="428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" name="Rectangle 53">
            <a:extLst>
              <a:ext uri="{FF2B5EF4-FFF2-40B4-BE49-F238E27FC236}">
                <a16:creationId xmlns:a16="http://schemas.microsoft.com/office/drawing/2014/main" id="{07546E10-388D-45D6-A103-A10FF6468AC5}"/>
              </a:ext>
            </a:extLst>
          </p:cNvPr>
          <p:cNvSpPr/>
          <p:nvPr/>
        </p:nvSpPr>
        <p:spPr bwMode="auto">
          <a:xfrm>
            <a:off x="0" y="5882365"/>
            <a:ext cx="12192000" cy="975635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EDFBBA66-F19F-4EC4-B113-68E6C0091EE0}"/>
              </a:ext>
            </a:extLst>
          </p:cNvPr>
          <p:cNvSpPr txBox="1"/>
          <p:nvPr/>
        </p:nvSpPr>
        <p:spPr>
          <a:xfrm>
            <a:off x="998524" y="6247073"/>
            <a:ext cx="205740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reproducibility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1AC600E7-0265-40A7-B838-FFBCD29FE380}"/>
              </a:ext>
            </a:extLst>
          </p:cNvPr>
          <p:cNvSpPr txBox="1"/>
          <p:nvPr/>
        </p:nvSpPr>
        <p:spPr>
          <a:xfrm>
            <a:off x="9886899" y="6247073"/>
            <a:ext cx="156856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retraining</a:t>
            </a:r>
          </a:p>
        </p:txBody>
      </p:sp>
      <p:pic>
        <p:nvPicPr>
          <p:cNvPr id="58" name="Graphic 57" descr="Close">
            <a:extLst>
              <a:ext uri="{FF2B5EF4-FFF2-40B4-BE49-F238E27FC236}">
                <a16:creationId xmlns:a16="http://schemas.microsoft.com/office/drawing/2014/main" id="{9D3B24C3-E2E2-402B-ACED-3483100B062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474182" y="6217409"/>
            <a:ext cx="305548" cy="305548"/>
          </a:xfrm>
          <a:prstGeom prst="rect">
            <a:avLst/>
          </a:prstGeom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CAA36F42-E364-413D-9504-6DDE7F0649A1}"/>
              </a:ext>
            </a:extLst>
          </p:cNvPr>
          <p:cNvSpPr txBox="1"/>
          <p:nvPr/>
        </p:nvSpPr>
        <p:spPr>
          <a:xfrm>
            <a:off x="6883617" y="6247073"/>
            <a:ext cx="1903823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deployment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D1FAF924-F07D-450C-9290-B077DF0623CC}"/>
              </a:ext>
            </a:extLst>
          </p:cNvPr>
          <p:cNvSpPr txBox="1"/>
          <p:nvPr/>
        </p:nvSpPr>
        <p:spPr>
          <a:xfrm>
            <a:off x="4153974" y="6247073"/>
            <a:ext cx="1630183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validation</a:t>
            </a:r>
          </a:p>
        </p:txBody>
      </p:sp>
      <p:sp>
        <p:nvSpPr>
          <p:cNvPr id="79" name="Rectangle 1">
            <a:extLst>
              <a:ext uri="{FF2B5EF4-FFF2-40B4-BE49-F238E27FC236}">
                <a16:creationId xmlns:a16="http://schemas.microsoft.com/office/drawing/2014/main" id="{5C9703D1-6A5E-4E8C-94C7-1A254EB8F85D}"/>
              </a:ext>
            </a:extLst>
          </p:cNvPr>
          <p:cNvSpPr/>
          <p:nvPr/>
        </p:nvSpPr>
        <p:spPr bwMode="auto">
          <a:xfrm>
            <a:off x="1750229" y="3100478"/>
            <a:ext cx="1602571" cy="1201455"/>
          </a:xfrm>
          <a:custGeom>
            <a:avLst/>
            <a:gdLst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4" fmla="*/ 0 w 1471327"/>
              <a:gd name="connsiteY4" fmla="*/ 0 h 1520291"/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4" fmla="*/ 91440 w 1471327"/>
              <a:gd name="connsiteY4" fmla="*/ 91440 h 1520291"/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0" fmla="*/ 1471327 w 1471327"/>
              <a:gd name="connsiteY0" fmla="*/ 0 h 1520291"/>
              <a:gd name="connsiteX1" fmla="*/ 1471327 w 1471327"/>
              <a:gd name="connsiteY1" fmla="*/ 1520291 h 1520291"/>
              <a:gd name="connsiteX2" fmla="*/ 0 w 1471327"/>
              <a:gd name="connsiteY2" fmla="*/ 1520291 h 1520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71327" h="1520291">
                <a:moveTo>
                  <a:pt x="1471327" y="0"/>
                </a:moveTo>
                <a:lnTo>
                  <a:pt x="1471327" y="1520291"/>
                </a:lnTo>
                <a:lnTo>
                  <a:pt x="0" y="1520291"/>
                </a:lnTo>
              </a:path>
            </a:pathLst>
          </a:custGeom>
          <a:ln w="19050">
            <a:solidFill>
              <a:schemeClr val="accent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5C51E18E-6DE7-4E7F-A064-19D1D0703142}"/>
              </a:ext>
            </a:extLst>
          </p:cNvPr>
          <p:cNvSpPr txBox="1"/>
          <p:nvPr/>
        </p:nvSpPr>
        <p:spPr>
          <a:xfrm>
            <a:off x="4393647" y="3033672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Train model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000B988D-0867-4789-809C-0402C2635572}"/>
              </a:ext>
            </a:extLst>
          </p:cNvPr>
          <p:cNvSpPr txBox="1"/>
          <p:nvPr/>
        </p:nvSpPr>
        <p:spPr>
          <a:xfrm>
            <a:off x="6063707" y="3033672"/>
            <a:ext cx="1531424" cy="535531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Courier New" panose="02070309020205020404" pitchFamily="49" charset="0"/>
              </a:defRPr>
            </a:lvl1pPr>
          </a:lstStyle>
          <a:p>
            <a:pPr defTabSz="914377">
              <a:defRPr/>
            </a:pPr>
            <a:r>
              <a:rPr lang="en-US">
                <a:solidFill>
                  <a:schemeClr val="tx1"/>
                </a:solidFill>
                <a:latin typeface="Segoe UI Semibold"/>
              </a:rPr>
              <a:t>Validate model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657B3E06-129C-40C6-B77C-F0ED01178DA1}"/>
              </a:ext>
            </a:extLst>
          </p:cNvPr>
          <p:cNvSpPr txBox="1"/>
          <p:nvPr/>
        </p:nvSpPr>
        <p:spPr>
          <a:xfrm>
            <a:off x="8067399" y="3033672"/>
            <a:ext cx="1344880" cy="535531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Courier New" panose="02070309020205020404" pitchFamily="49" charset="0"/>
              </a:defRPr>
            </a:lvl1pPr>
          </a:lstStyle>
          <a:p>
            <a:pPr defTabSz="914377">
              <a:defRPr/>
            </a:pPr>
            <a:r>
              <a:rPr lang="en-US">
                <a:solidFill>
                  <a:schemeClr val="tx1"/>
                </a:solidFill>
                <a:latin typeface="Segoe UI Semibold"/>
              </a:rPr>
              <a:t>Deploy model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EFC7D29C-3A9E-4232-9EE4-34DCAACF2852}"/>
              </a:ext>
            </a:extLst>
          </p:cNvPr>
          <p:cNvSpPr txBox="1"/>
          <p:nvPr/>
        </p:nvSpPr>
        <p:spPr>
          <a:xfrm>
            <a:off x="4393647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Build app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EE0A5AB4-9073-423F-99C0-C80103DE51AB}"/>
              </a:ext>
            </a:extLst>
          </p:cNvPr>
          <p:cNvSpPr txBox="1"/>
          <p:nvPr/>
        </p:nvSpPr>
        <p:spPr>
          <a:xfrm>
            <a:off x="2683329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Collaborat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152A93FF-994D-49FE-BC44-F75B4926FB30}"/>
              </a:ext>
            </a:extLst>
          </p:cNvPr>
          <p:cNvSpPr txBox="1"/>
          <p:nvPr/>
        </p:nvSpPr>
        <p:spPr>
          <a:xfrm>
            <a:off x="6156979" y="1832445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Test app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A1D48EA3-BFF1-4D2F-AB11-559EFE0394CB}"/>
              </a:ext>
            </a:extLst>
          </p:cNvPr>
          <p:cNvSpPr txBox="1"/>
          <p:nvPr/>
        </p:nvSpPr>
        <p:spPr>
          <a:xfrm>
            <a:off x="8067399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Release app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972A9F71-0DC2-47D8-9392-0EA8012F8DE7}"/>
              </a:ext>
            </a:extLst>
          </p:cNvPr>
          <p:cNvSpPr txBox="1"/>
          <p:nvPr/>
        </p:nvSpPr>
        <p:spPr>
          <a:xfrm>
            <a:off x="9858731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Monitor app</a:t>
            </a:r>
          </a:p>
        </p:txBody>
      </p:sp>
      <p:cxnSp>
        <p:nvCxnSpPr>
          <p:cNvPr id="131" name="Straight Arrow Connector 130">
            <a:extLst>
              <a:ext uri="{FF2B5EF4-FFF2-40B4-BE49-F238E27FC236}">
                <a16:creationId xmlns:a16="http://schemas.microsoft.com/office/drawing/2014/main" id="{0A5D1AC0-E4FB-4B70-ABDC-B61E00429B5B}"/>
              </a:ext>
            </a:extLst>
          </p:cNvPr>
          <p:cNvCxnSpPr>
            <a:cxnSpLocks/>
          </p:cNvCxnSpPr>
          <p:nvPr/>
        </p:nvCxnSpPr>
        <p:spPr>
          <a:xfrm flipV="1">
            <a:off x="3850225" y="2520243"/>
            <a:ext cx="774497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Arrow Connector 131">
            <a:extLst>
              <a:ext uri="{FF2B5EF4-FFF2-40B4-BE49-F238E27FC236}">
                <a16:creationId xmlns:a16="http://schemas.microsoft.com/office/drawing/2014/main" id="{E52A9259-5D2B-405F-AEA5-233B26928FD4}"/>
              </a:ext>
            </a:extLst>
          </p:cNvPr>
          <p:cNvCxnSpPr>
            <a:cxnSpLocks/>
          </p:cNvCxnSpPr>
          <p:nvPr/>
        </p:nvCxnSpPr>
        <p:spPr>
          <a:xfrm>
            <a:off x="5570645" y="2520243"/>
            <a:ext cx="946287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Arrow Connector 132">
            <a:extLst>
              <a:ext uri="{FF2B5EF4-FFF2-40B4-BE49-F238E27FC236}">
                <a16:creationId xmlns:a16="http://schemas.microsoft.com/office/drawing/2014/main" id="{0E40FF2E-AE02-4EE9-880A-DF5259485E3D}"/>
              </a:ext>
            </a:extLst>
          </p:cNvPr>
          <p:cNvCxnSpPr>
            <a:cxnSpLocks/>
          </p:cNvCxnSpPr>
          <p:nvPr/>
        </p:nvCxnSpPr>
        <p:spPr>
          <a:xfrm>
            <a:off x="7196682" y="2520243"/>
            <a:ext cx="109930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Arrow Connector 134">
            <a:extLst>
              <a:ext uri="{FF2B5EF4-FFF2-40B4-BE49-F238E27FC236}">
                <a16:creationId xmlns:a16="http://schemas.microsoft.com/office/drawing/2014/main" id="{40B80087-B4DC-45BD-9324-3630908726A1}"/>
              </a:ext>
            </a:extLst>
          </p:cNvPr>
          <p:cNvCxnSpPr>
            <a:cxnSpLocks/>
          </p:cNvCxnSpPr>
          <p:nvPr/>
        </p:nvCxnSpPr>
        <p:spPr>
          <a:xfrm>
            <a:off x="9112623" y="2520243"/>
            <a:ext cx="962699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09E87BA4-B484-436F-9F62-1211F6DA47A3}"/>
              </a:ext>
            </a:extLst>
          </p:cNvPr>
          <p:cNvGrpSpPr/>
          <p:nvPr/>
        </p:nvGrpSpPr>
        <p:grpSpPr>
          <a:xfrm>
            <a:off x="3034411" y="2271608"/>
            <a:ext cx="642716" cy="643947"/>
            <a:chOff x="3034411" y="2271607"/>
            <a:chExt cx="642716" cy="643947"/>
          </a:xfrm>
        </p:grpSpPr>
        <p:sp useBgFill="1">
          <p:nvSpPr>
            <p:cNvPr id="137" name="Freeform 5">
              <a:extLst>
                <a:ext uri="{FF2B5EF4-FFF2-40B4-BE49-F238E27FC236}">
                  <a16:creationId xmlns:a16="http://schemas.microsoft.com/office/drawing/2014/main" id="{27C54B8C-49CA-4204-A422-2C66C17CFE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4411" y="2271607"/>
              <a:ext cx="642716" cy="643947"/>
            </a:xfrm>
            <a:prstGeom prst="ellipse">
              <a:avLst/>
            </a:prstGeom>
            <a:solidFill>
              <a:schemeClr val="bg1"/>
            </a:solidFill>
            <a:ln w="10795" cap="flat" cmpd="sng" algn="ctr">
              <a:noFill/>
              <a:prstDash val="solid"/>
            </a:ln>
            <a:effectLst>
              <a:outerShdw blurRad="190500" dist="38100" dir="2700000" algn="tl" rotWithShape="0">
                <a:prstClr val="black">
                  <a:alpha val="25000"/>
                </a:prstClr>
              </a:outerShdw>
            </a:effectLst>
          </p:spPr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ts val="600"/>
                </a:spcBef>
                <a:defRPr/>
              </a:pPr>
              <a:endParaRPr lang="en-US" sz="2000">
                <a:latin typeface="Segoe UI Semilight"/>
              </a:endParaRPr>
            </a:p>
          </p:txBody>
        </p:sp>
        <p:grpSp>
          <p:nvGrpSpPr>
            <p:cNvPr id="138" name="Group 137">
              <a:extLst>
                <a:ext uri="{FF2B5EF4-FFF2-40B4-BE49-F238E27FC236}">
                  <a16:creationId xmlns:a16="http://schemas.microsoft.com/office/drawing/2014/main" id="{AC475807-7B21-469A-A3CE-1B7F612BCBF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034411" y="2273421"/>
              <a:ext cx="642716" cy="628550"/>
              <a:chOff x="6634" y="3297"/>
              <a:chExt cx="2092" cy="2046"/>
            </a:xfrm>
            <a:solidFill>
              <a:schemeClr val="tx1"/>
            </a:solidFill>
          </p:grpSpPr>
          <p:sp>
            <p:nvSpPr>
              <p:cNvPr id="139" name="Freeform 5">
                <a:extLst>
                  <a:ext uri="{FF2B5EF4-FFF2-40B4-BE49-F238E27FC236}">
                    <a16:creationId xmlns:a16="http://schemas.microsoft.com/office/drawing/2014/main" id="{2B1291E7-7605-434C-8BB3-7B00CB0F4D3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4" y="3297"/>
                <a:ext cx="2092" cy="2046"/>
              </a:xfrm>
              <a:custGeom>
                <a:avLst/>
                <a:gdLst>
                  <a:gd name="T0" fmla="*/ 594 w 1187"/>
                  <a:gd name="T1" fmla="*/ 0 h 1161"/>
                  <a:gd name="T2" fmla="*/ 594 w 1187"/>
                  <a:gd name="T3" fmla="*/ 0 h 1161"/>
                  <a:gd name="T4" fmla="*/ 0 w 1187"/>
                  <a:gd name="T5" fmla="*/ 592 h 1161"/>
                  <a:gd name="T6" fmla="*/ 406 w 1187"/>
                  <a:gd name="T7" fmla="*/ 1155 h 1161"/>
                  <a:gd name="T8" fmla="*/ 446 w 1187"/>
                  <a:gd name="T9" fmla="*/ 1126 h 1161"/>
                  <a:gd name="T10" fmla="*/ 445 w 1187"/>
                  <a:gd name="T11" fmla="*/ 1016 h 1161"/>
                  <a:gd name="T12" fmla="*/ 246 w 1187"/>
                  <a:gd name="T13" fmla="*/ 946 h 1161"/>
                  <a:gd name="T14" fmla="*/ 179 w 1187"/>
                  <a:gd name="T15" fmla="*/ 859 h 1161"/>
                  <a:gd name="T16" fmla="*/ 184 w 1187"/>
                  <a:gd name="T17" fmla="*/ 823 h 1161"/>
                  <a:gd name="T18" fmla="*/ 274 w 1187"/>
                  <a:gd name="T19" fmla="*/ 884 h 1161"/>
                  <a:gd name="T20" fmla="*/ 448 w 1187"/>
                  <a:gd name="T21" fmla="*/ 934 h 1161"/>
                  <a:gd name="T22" fmla="*/ 485 w 1187"/>
                  <a:gd name="T23" fmla="*/ 854 h 1161"/>
                  <a:gd name="T24" fmla="*/ 215 w 1187"/>
                  <a:gd name="T25" fmla="*/ 561 h 1161"/>
                  <a:gd name="T26" fmla="*/ 276 w 1187"/>
                  <a:gd name="T27" fmla="*/ 402 h 1161"/>
                  <a:gd name="T28" fmla="*/ 282 w 1187"/>
                  <a:gd name="T29" fmla="*/ 245 h 1161"/>
                  <a:gd name="T30" fmla="*/ 445 w 1187"/>
                  <a:gd name="T31" fmla="*/ 305 h 1161"/>
                  <a:gd name="T32" fmla="*/ 594 w 1187"/>
                  <a:gd name="T33" fmla="*/ 285 h 1161"/>
                  <a:gd name="T34" fmla="*/ 742 w 1187"/>
                  <a:gd name="T35" fmla="*/ 305 h 1161"/>
                  <a:gd name="T36" fmla="*/ 906 w 1187"/>
                  <a:gd name="T37" fmla="*/ 245 h 1161"/>
                  <a:gd name="T38" fmla="*/ 911 w 1187"/>
                  <a:gd name="T39" fmla="*/ 402 h 1161"/>
                  <a:gd name="T40" fmla="*/ 972 w 1187"/>
                  <a:gd name="T41" fmla="*/ 561 h 1161"/>
                  <a:gd name="T42" fmla="*/ 701 w 1187"/>
                  <a:gd name="T43" fmla="*/ 853 h 1161"/>
                  <a:gd name="T44" fmla="*/ 741 w 1187"/>
                  <a:gd name="T45" fmla="*/ 963 h 1161"/>
                  <a:gd name="T46" fmla="*/ 740 w 1187"/>
                  <a:gd name="T47" fmla="*/ 1126 h 1161"/>
                  <a:gd name="T48" fmla="*/ 782 w 1187"/>
                  <a:gd name="T49" fmla="*/ 1155 h 1161"/>
                  <a:gd name="T50" fmla="*/ 1187 w 1187"/>
                  <a:gd name="T51" fmla="*/ 592 h 1161"/>
                  <a:gd name="T52" fmla="*/ 594 w 1187"/>
                  <a:gd name="T53" fmla="*/ 0 h 1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87" h="1161">
                    <a:moveTo>
                      <a:pt x="594" y="0"/>
                    </a:moveTo>
                    <a:cubicBezTo>
                      <a:pt x="594" y="0"/>
                      <a:pt x="594" y="0"/>
                      <a:pt x="594" y="0"/>
                    </a:cubicBezTo>
                    <a:cubicBezTo>
                      <a:pt x="265" y="0"/>
                      <a:pt x="0" y="264"/>
                      <a:pt x="0" y="592"/>
                    </a:cubicBezTo>
                    <a:cubicBezTo>
                      <a:pt x="0" y="854"/>
                      <a:pt x="170" y="1077"/>
                      <a:pt x="406" y="1155"/>
                    </a:cubicBezTo>
                    <a:cubicBezTo>
                      <a:pt x="435" y="1161"/>
                      <a:pt x="446" y="1142"/>
                      <a:pt x="446" y="1126"/>
                    </a:cubicBezTo>
                    <a:cubicBezTo>
                      <a:pt x="446" y="1112"/>
                      <a:pt x="445" y="1066"/>
                      <a:pt x="445" y="1016"/>
                    </a:cubicBezTo>
                    <a:cubicBezTo>
                      <a:pt x="280" y="1052"/>
                      <a:pt x="246" y="946"/>
                      <a:pt x="246" y="946"/>
                    </a:cubicBezTo>
                    <a:cubicBezTo>
                      <a:pt x="218" y="877"/>
                      <a:pt x="179" y="859"/>
                      <a:pt x="179" y="859"/>
                    </a:cubicBezTo>
                    <a:cubicBezTo>
                      <a:pt x="125" y="822"/>
                      <a:pt x="184" y="823"/>
                      <a:pt x="184" y="823"/>
                    </a:cubicBezTo>
                    <a:cubicBezTo>
                      <a:pt x="243" y="827"/>
                      <a:pt x="274" y="884"/>
                      <a:pt x="274" y="884"/>
                    </a:cubicBezTo>
                    <a:cubicBezTo>
                      <a:pt x="327" y="975"/>
                      <a:pt x="414" y="948"/>
                      <a:pt x="448" y="934"/>
                    </a:cubicBezTo>
                    <a:cubicBezTo>
                      <a:pt x="453" y="895"/>
                      <a:pt x="468" y="869"/>
                      <a:pt x="485" y="854"/>
                    </a:cubicBezTo>
                    <a:cubicBezTo>
                      <a:pt x="353" y="839"/>
                      <a:pt x="215" y="789"/>
                      <a:pt x="215" y="561"/>
                    </a:cubicBezTo>
                    <a:cubicBezTo>
                      <a:pt x="215" y="496"/>
                      <a:pt x="237" y="443"/>
                      <a:pt x="276" y="402"/>
                    </a:cubicBezTo>
                    <a:cubicBezTo>
                      <a:pt x="269" y="387"/>
                      <a:pt x="249" y="327"/>
                      <a:pt x="282" y="245"/>
                    </a:cubicBezTo>
                    <a:cubicBezTo>
                      <a:pt x="282" y="245"/>
                      <a:pt x="331" y="229"/>
                      <a:pt x="445" y="305"/>
                    </a:cubicBezTo>
                    <a:cubicBezTo>
                      <a:pt x="492" y="293"/>
                      <a:pt x="543" y="286"/>
                      <a:pt x="594" y="285"/>
                    </a:cubicBezTo>
                    <a:cubicBezTo>
                      <a:pt x="644" y="286"/>
                      <a:pt x="695" y="293"/>
                      <a:pt x="742" y="305"/>
                    </a:cubicBezTo>
                    <a:cubicBezTo>
                      <a:pt x="855" y="229"/>
                      <a:pt x="906" y="245"/>
                      <a:pt x="906" y="245"/>
                    </a:cubicBezTo>
                    <a:cubicBezTo>
                      <a:pt x="937" y="327"/>
                      <a:pt x="917" y="387"/>
                      <a:pt x="911" y="402"/>
                    </a:cubicBezTo>
                    <a:cubicBezTo>
                      <a:pt x="949" y="443"/>
                      <a:pt x="972" y="496"/>
                      <a:pt x="972" y="561"/>
                    </a:cubicBezTo>
                    <a:cubicBezTo>
                      <a:pt x="972" y="789"/>
                      <a:pt x="833" y="839"/>
                      <a:pt x="701" y="853"/>
                    </a:cubicBezTo>
                    <a:cubicBezTo>
                      <a:pt x="723" y="872"/>
                      <a:pt x="741" y="908"/>
                      <a:pt x="741" y="963"/>
                    </a:cubicBezTo>
                    <a:cubicBezTo>
                      <a:pt x="741" y="1043"/>
                      <a:pt x="740" y="1107"/>
                      <a:pt x="740" y="1126"/>
                    </a:cubicBezTo>
                    <a:cubicBezTo>
                      <a:pt x="740" y="1142"/>
                      <a:pt x="751" y="1161"/>
                      <a:pt x="782" y="1155"/>
                    </a:cubicBezTo>
                    <a:cubicBezTo>
                      <a:pt x="1017" y="1076"/>
                      <a:pt x="1187" y="854"/>
                      <a:pt x="1187" y="592"/>
                    </a:cubicBezTo>
                    <a:cubicBezTo>
                      <a:pt x="1187" y="264"/>
                      <a:pt x="921" y="0"/>
                      <a:pt x="59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40" name="Freeform 6">
                <a:extLst>
                  <a:ext uri="{FF2B5EF4-FFF2-40B4-BE49-F238E27FC236}">
                    <a16:creationId xmlns:a16="http://schemas.microsoft.com/office/drawing/2014/main" id="{2A141CE7-F828-4D24-811D-43FADD8FFF2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01" y="4776"/>
                <a:ext cx="31" cy="26"/>
              </a:xfrm>
              <a:custGeom>
                <a:avLst/>
                <a:gdLst>
                  <a:gd name="T0" fmla="*/ 16 w 18"/>
                  <a:gd name="T1" fmla="*/ 11 h 15"/>
                  <a:gd name="T2" fmla="*/ 16 w 18"/>
                  <a:gd name="T3" fmla="*/ 11 h 15"/>
                  <a:gd name="T4" fmla="*/ 7 w 18"/>
                  <a:gd name="T5" fmla="*/ 13 h 15"/>
                  <a:gd name="T6" fmla="*/ 1 w 18"/>
                  <a:gd name="T7" fmla="*/ 4 h 15"/>
                  <a:gd name="T8" fmla="*/ 11 w 18"/>
                  <a:gd name="T9" fmla="*/ 3 h 15"/>
                  <a:gd name="T10" fmla="*/ 16 w 18"/>
                  <a:gd name="T11" fmla="*/ 1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15">
                    <a:moveTo>
                      <a:pt x="16" y="11"/>
                    </a:moveTo>
                    <a:cubicBezTo>
                      <a:pt x="16" y="11"/>
                      <a:pt x="16" y="11"/>
                      <a:pt x="16" y="11"/>
                    </a:cubicBezTo>
                    <a:cubicBezTo>
                      <a:pt x="15" y="14"/>
                      <a:pt x="10" y="15"/>
                      <a:pt x="7" y="13"/>
                    </a:cubicBezTo>
                    <a:cubicBezTo>
                      <a:pt x="2" y="11"/>
                      <a:pt x="0" y="7"/>
                      <a:pt x="1" y="4"/>
                    </a:cubicBezTo>
                    <a:cubicBezTo>
                      <a:pt x="2" y="1"/>
                      <a:pt x="7" y="0"/>
                      <a:pt x="11" y="3"/>
                    </a:cubicBezTo>
                    <a:cubicBezTo>
                      <a:pt x="15" y="4"/>
                      <a:pt x="18" y="9"/>
                      <a:pt x="16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41" name="Freeform 7">
                <a:extLst>
                  <a:ext uri="{FF2B5EF4-FFF2-40B4-BE49-F238E27FC236}">
                    <a16:creationId xmlns:a16="http://schemas.microsoft.com/office/drawing/2014/main" id="{50E3DF97-1E21-4400-BE13-703F8B39AA8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43" y="4811"/>
                <a:ext cx="33" cy="37"/>
              </a:xfrm>
              <a:custGeom>
                <a:avLst/>
                <a:gdLst>
                  <a:gd name="T0" fmla="*/ 17 w 19"/>
                  <a:gd name="T1" fmla="*/ 18 h 21"/>
                  <a:gd name="T2" fmla="*/ 17 w 19"/>
                  <a:gd name="T3" fmla="*/ 18 h 21"/>
                  <a:gd name="T4" fmla="*/ 5 w 19"/>
                  <a:gd name="T5" fmla="*/ 16 h 21"/>
                  <a:gd name="T6" fmla="*/ 3 w 19"/>
                  <a:gd name="T7" fmla="*/ 3 h 21"/>
                  <a:gd name="T8" fmla="*/ 15 w 19"/>
                  <a:gd name="T9" fmla="*/ 6 h 21"/>
                  <a:gd name="T10" fmla="*/ 17 w 19"/>
                  <a:gd name="T11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21">
                    <a:moveTo>
                      <a:pt x="17" y="18"/>
                    </a:moveTo>
                    <a:cubicBezTo>
                      <a:pt x="17" y="18"/>
                      <a:pt x="17" y="18"/>
                      <a:pt x="17" y="18"/>
                    </a:cubicBezTo>
                    <a:cubicBezTo>
                      <a:pt x="14" y="21"/>
                      <a:pt x="8" y="19"/>
                      <a:pt x="5" y="16"/>
                    </a:cubicBezTo>
                    <a:cubicBezTo>
                      <a:pt x="0" y="11"/>
                      <a:pt x="0" y="5"/>
                      <a:pt x="3" y="3"/>
                    </a:cubicBezTo>
                    <a:cubicBezTo>
                      <a:pt x="5" y="0"/>
                      <a:pt x="11" y="2"/>
                      <a:pt x="15" y="6"/>
                    </a:cubicBezTo>
                    <a:cubicBezTo>
                      <a:pt x="19" y="10"/>
                      <a:pt x="19" y="16"/>
                      <a:pt x="17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42" name="Freeform 8">
                <a:extLst>
                  <a:ext uri="{FF2B5EF4-FFF2-40B4-BE49-F238E27FC236}">
                    <a16:creationId xmlns:a16="http://schemas.microsoft.com/office/drawing/2014/main" id="{8B4C6119-548B-44D1-B6AD-D85D3392BB8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84" y="4865"/>
                <a:ext cx="37" cy="43"/>
              </a:xfrm>
              <a:custGeom>
                <a:avLst/>
                <a:gdLst>
                  <a:gd name="T0" fmla="*/ 17 w 21"/>
                  <a:gd name="T1" fmla="*/ 22 h 24"/>
                  <a:gd name="T2" fmla="*/ 17 w 21"/>
                  <a:gd name="T3" fmla="*/ 22 h 24"/>
                  <a:gd name="T4" fmla="*/ 4 w 21"/>
                  <a:gd name="T5" fmla="*/ 16 h 24"/>
                  <a:gd name="T6" fmla="*/ 4 w 21"/>
                  <a:gd name="T7" fmla="*/ 2 h 24"/>
                  <a:gd name="T8" fmla="*/ 17 w 21"/>
                  <a:gd name="T9" fmla="*/ 7 h 24"/>
                  <a:gd name="T10" fmla="*/ 17 w 21"/>
                  <a:gd name="T11" fmla="*/ 2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" h="24">
                    <a:moveTo>
                      <a:pt x="17" y="22"/>
                    </a:moveTo>
                    <a:cubicBezTo>
                      <a:pt x="17" y="22"/>
                      <a:pt x="17" y="22"/>
                      <a:pt x="17" y="22"/>
                    </a:cubicBezTo>
                    <a:cubicBezTo>
                      <a:pt x="13" y="24"/>
                      <a:pt x="8" y="22"/>
                      <a:pt x="4" y="16"/>
                    </a:cubicBezTo>
                    <a:cubicBezTo>
                      <a:pt x="0" y="11"/>
                      <a:pt x="0" y="5"/>
                      <a:pt x="4" y="2"/>
                    </a:cubicBezTo>
                    <a:cubicBezTo>
                      <a:pt x="8" y="0"/>
                      <a:pt x="13" y="2"/>
                      <a:pt x="17" y="7"/>
                    </a:cubicBezTo>
                    <a:cubicBezTo>
                      <a:pt x="21" y="13"/>
                      <a:pt x="21" y="19"/>
                      <a:pt x="17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43" name="Freeform 9">
                <a:extLst>
                  <a:ext uri="{FF2B5EF4-FFF2-40B4-BE49-F238E27FC236}">
                    <a16:creationId xmlns:a16="http://schemas.microsoft.com/office/drawing/2014/main" id="{E16016B9-566E-42DB-A17C-2399844B528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31" y="4924"/>
                <a:ext cx="46" cy="44"/>
              </a:xfrm>
              <a:custGeom>
                <a:avLst/>
                <a:gdLst>
                  <a:gd name="T0" fmla="*/ 22 w 26"/>
                  <a:gd name="T1" fmla="*/ 22 h 25"/>
                  <a:gd name="T2" fmla="*/ 22 w 26"/>
                  <a:gd name="T3" fmla="*/ 22 h 25"/>
                  <a:gd name="T4" fmla="*/ 7 w 26"/>
                  <a:gd name="T5" fmla="*/ 19 h 25"/>
                  <a:gd name="T6" fmla="*/ 3 w 26"/>
                  <a:gd name="T7" fmla="*/ 4 h 25"/>
                  <a:gd name="T8" fmla="*/ 19 w 26"/>
                  <a:gd name="T9" fmla="*/ 6 h 25"/>
                  <a:gd name="T10" fmla="*/ 22 w 26"/>
                  <a:gd name="T11" fmla="*/ 2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25">
                    <a:moveTo>
                      <a:pt x="22" y="22"/>
                    </a:moveTo>
                    <a:cubicBezTo>
                      <a:pt x="22" y="22"/>
                      <a:pt x="22" y="22"/>
                      <a:pt x="22" y="22"/>
                    </a:cubicBezTo>
                    <a:cubicBezTo>
                      <a:pt x="19" y="25"/>
                      <a:pt x="12" y="24"/>
                      <a:pt x="7" y="19"/>
                    </a:cubicBezTo>
                    <a:cubicBezTo>
                      <a:pt x="2" y="14"/>
                      <a:pt x="0" y="8"/>
                      <a:pt x="3" y="4"/>
                    </a:cubicBezTo>
                    <a:cubicBezTo>
                      <a:pt x="7" y="0"/>
                      <a:pt x="14" y="1"/>
                      <a:pt x="19" y="6"/>
                    </a:cubicBezTo>
                    <a:cubicBezTo>
                      <a:pt x="24" y="11"/>
                      <a:pt x="26" y="18"/>
                      <a:pt x="22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44" name="Freeform 10">
                <a:extLst>
                  <a:ext uri="{FF2B5EF4-FFF2-40B4-BE49-F238E27FC236}">
                    <a16:creationId xmlns:a16="http://schemas.microsoft.com/office/drawing/2014/main" id="{4D111662-C5B8-4154-992D-9D8621C2A3D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02" y="4969"/>
                <a:ext cx="49" cy="39"/>
              </a:xfrm>
              <a:custGeom>
                <a:avLst/>
                <a:gdLst>
                  <a:gd name="T0" fmla="*/ 26 w 28"/>
                  <a:gd name="T1" fmla="*/ 15 h 22"/>
                  <a:gd name="T2" fmla="*/ 26 w 28"/>
                  <a:gd name="T3" fmla="*/ 15 h 22"/>
                  <a:gd name="T4" fmla="*/ 11 w 28"/>
                  <a:gd name="T5" fmla="*/ 19 h 22"/>
                  <a:gd name="T6" fmla="*/ 2 w 28"/>
                  <a:gd name="T7" fmla="*/ 8 h 22"/>
                  <a:gd name="T8" fmla="*/ 16 w 28"/>
                  <a:gd name="T9" fmla="*/ 2 h 22"/>
                  <a:gd name="T10" fmla="*/ 26 w 28"/>
                  <a:gd name="T11" fmla="*/ 1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22">
                    <a:moveTo>
                      <a:pt x="26" y="15"/>
                    </a:moveTo>
                    <a:cubicBezTo>
                      <a:pt x="26" y="15"/>
                      <a:pt x="26" y="15"/>
                      <a:pt x="26" y="15"/>
                    </a:cubicBezTo>
                    <a:cubicBezTo>
                      <a:pt x="25" y="19"/>
                      <a:pt x="18" y="22"/>
                      <a:pt x="11" y="19"/>
                    </a:cubicBezTo>
                    <a:cubicBezTo>
                      <a:pt x="5" y="17"/>
                      <a:pt x="0" y="12"/>
                      <a:pt x="2" y="8"/>
                    </a:cubicBezTo>
                    <a:cubicBezTo>
                      <a:pt x="3" y="2"/>
                      <a:pt x="10" y="0"/>
                      <a:pt x="16" y="2"/>
                    </a:cubicBezTo>
                    <a:cubicBezTo>
                      <a:pt x="23" y="5"/>
                      <a:pt x="28" y="10"/>
                      <a:pt x="26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45" name="Freeform 11">
                <a:extLst>
                  <a:ext uri="{FF2B5EF4-FFF2-40B4-BE49-F238E27FC236}">
                    <a16:creationId xmlns:a16="http://schemas.microsoft.com/office/drawing/2014/main" id="{84493954-5775-45CA-BF0F-C03AB850D58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90" y="4985"/>
                <a:ext cx="44" cy="32"/>
              </a:xfrm>
              <a:custGeom>
                <a:avLst/>
                <a:gdLst>
                  <a:gd name="T0" fmla="*/ 25 w 25"/>
                  <a:gd name="T1" fmla="*/ 9 h 18"/>
                  <a:gd name="T2" fmla="*/ 25 w 25"/>
                  <a:gd name="T3" fmla="*/ 9 h 18"/>
                  <a:gd name="T4" fmla="*/ 12 w 25"/>
                  <a:gd name="T5" fmla="*/ 18 h 18"/>
                  <a:gd name="T6" fmla="*/ 0 w 25"/>
                  <a:gd name="T7" fmla="*/ 10 h 18"/>
                  <a:gd name="T8" fmla="*/ 12 w 25"/>
                  <a:gd name="T9" fmla="*/ 1 h 18"/>
                  <a:gd name="T10" fmla="*/ 25 w 25"/>
                  <a:gd name="T11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" h="18">
                    <a:moveTo>
                      <a:pt x="25" y="9"/>
                    </a:moveTo>
                    <a:cubicBezTo>
                      <a:pt x="25" y="9"/>
                      <a:pt x="25" y="9"/>
                      <a:pt x="25" y="9"/>
                    </a:cubicBezTo>
                    <a:cubicBezTo>
                      <a:pt x="25" y="14"/>
                      <a:pt x="20" y="18"/>
                      <a:pt x="12" y="18"/>
                    </a:cubicBezTo>
                    <a:cubicBezTo>
                      <a:pt x="6" y="18"/>
                      <a:pt x="0" y="14"/>
                      <a:pt x="0" y="10"/>
                    </a:cubicBezTo>
                    <a:cubicBezTo>
                      <a:pt x="0" y="4"/>
                      <a:pt x="5" y="1"/>
                      <a:pt x="12" y="1"/>
                    </a:cubicBezTo>
                    <a:cubicBezTo>
                      <a:pt x="19" y="0"/>
                      <a:pt x="25" y="4"/>
                      <a:pt x="25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46" name="Freeform 12">
                <a:extLst>
                  <a:ext uri="{FF2B5EF4-FFF2-40B4-BE49-F238E27FC236}">
                    <a16:creationId xmlns:a16="http://schemas.microsoft.com/office/drawing/2014/main" id="{888E865B-9A3D-40B4-B69F-178378D4BEF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367" y="4973"/>
                <a:ext cx="48" cy="37"/>
              </a:xfrm>
              <a:custGeom>
                <a:avLst/>
                <a:gdLst>
                  <a:gd name="T0" fmla="*/ 26 w 27"/>
                  <a:gd name="T1" fmla="*/ 9 h 21"/>
                  <a:gd name="T2" fmla="*/ 26 w 27"/>
                  <a:gd name="T3" fmla="*/ 9 h 21"/>
                  <a:gd name="T4" fmla="*/ 15 w 27"/>
                  <a:gd name="T5" fmla="*/ 20 h 21"/>
                  <a:gd name="T6" fmla="*/ 1 w 27"/>
                  <a:gd name="T7" fmla="*/ 13 h 21"/>
                  <a:gd name="T8" fmla="*/ 12 w 27"/>
                  <a:gd name="T9" fmla="*/ 2 h 21"/>
                  <a:gd name="T10" fmla="*/ 26 w 27"/>
                  <a:gd name="T11" fmla="*/ 9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21">
                    <a:moveTo>
                      <a:pt x="26" y="9"/>
                    </a:moveTo>
                    <a:cubicBezTo>
                      <a:pt x="26" y="9"/>
                      <a:pt x="26" y="9"/>
                      <a:pt x="26" y="9"/>
                    </a:cubicBezTo>
                    <a:cubicBezTo>
                      <a:pt x="27" y="13"/>
                      <a:pt x="22" y="18"/>
                      <a:pt x="15" y="20"/>
                    </a:cubicBezTo>
                    <a:cubicBezTo>
                      <a:pt x="8" y="21"/>
                      <a:pt x="2" y="18"/>
                      <a:pt x="1" y="13"/>
                    </a:cubicBezTo>
                    <a:cubicBezTo>
                      <a:pt x="0" y="8"/>
                      <a:pt x="5" y="3"/>
                      <a:pt x="12" y="2"/>
                    </a:cubicBezTo>
                    <a:cubicBezTo>
                      <a:pt x="19" y="0"/>
                      <a:pt x="25" y="3"/>
                      <a:pt x="2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</p:grpSp>
      </p:grpSp>
      <p:pic>
        <p:nvPicPr>
          <p:cNvPr id="147" name="Picture 6">
            <a:extLst>
              <a:ext uri="{FF2B5EF4-FFF2-40B4-BE49-F238E27FC236}">
                <a16:creationId xmlns:a16="http://schemas.microsoft.com/office/drawing/2014/main" id="{11C3DA42-0BD5-40F4-A316-0820DA84DE91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3367" y="2319423"/>
            <a:ext cx="532944" cy="53654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>
            <a:outerShdw blurRad="1905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148" name="Picture 12">
            <a:extLst>
              <a:ext uri="{FF2B5EF4-FFF2-40B4-BE49-F238E27FC236}">
                <a16:creationId xmlns:a16="http://schemas.microsoft.com/office/drawing/2014/main" id="{D05F1399-8793-4658-8EEF-C7E550556EA8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4245" y="2322523"/>
            <a:ext cx="530347" cy="53034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>
            <a:outerShdw blurRad="1905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149" name="Graphic 148">
            <a:extLst>
              <a:ext uri="{FF2B5EF4-FFF2-40B4-BE49-F238E27FC236}">
                <a16:creationId xmlns:a16="http://schemas.microsoft.com/office/drawing/2014/main" id="{B99C3512-8EF2-4DAB-92A7-DF767A6FEDA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797813" y="2315809"/>
            <a:ext cx="536547" cy="536547"/>
          </a:xfrm>
          <a:prstGeom prst="rect">
            <a:avLst/>
          </a:prstGeom>
          <a:effectLst>
            <a:outerShdw blurRad="190500" dist="38100" dir="2700000" algn="ctr" rotWithShape="0">
              <a:prstClr val="black">
                <a:alpha val="25000"/>
              </a:prstClr>
            </a:outerShdw>
          </a:effectLst>
        </p:spPr>
      </p:pic>
      <p:cxnSp>
        <p:nvCxnSpPr>
          <p:cNvPr id="167" name="Straight Arrow Connector 166">
            <a:extLst>
              <a:ext uri="{FF2B5EF4-FFF2-40B4-BE49-F238E27FC236}">
                <a16:creationId xmlns:a16="http://schemas.microsoft.com/office/drawing/2014/main" id="{571B0839-FF7B-4109-AC05-BC220D2149F7}"/>
              </a:ext>
            </a:extLst>
          </p:cNvPr>
          <p:cNvCxnSpPr>
            <a:cxnSpLocks/>
          </p:cNvCxnSpPr>
          <p:nvPr/>
        </p:nvCxnSpPr>
        <p:spPr>
          <a:xfrm>
            <a:off x="1810056" y="2520243"/>
            <a:ext cx="110556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Arrow Connector 167">
            <a:extLst>
              <a:ext uri="{FF2B5EF4-FFF2-40B4-BE49-F238E27FC236}">
                <a16:creationId xmlns:a16="http://schemas.microsoft.com/office/drawing/2014/main" id="{750B1CC1-E054-41EE-90D9-017F55115D37}"/>
              </a:ext>
            </a:extLst>
          </p:cNvPr>
          <p:cNvCxnSpPr>
            <a:cxnSpLocks/>
          </p:cNvCxnSpPr>
          <p:nvPr/>
        </p:nvCxnSpPr>
        <p:spPr>
          <a:xfrm flipV="1">
            <a:off x="3850225" y="2664541"/>
            <a:ext cx="774497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Straight Arrow Connector 168">
            <a:extLst>
              <a:ext uri="{FF2B5EF4-FFF2-40B4-BE49-F238E27FC236}">
                <a16:creationId xmlns:a16="http://schemas.microsoft.com/office/drawing/2014/main" id="{820AF7B9-097D-4A0E-8BC9-CC647CC9FA4A}"/>
              </a:ext>
            </a:extLst>
          </p:cNvPr>
          <p:cNvCxnSpPr>
            <a:cxnSpLocks/>
          </p:cNvCxnSpPr>
          <p:nvPr/>
        </p:nvCxnSpPr>
        <p:spPr>
          <a:xfrm>
            <a:off x="5570645" y="2664541"/>
            <a:ext cx="946287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Straight Arrow Connector 169">
            <a:extLst>
              <a:ext uri="{FF2B5EF4-FFF2-40B4-BE49-F238E27FC236}">
                <a16:creationId xmlns:a16="http://schemas.microsoft.com/office/drawing/2014/main" id="{76429402-0DF8-4200-8ACC-1CC29BC98075}"/>
              </a:ext>
            </a:extLst>
          </p:cNvPr>
          <p:cNvCxnSpPr>
            <a:cxnSpLocks/>
          </p:cNvCxnSpPr>
          <p:nvPr/>
        </p:nvCxnSpPr>
        <p:spPr>
          <a:xfrm>
            <a:off x="7196682" y="2664541"/>
            <a:ext cx="1099303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6C5C0B63-981B-48C5-81B1-B47AB1F0C381}"/>
              </a:ext>
            </a:extLst>
          </p:cNvPr>
          <p:cNvSpPr txBox="1"/>
          <p:nvPr/>
        </p:nvSpPr>
        <p:spPr>
          <a:xfrm>
            <a:off x="361727" y="2951161"/>
            <a:ext cx="187743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77">
              <a:defRPr/>
            </a:pPr>
            <a:r>
              <a:rPr lang="en-US" sz="1400">
                <a:latin typeface="Segoe UI Semibold"/>
              </a:rPr>
              <a:t>App developer</a:t>
            </a:r>
          </a:p>
          <a:p>
            <a:pPr algn="ctr" defTabSz="914377">
              <a:defRPr/>
            </a:pPr>
            <a:r>
              <a:rPr lang="en-US" sz="1400">
                <a:latin typeface="Segoe UI Semibold"/>
              </a:rPr>
              <a:t>using Azure DevOps 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ECBB1173-DC41-4A3A-A52C-18FE2729807A}"/>
              </a:ext>
            </a:extLst>
          </p:cNvPr>
          <p:cNvGrpSpPr/>
          <p:nvPr/>
        </p:nvGrpSpPr>
        <p:grpSpPr>
          <a:xfrm>
            <a:off x="1057501" y="2340616"/>
            <a:ext cx="485888" cy="564792"/>
            <a:chOff x="6185695" y="5061756"/>
            <a:chExt cx="742515" cy="863093"/>
          </a:xfrm>
          <a:solidFill>
            <a:schemeClr val="tx1"/>
          </a:solidFill>
        </p:grpSpPr>
        <p:sp>
          <p:nvSpPr>
            <p:cNvPr id="66" name="Oval 69">
              <a:extLst>
                <a:ext uri="{FF2B5EF4-FFF2-40B4-BE49-F238E27FC236}">
                  <a16:creationId xmlns:a16="http://schemas.microsoft.com/office/drawing/2014/main" id="{E255E4B0-1609-4338-9A8B-219344A6C8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69737" y="5061756"/>
              <a:ext cx="368084" cy="36808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  <p:sp>
          <p:nvSpPr>
            <p:cNvPr id="69" name="Freeform 70">
              <a:extLst>
                <a:ext uri="{FF2B5EF4-FFF2-40B4-BE49-F238E27FC236}">
                  <a16:creationId xmlns:a16="http://schemas.microsoft.com/office/drawing/2014/main" id="{8B77BEE8-335F-44A1-BA30-705CB6D2F4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5695" y="5556765"/>
              <a:ext cx="742515" cy="368084"/>
            </a:xfrm>
            <a:custGeom>
              <a:avLst/>
              <a:gdLst>
                <a:gd name="T0" fmla="*/ 0 w 512"/>
                <a:gd name="T1" fmla="*/ 256 h 256"/>
                <a:gd name="T2" fmla="*/ 256 w 512"/>
                <a:gd name="T3" fmla="*/ 0 h 256"/>
                <a:gd name="T4" fmla="*/ 512 w 512"/>
                <a:gd name="T5" fmla="*/ 256 h 256"/>
                <a:gd name="T6" fmla="*/ 0 w 512"/>
                <a:gd name="T7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2" h="256">
                  <a:moveTo>
                    <a:pt x="0" y="256"/>
                  </a:moveTo>
                  <a:cubicBezTo>
                    <a:pt x="0" y="115"/>
                    <a:pt x="114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lnTo>
                    <a:pt x="0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</p:grpSp>
      <p:sp>
        <p:nvSpPr>
          <p:cNvPr id="70" name="TextBox 69">
            <a:extLst>
              <a:ext uri="{FF2B5EF4-FFF2-40B4-BE49-F238E27FC236}">
                <a16:creationId xmlns:a16="http://schemas.microsoft.com/office/drawing/2014/main" id="{64B12415-D449-4B00-AAD0-C4EF8F8C73C9}"/>
              </a:ext>
            </a:extLst>
          </p:cNvPr>
          <p:cNvSpPr txBox="1"/>
          <p:nvPr/>
        </p:nvSpPr>
        <p:spPr>
          <a:xfrm>
            <a:off x="223876" y="4645317"/>
            <a:ext cx="21531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77">
              <a:defRPr/>
            </a:pPr>
            <a:r>
              <a:rPr lang="en-US" sz="1400">
                <a:latin typeface="Segoe UI Semibold"/>
              </a:rPr>
              <a:t>Data scientist using </a:t>
            </a:r>
          </a:p>
          <a:p>
            <a:pPr algn="ctr" defTabSz="914377">
              <a:defRPr/>
            </a:pPr>
            <a:r>
              <a:rPr lang="en-US" sz="1400">
                <a:latin typeface="Segoe UI Semibold"/>
              </a:rPr>
              <a:t>Azure Machine Learning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90C71C97-AFD4-4E8F-BBBB-0CDB2E182542}"/>
              </a:ext>
            </a:extLst>
          </p:cNvPr>
          <p:cNvGrpSpPr/>
          <p:nvPr/>
        </p:nvGrpSpPr>
        <p:grpSpPr>
          <a:xfrm>
            <a:off x="1057501" y="4052851"/>
            <a:ext cx="485888" cy="564792"/>
            <a:chOff x="6185695" y="5061756"/>
            <a:chExt cx="742515" cy="863093"/>
          </a:xfrm>
        </p:grpSpPr>
        <p:sp>
          <p:nvSpPr>
            <p:cNvPr id="72" name="Oval 69">
              <a:extLst>
                <a:ext uri="{FF2B5EF4-FFF2-40B4-BE49-F238E27FC236}">
                  <a16:creationId xmlns:a16="http://schemas.microsoft.com/office/drawing/2014/main" id="{5D62BC92-3AD3-407A-B489-437AF8A89A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69737" y="5061756"/>
              <a:ext cx="368084" cy="368084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  <p:sp>
          <p:nvSpPr>
            <p:cNvPr id="73" name="Freeform 70">
              <a:extLst>
                <a:ext uri="{FF2B5EF4-FFF2-40B4-BE49-F238E27FC236}">
                  <a16:creationId xmlns:a16="http://schemas.microsoft.com/office/drawing/2014/main" id="{6F4F9047-3AD2-4E4F-B98E-3F85000F4C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5695" y="5556765"/>
              <a:ext cx="742515" cy="368084"/>
            </a:xfrm>
            <a:custGeom>
              <a:avLst/>
              <a:gdLst>
                <a:gd name="T0" fmla="*/ 0 w 512"/>
                <a:gd name="T1" fmla="*/ 256 h 256"/>
                <a:gd name="T2" fmla="*/ 256 w 512"/>
                <a:gd name="T3" fmla="*/ 0 h 256"/>
                <a:gd name="T4" fmla="*/ 512 w 512"/>
                <a:gd name="T5" fmla="*/ 256 h 256"/>
                <a:gd name="T6" fmla="*/ 0 w 512"/>
                <a:gd name="T7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2" h="256">
                  <a:moveTo>
                    <a:pt x="0" y="256"/>
                  </a:moveTo>
                  <a:cubicBezTo>
                    <a:pt x="0" y="115"/>
                    <a:pt x="114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lnTo>
                    <a:pt x="0" y="256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7E3AA67F-5A02-468F-8AFD-6A5F9184F639}"/>
              </a:ext>
            </a:extLst>
          </p:cNvPr>
          <p:cNvGrpSpPr/>
          <p:nvPr/>
        </p:nvGrpSpPr>
        <p:grpSpPr>
          <a:xfrm>
            <a:off x="10208042" y="2264567"/>
            <a:ext cx="646260" cy="646260"/>
            <a:chOff x="9897614" y="3471418"/>
            <a:chExt cx="1414462" cy="1414463"/>
          </a:xfrm>
        </p:grpSpPr>
        <p:sp>
          <p:nvSpPr>
            <p:cNvPr id="75" name="Donut 67">
              <a:extLst>
                <a:ext uri="{FF2B5EF4-FFF2-40B4-BE49-F238E27FC236}">
                  <a16:creationId xmlns:a16="http://schemas.microsoft.com/office/drawing/2014/main" id="{25BF86F9-EB42-4840-AA8B-56A2A96DCB44}"/>
                </a:ext>
              </a:extLst>
            </p:cNvPr>
            <p:cNvSpPr/>
            <p:nvPr/>
          </p:nvSpPr>
          <p:spPr bwMode="auto">
            <a:xfrm>
              <a:off x="9951778" y="3525582"/>
              <a:ext cx="1306134" cy="1306134"/>
            </a:xfrm>
            <a:prstGeom prst="ellipse">
              <a:avLst/>
            </a:prstGeom>
            <a:solidFill>
              <a:schemeClr val="tx1"/>
            </a:solidFill>
            <a:ln w="10795" cap="flat" cmpd="sng" algn="ctr">
              <a:noFill/>
              <a:prstDash val="solid"/>
            </a:ln>
            <a:effectLst>
              <a:outerShdw blurRad="190500" dist="38100" dir="2700000" algn="tl" rotWithShape="0">
                <a:prstClr val="black">
                  <a:alpha val="25000"/>
                </a:prstClr>
              </a:outerShdw>
            </a:effectLst>
          </p:spPr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ts val="600"/>
                </a:spcBef>
                <a:defRPr/>
              </a:pPr>
              <a:endParaRPr lang="en-IN" sz="2000">
                <a:latin typeface="Segoe UI Semilight"/>
              </a:endParaRPr>
            </a:p>
          </p:txBody>
        </p:sp>
        <p:sp>
          <p:nvSpPr>
            <p:cNvPr id="76" name="Donut 67">
              <a:extLst>
                <a:ext uri="{FF2B5EF4-FFF2-40B4-BE49-F238E27FC236}">
                  <a16:creationId xmlns:a16="http://schemas.microsoft.com/office/drawing/2014/main" id="{193F2A40-2BD1-4AB9-8AB4-70F940512500}"/>
                </a:ext>
              </a:extLst>
            </p:cNvPr>
            <p:cNvSpPr/>
            <p:nvPr/>
          </p:nvSpPr>
          <p:spPr bwMode="auto">
            <a:xfrm>
              <a:off x="9897614" y="3471418"/>
              <a:ext cx="1414462" cy="1414462"/>
            </a:xfrm>
            <a:prstGeom prst="donut">
              <a:avLst>
                <a:gd name="adj" fmla="val 7423"/>
              </a:avLst>
            </a:prstGeom>
            <a:solidFill>
              <a:srgbClr val="FFFFFF">
                <a:lumMod val="8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891" indent="-342891"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Wingdings 3" panose="05040102010807070707" pitchFamily="18" charset="2"/>
                <a:buChar char="Æ"/>
                <a:defRPr/>
              </a:pPr>
              <a:endParaRPr lang="en-IN" sz="2000" b="1"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7" name="Freeform 69">
              <a:extLst>
                <a:ext uri="{FF2B5EF4-FFF2-40B4-BE49-F238E27FC236}">
                  <a16:creationId xmlns:a16="http://schemas.microsoft.com/office/drawing/2014/main" id="{CAFC282D-460B-4CA9-8E9C-D512BD6893B8}"/>
                </a:ext>
              </a:extLst>
            </p:cNvPr>
            <p:cNvSpPr/>
            <p:nvPr/>
          </p:nvSpPr>
          <p:spPr bwMode="auto">
            <a:xfrm>
              <a:off x="10260852" y="3529492"/>
              <a:ext cx="1051224" cy="1356389"/>
            </a:xfrm>
            <a:custGeom>
              <a:avLst/>
              <a:gdLst>
                <a:gd name="connsiteX0" fmla="*/ 623876 w 1051224"/>
                <a:gd name="connsiteY0" fmla="*/ 0 h 1356389"/>
                <a:gd name="connsiteX1" fmla="*/ 739413 w 1051224"/>
                <a:gd name="connsiteY1" fmla="*/ 62711 h 1356389"/>
                <a:gd name="connsiteX2" fmla="*/ 1051224 w 1051224"/>
                <a:gd name="connsiteY2" fmla="*/ 649158 h 1356389"/>
                <a:gd name="connsiteX3" fmla="*/ 343993 w 1051224"/>
                <a:gd name="connsiteY3" fmla="*/ 1356389 h 1356389"/>
                <a:gd name="connsiteX4" fmla="*/ 68707 w 1051224"/>
                <a:gd name="connsiteY4" fmla="*/ 1300812 h 1356389"/>
                <a:gd name="connsiteX5" fmla="*/ 0 w 1051224"/>
                <a:gd name="connsiteY5" fmla="*/ 1263518 h 1356389"/>
                <a:gd name="connsiteX6" fmla="*/ 46310 w 1051224"/>
                <a:gd name="connsiteY6" fmla="*/ 1169727 h 1356389"/>
                <a:gd name="connsiteX7" fmla="*/ 109576 w 1051224"/>
                <a:gd name="connsiteY7" fmla="*/ 1204067 h 1356389"/>
                <a:gd name="connsiteX8" fmla="*/ 343993 w 1051224"/>
                <a:gd name="connsiteY8" fmla="*/ 1251393 h 1356389"/>
                <a:gd name="connsiteX9" fmla="*/ 946228 w 1051224"/>
                <a:gd name="connsiteY9" fmla="*/ 649158 h 1356389"/>
                <a:gd name="connsiteX10" fmla="*/ 578410 w 1051224"/>
                <a:gd name="connsiteY10" fmla="*/ 94250 h 1356389"/>
                <a:gd name="connsiteX11" fmla="*/ 577481 w 1051224"/>
                <a:gd name="connsiteY11" fmla="*/ 93961 h 1356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1224" h="1356389">
                  <a:moveTo>
                    <a:pt x="623876" y="0"/>
                  </a:moveTo>
                  <a:lnTo>
                    <a:pt x="739413" y="62711"/>
                  </a:lnTo>
                  <a:cubicBezTo>
                    <a:pt x="927537" y="189806"/>
                    <a:pt x="1051224" y="405038"/>
                    <a:pt x="1051224" y="649158"/>
                  </a:cubicBezTo>
                  <a:cubicBezTo>
                    <a:pt x="1051224" y="1039751"/>
                    <a:pt x="734586" y="1356389"/>
                    <a:pt x="343993" y="1356389"/>
                  </a:cubicBezTo>
                  <a:cubicBezTo>
                    <a:pt x="246345" y="1356389"/>
                    <a:pt x="153319" y="1336599"/>
                    <a:pt x="68707" y="1300812"/>
                  </a:cubicBezTo>
                  <a:lnTo>
                    <a:pt x="0" y="1263518"/>
                  </a:lnTo>
                  <a:lnTo>
                    <a:pt x="46310" y="1169727"/>
                  </a:lnTo>
                  <a:lnTo>
                    <a:pt x="109576" y="1204067"/>
                  </a:lnTo>
                  <a:cubicBezTo>
                    <a:pt x="181627" y="1234541"/>
                    <a:pt x="260842" y="1251393"/>
                    <a:pt x="343993" y="1251393"/>
                  </a:cubicBezTo>
                  <a:cubicBezTo>
                    <a:pt x="676598" y="1251393"/>
                    <a:pt x="946228" y="981763"/>
                    <a:pt x="946228" y="649158"/>
                  </a:cubicBezTo>
                  <a:cubicBezTo>
                    <a:pt x="946228" y="399705"/>
                    <a:pt x="794561" y="185674"/>
                    <a:pt x="578410" y="94250"/>
                  </a:cubicBezTo>
                  <a:lnTo>
                    <a:pt x="577481" y="93961"/>
                  </a:lnTo>
                  <a:close/>
                </a:path>
              </a:pathLst>
            </a:custGeom>
            <a:solidFill>
              <a:srgbClr val="FFFFFF">
                <a:lumMod val="6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891" indent="-342891"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Wingdings 3" panose="05040102010807070707" pitchFamily="18" charset="2"/>
                <a:buChar char="Æ"/>
                <a:defRPr/>
              </a:pPr>
              <a:endParaRPr lang="en-IN" sz="2000" b="1"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603A9C1-B8FA-4D34-A002-EFD9703C51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9812" y="4086900"/>
              <a:ext cx="624392" cy="170675"/>
            </a:xfrm>
            <a:custGeom>
              <a:avLst/>
              <a:gdLst>
                <a:gd name="connsiteX0" fmla="*/ 87395 w 624392"/>
                <a:gd name="connsiteY0" fmla="*/ 41 h 170675"/>
                <a:gd name="connsiteX1" fmla="*/ 146987 w 624392"/>
                <a:gd name="connsiteY1" fmla="*/ 25995 h 170675"/>
                <a:gd name="connsiteX2" fmla="*/ 590585 w 624392"/>
                <a:gd name="connsiteY2" fmla="*/ 34373 h 170675"/>
                <a:gd name="connsiteX3" fmla="*/ 624362 w 624392"/>
                <a:gd name="connsiteY3" fmla="*/ 92614 h 170675"/>
                <a:gd name="connsiteX4" fmla="*/ 561973 w 624392"/>
                <a:gd name="connsiteY4" fmla="*/ 151199 h 170675"/>
                <a:gd name="connsiteX5" fmla="*/ 142992 w 624392"/>
                <a:gd name="connsiteY5" fmla="*/ 146765 h 170675"/>
                <a:gd name="connsiteX6" fmla="*/ 22209 w 624392"/>
                <a:gd name="connsiteY6" fmla="*/ 143164 h 170675"/>
                <a:gd name="connsiteX7" fmla="*/ 26205 w 624392"/>
                <a:gd name="connsiteY7" fmla="*/ 22394 h 170675"/>
                <a:gd name="connsiteX8" fmla="*/ 87395 w 624392"/>
                <a:gd name="connsiteY8" fmla="*/ 41 h 170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392" h="170675">
                  <a:moveTo>
                    <a:pt x="87395" y="41"/>
                  </a:moveTo>
                  <a:cubicBezTo>
                    <a:pt x="109539" y="700"/>
                    <a:pt x="131415" y="9412"/>
                    <a:pt x="146987" y="25995"/>
                  </a:cubicBezTo>
                  <a:lnTo>
                    <a:pt x="590585" y="34373"/>
                  </a:lnTo>
                  <a:cubicBezTo>
                    <a:pt x="610032" y="46097"/>
                    <a:pt x="625161" y="68460"/>
                    <a:pt x="624362" y="92614"/>
                  </a:cubicBezTo>
                  <a:cubicBezTo>
                    <a:pt x="623296" y="124820"/>
                    <a:pt x="594181" y="152159"/>
                    <a:pt x="561973" y="151199"/>
                  </a:cubicBezTo>
                  <a:lnTo>
                    <a:pt x="142992" y="146765"/>
                  </a:lnTo>
                  <a:cubicBezTo>
                    <a:pt x="109718" y="178011"/>
                    <a:pt x="57246" y="180476"/>
                    <a:pt x="22209" y="143164"/>
                  </a:cubicBezTo>
                  <a:cubicBezTo>
                    <a:pt x="-8934" y="109999"/>
                    <a:pt x="-7070" y="53639"/>
                    <a:pt x="26205" y="22394"/>
                  </a:cubicBezTo>
                  <a:cubicBezTo>
                    <a:pt x="42841" y="6771"/>
                    <a:pt x="65251" y="-620"/>
                    <a:pt x="87395" y="41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FE511099-7674-4B73-A318-7319AB5055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86195" y="3695702"/>
              <a:ext cx="290637" cy="267449"/>
            </a:xfrm>
            <a:custGeom>
              <a:avLst/>
              <a:gdLst>
                <a:gd name="connsiteX0" fmla="*/ 290637 w 290637"/>
                <a:gd name="connsiteY0" fmla="*/ 0 h 267449"/>
                <a:gd name="connsiteX1" fmla="*/ 290637 w 290637"/>
                <a:gd name="connsiteY1" fmla="*/ 210967 h 267449"/>
                <a:gd name="connsiteX2" fmla="*/ 258366 w 290637"/>
                <a:gd name="connsiteY2" fmla="*/ 215609 h 267449"/>
                <a:gd name="connsiteX3" fmla="*/ 216275 w 290637"/>
                <a:gd name="connsiteY3" fmla="*/ 228809 h 267449"/>
                <a:gd name="connsiteX4" fmla="*/ 150830 w 290637"/>
                <a:gd name="connsiteY4" fmla="*/ 267449 h 267449"/>
                <a:gd name="connsiteX5" fmla="*/ 17811 w 290637"/>
                <a:gd name="connsiteY5" fmla="*/ 134430 h 267449"/>
                <a:gd name="connsiteX6" fmla="*/ 0 w 290637"/>
                <a:gd name="connsiteY6" fmla="*/ 114611 h 267449"/>
                <a:gd name="connsiteX7" fmla="*/ 213477 w 290637"/>
                <a:gd name="connsiteY7" fmla="*/ 9475 h 267449"/>
                <a:gd name="connsiteX8" fmla="*/ 290637 w 290637"/>
                <a:gd name="connsiteY8" fmla="*/ 0 h 267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0637" h="267449">
                  <a:moveTo>
                    <a:pt x="290637" y="0"/>
                  </a:moveTo>
                  <a:lnTo>
                    <a:pt x="290637" y="210967"/>
                  </a:lnTo>
                  <a:lnTo>
                    <a:pt x="258366" y="215609"/>
                  </a:lnTo>
                  <a:cubicBezTo>
                    <a:pt x="243909" y="218915"/>
                    <a:pt x="229837" y="223357"/>
                    <a:pt x="216275" y="228809"/>
                  </a:cubicBezTo>
                  <a:lnTo>
                    <a:pt x="150830" y="267449"/>
                  </a:lnTo>
                  <a:lnTo>
                    <a:pt x="17811" y="134430"/>
                  </a:lnTo>
                  <a:lnTo>
                    <a:pt x="0" y="114611"/>
                  </a:lnTo>
                  <a:cubicBezTo>
                    <a:pt x="63125" y="63651"/>
                    <a:pt x="135403" y="26346"/>
                    <a:pt x="213477" y="9475"/>
                  </a:cubicBezTo>
                  <a:lnTo>
                    <a:pt x="290637" y="0"/>
                  </a:lnTo>
                  <a:close/>
                </a:path>
              </a:pathLst>
            </a:custGeom>
            <a:solidFill>
              <a:srgbClr val="BBDA7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D639C9EC-757D-4FEE-A267-3397728A73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2307" y="3696054"/>
              <a:ext cx="287959" cy="266888"/>
            </a:xfrm>
            <a:custGeom>
              <a:avLst/>
              <a:gdLst>
                <a:gd name="connsiteX0" fmla="*/ 0 w 287959"/>
                <a:gd name="connsiteY0" fmla="*/ 0 h 266888"/>
                <a:gd name="connsiteX1" fmla="*/ 74803 w 287959"/>
                <a:gd name="connsiteY1" fmla="*/ 9477 h 266888"/>
                <a:gd name="connsiteX2" fmla="*/ 223047 w 287959"/>
                <a:gd name="connsiteY2" fmla="*/ 69275 h 266888"/>
                <a:gd name="connsiteX3" fmla="*/ 287959 w 287959"/>
                <a:gd name="connsiteY3" fmla="*/ 114767 h 266888"/>
                <a:gd name="connsiteX4" fmla="*/ 135839 w 287959"/>
                <a:gd name="connsiteY4" fmla="*/ 266888 h 266888"/>
                <a:gd name="connsiteX5" fmla="*/ 70848 w 287959"/>
                <a:gd name="connsiteY5" fmla="*/ 227653 h 266888"/>
                <a:gd name="connsiteX6" fmla="*/ 27150 w 287959"/>
                <a:gd name="connsiteY6" fmla="*/ 212846 h 266888"/>
                <a:gd name="connsiteX7" fmla="*/ 0 w 287959"/>
                <a:gd name="connsiteY7" fmla="*/ 208513 h 266888"/>
                <a:gd name="connsiteX8" fmla="*/ 0 w 287959"/>
                <a:gd name="connsiteY8" fmla="*/ 0 h 266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7959" h="266888">
                  <a:moveTo>
                    <a:pt x="0" y="0"/>
                  </a:moveTo>
                  <a:lnTo>
                    <a:pt x="74803" y="9477"/>
                  </a:lnTo>
                  <a:cubicBezTo>
                    <a:pt x="127104" y="20976"/>
                    <a:pt x="176854" y="41582"/>
                    <a:pt x="223047" y="69275"/>
                  </a:cubicBezTo>
                  <a:lnTo>
                    <a:pt x="287959" y="114767"/>
                  </a:lnTo>
                  <a:lnTo>
                    <a:pt x="135839" y="266888"/>
                  </a:lnTo>
                  <a:lnTo>
                    <a:pt x="70848" y="227653"/>
                  </a:lnTo>
                  <a:cubicBezTo>
                    <a:pt x="56706" y="221621"/>
                    <a:pt x="42056" y="216602"/>
                    <a:pt x="27150" y="212846"/>
                  </a:cubicBezTo>
                  <a:lnTo>
                    <a:pt x="0" y="208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5CA5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6427901-8E5C-43EF-8AF6-364235B14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2399" y="3857990"/>
              <a:ext cx="269161" cy="277918"/>
            </a:xfrm>
            <a:custGeom>
              <a:avLst/>
              <a:gdLst>
                <a:gd name="connsiteX0" fmla="*/ 116870 w 269161"/>
                <a:gd name="connsiteY0" fmla="*/ 0 h 277918"/>
                <a:gd name="connsiteX1" fmla="*/ 269161 w 269161"/>
                <a:gd name="connsiteY1" fmla="*/ 152291 h 277918"/>
                <a:gd name="connsiteX2" fmla="*/ 230871 w 269161"/>
                <a:gd name="connsiteY2" fmla="*/ 215717 h 277918"/>
                <a:gd name="connsiteX3" fmla="*/ 216064 w 269161"/>
                <a:gd name="connsiteY3" fmla="*/ 259415 h 277918"/>
                <a:gd name="connsiteX4" fmla="*/ 213111 w 269161"/>
                <a:gd name="connsiteY4" fmla="*/ 277918 h 277918"/>
                <a:gd name="connsiteX5" fmla="*/ 0 w 269161"/>
                <a:gd name="connsiteY5" fmla="*/ 277918 h 277918"/>
                <a:gd name="connsiteX6" fmla="*/ 10414 w 269161"/>
                <a:gd name="connsiteY6" fmla="*/ 209482 h 277918"/>
                <a:gd name="connsiteX7" fmla="*/ 70719 w 269161"/>
                <a:gd name="connsiteY7" fmla="*/ 61744 h 277918"/>
                <a:gd name="connsiteX8" fmla="*/ 116870 w 269161"/>
                <a:gd name="connsiteY8" fmla="*/ 0 h 277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9161" h="277918">
                  <a:moveTo>
                    <a:pt x="116870" y="0"/>
                  </a:moveTo>
                  <a:lnTo>
                    <a:pt x="269161" y="152291"/>
                  </a:lnTo>
                  <a:lnTo>
                    <a:pt x="230871" y="215717"/>
                  </a:lnTo>
                  <a:cubicBezTo>
                    <a:pt x="224839" y="229859"/>
                    <a:pt x="219819" y="244509"/>
                    <a:pt x="216064" y="259415"/>
                  </a:cubicBezTo>
                  <a:lnTo>
                    <a:pt x="213111" y="277918"/>
                  </a:lnTo>
                  <a:lnTo>
                    <a:pt x="0" y="277918"/>
                  </a:lnTo>
                  <a:lnTo>
                    <a:pt x="10414" y="209482"/>
                  </a:lnTo>
                  <a:cubicBezTo>
                    <a:pt x="22420" y="157688"/>
                    <a:pt x="42519" y="107430"/>
                    <a:pt x="70719" y="61744"/>
                  </a:cubicBezTo>
                  <a:lnTo>
                    <a:pt x="116870" y="0"/>
                  </a:lnTo>
                  <a:close/>
                </a:path>
              </a:pathLst>
            </a:custGeom>
            <a:solidFill>
              <a:srgbClr val="D2E7A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37BF99B0-1332-4CA3-B3B7-2176EABDA8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4046" y="3858113"/>
              <a:ext cx="259956" cy="228787"/>
            </a:xfrm>
            <a:custGeom>
              <a:avLst/>
              <a:gdLst>
                <a:gd name="connsiteX0" fmla="*/ 151525 w 259956"/>
                <a:gd name="connsiteY0" fmla="*/ 0 h 228787"/>
                <a:gd name="connsiteX1" fmla="*/ 187726 w 259956"/>
                <a:gd name="connsiteY1" fmla="*/ 47229 h 228787"/>
                <a:gd name="connsiteX2" fmla="*/ 249063 w 259956"/>
                <a:gd name="connsiteY2" fmla="*/ 177909 h 228787"/>
                <a:gd name="connsiteX3" fmla="*/ 259956 w 259956"/>
                <a:gd name="connsiteY3" fmla="*/ 228787 h 228787"/>
                <a:gd name="connsiteX4" fmla="*/ 41069 w 259956"/>
                <a:gd name="connsiteY4" fmla="*/ 228787 h 228787"/>
                <a:gd name="connsiteX5" fmla="*/ 24304 w 259956"/>
                <a:gd name="connsiteY5" fmla="*/ 188030 h 228787"/>
                <a:gd name="connsiteX6" fmla="*/ 0 w 259956"/>
                <a:gd name="connsiteY6" fmla="*/ 151525 h 228787"/>
                <a:gd name="connsiteX7" fmla="*/ 151525 w 259956"/>
                <a:gd name="connsiteY7" fmla="*/ 0 h 228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9956" h="228787">
                  <a:moveTo>
                    <a:pt x="151525" y="0"/>
                  </a:moveTo>
                  <a:lnTo>
                    <a:pt x="187726" y="47229"/>
                  </a:lnTo>
                  <a:cubicBezTo>
                    <a:pt x="214470" y="87842"/>
                    <a:pt x="235418" y="132240"/>
                    <a:pt x="249063" y="177909"/>
                  </a:cubicBezTo>
                  <a:lnTo>
                    <a:pt x="259956" y="228787"/>
                  </a:lnTo>
                  <a:lnTo>
                    <a:pt x="41069" y="228787"/>
                  </a:lnTo>
                  <a:lnTo>
                    <a:pt x="24304" y="188030"/>
                  </a:lnTo>
                  <a:lnTo>
                    <a:pt x="0" y="151525"/>
                  </a:lnTo>
                  <a:lnTo>
                    <a:pt x="151525" y="0"/>
                  </a:lnTo>
                  <a:close/>
                </a:path>
              </a:pathLst>
            </a:custGeom>
            <a:solidFill>
              <a:srgbClr val="7F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46FDF75C-E49D-4C29-BEB3-0F7C1D4262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5713" y="4217639"/>
              <a:ext cx="277662" cy="286335"/>
            </a:xfrm>
            <a:custGeom>
              <a:avLst/>
              <a:gdLst>
                <a:gd name="connsiteX0" fmla="*/ 0 w 277662"/>
                <a:gd name="connsiteY0" fmla="*/ 0 h 286335"/>
                <a:gd name="connsiteX1" fmla="*/ 211901 w 277662"/>
                <a:gd name="connsiteY1" fmla="*/ 0 h 286335"/>
                <a:gd name="connsiteX2" fmla="*/ 215712 w 277662"/>
                <a:gd name="connsiteY2" fmla="*/ 24896 h 286335"/>
                <a:gd name="connsiteX3" fmla="*/ 277662 w 277662"/>
                <a:gd name="connsiteY3" fmla="*/ 145645 h 286335"/>
                <a:gd name="connsiteX4" fmla="*/ 120833 w 277662"/>
                <a:gd name="connsiteY4" fmla="*/ 286335 h 286335"/>
                <a:gd name="connsiteX5" fmla="*/ 10016 w 277662"/>
                <a:gd name="connsiteY5" fmla="*/ 76009 h 286335"/>
                <a:gd name="connsiteX6" fmla="*/ 0 w 277662"/>
                <a:gd name="connsiteY6" fmla="*/ 0 h 286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7662" h="286335">
                  <a:moveTo>
                    <a:pt x="0" y="0"/>
                  </a:moveTo>
                  <a:lnTo>
                    <a:pt x="211901" y="0"/>
                  </a:lnTo>
                  <a:lnTo>
                    <a:pt x="215712" y="24896"/>
                  </a:lnTo>
                  <a:cubicBezTo>
                    <a:pt x="226173" y="68526"/>
                    <a:pt x="247391" y="109343"/>
                    <a:pt x="277662" y="145645"/>
                  </a:cubicBezTo>
                  <a:cubicBezTo>
                    <a:pt x="277662" y="145645"/>
                    <a:pt x="277662" y="145645"/>
                    <a:pt x="120833" y="286335"/>
                  </a:cubicBezTo>
                  <a:cubicBezTo>
                    <a:pt x="66353" y="225824"/>
                    <a:pt x="27712" y="154013"/>
                    <a:pt x="10016" y="76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1EFC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11D36056-A3BC-4F0B-B0CD-2C37332CF767}"/>
                </a:ext>
              </a:extLst>
            </p:cNvPr>
            <p:cNvSpPr/>
            <p:nvPr/>
          </p:nvSpPr>
          <p:spPr bwMode="auto">
            <a:xfrm>
              <a:off x="10519812" y="4168631"/>
              <a:ext cx="624362" cy="88944"/>
            </a:xfrm>
            <a:custGeom>
              <a:avLst/>
              <a:gdLst>
                <a:gd name="connsiteX0" fmla="*/ 123 w 624362"/>
                <a:gd name="connsiteY0" fmla="*/ 0 h 88944"/>
                <a:gd name="connsiteX1" fmla="*/ 621367 w 624362"/>
                <a:gd name="connsiteY1" fmla="*/ 0 h 88944"/>
                <a:gd name="connsiteX2" fmla="*/ 624362 w 624362"/>
                <a:gd name="connsiteY2" fmla="*/ 10883 h 88944"/>
                <a:gd name="connsiteX3" fmla="*/ 561973 w 624362"/>
                <a:gd name="connsiteY3" fmla="*/ 69468 h 88944"/>
                <a:gd name="connsiteX4" fmla="*/ 142992 w 624362"/>
                <a:gd name="connsiteY4" fmla="*/ 65034 h 88944"/>
                <a:gd name="connsiteX5" fmla="*/ 22209 w 624362"/>
                <a:gd name="connsiteY5" fmla="*/ 61433 h 88944"/>
                <a:gd name="connsiteX6" fmla="*/ 50 w 624362"/>
                <a:gd name="connsiteY6" fmla="*/ 328 h 88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362" h="88944">
                  <a:moveTo>
                    <a:pt x="123" y="0"/>
                  </a:moveTo>
                  <a:lnTo>
                    <a:pt x="621367" y="0"/>
                  </a:lnTo>
                  <a:lnTo>
                    <a:pt x="624362" y="10883"/>
                  </a:lnTo>
                  <a:cubicBezTo>
                    <a:pt x="623296" y="43089"/>
                    <a:pt x="594181" y="70428"/>
                    <a:pt x="561973" y="69468"/>
                  </a:cubicBezTo>
                  <a:lnTo>
                    <a:pt x="142992" y="65034"/>
                  </a:lnTo>
                  <a:cubicBezTo>
                    <a:pt x="109718" y="96280"/>
                    <a:pt x="57246" y="98745"/>
                    <a:pt x="22209" y="61433"/>
                  </a:cubicBezTo>
                  <a:cubicBezTo>
                    <a:pt x="6638" y="44851"/>
                    <a:pt x="-682" y="22469"/>
                    <a:pt x="50" y="328"/>
                  </a:cubicBezTo>
                  <a:close/>
                </a:path>
              </a:pathLst>
            </a:custGeom>
            <a:solidFill>
              <a:srgbClr val="D83B0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4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>
                <a:solidFill>
                  <a:schemeClr val="tx1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87" name="Multiplication Sign 86">
            <a:extLst>
              <a:ext uri="{FF2B5EF4-FFF2-40B4-BE49-F238E27FC236}">
                <a16:creationId xmlns:a16="http://schemas.microsoft.com/office/drawing/2014/main" id="{FFDC32EE-373D-48E0-8F89-0F7F6CE2712C}"/>
              </a:ext>
            </a:extLst>
          </p:cNvPr>
          <p:cNvSpPr/>
          <p:nvPr/>
        </p:nvSpPr>
        <p:spPr bwMode="auto">
          <a:xfrm>
            <a:off x="9243006" y="6059271"/>
            <a:ext cx="615727" cy="615727"/>
          </a:xfrm>
          <a:prstGeom prst="mathMultiply">
            <a:avLst/>
          </a:prstGeom>
          <a:solidFill>
            <a:srgbClr val="FF0000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90" name="Graphic 89" descr="Checkmark">
            <a:extLst>
              <a:ext uri="{FF2B5EF4-FFF2-40B4-BE49-F238E27FC236}">
                <a16:creationId xmlns:a16="http://schemas.microsoft.com/office/drawing/2014/main" id="{8A532E54-E2FA-489D-9647-AE1F3388A3A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61729" y="6059273"/>
            <a:ext cx="587425" cy="587425"/>
          </a:xfrm>
          <a:prstGeom prst="rect">
            <a:avLst/>
          </a:prstGeom>
        </p:spPr>
      </p:pic>
      <p:pic>
        <p:nvPicPr>
          <p:cNvPr id="92" name="Graphic 91" descr="Checkmark">
            <a:extLst>
              <a:ext uri="{FF2B5EF4-FFF2-40B4-BE49-F238E27FC236}">
                <a16:creationId xmlns:a16="http://schemas.microsoft.com/office/drawing/2014/main" id="{81DF6DBD-D85E-4349-BDC4-80881CDBC20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511493" y="6026665"/>
            <a:ext cx="587425" cy="587425"/>
          </a:xfrm>
          <a:prstGeom prst="rect">
            <a:avLst/>
          </a:prstGeom>
        </p:spPr>
      </p:pic>
      <p:pic>
        <p:nvPicPr>
          <p:cNvPr id="67" name="Graphic 66" descr="Checkmark">
            <a:extLst>
              <a:ext uri="{FF2B5EF4-FFF2-40B4-BE49-F238E27FC236}">
                <a16:creationId xmlns:a16="http://schemas.microsoft.com/office/drawing/2014/main" id="{DC4EACB4-F276-488B-86CA-CC58B05BC1A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210189" y="6031261"/>
            <a:ext cx="587425" cy="587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4181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A2263FE-8F8C-4402-9C9B-5C799670F6E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5AFDB46-B807-44D7-A7D0-01BC94D0D87F}"/>
              </a:ext>
            </a:extLst>
          </p:cNvPr>
          <p:cNvSpPr txBox="1">
            <a:spLocks/>
          </p:cNvSpPr>
          <p:nvPr/>
        </p:nvSpPr>
        <p:spPr>
          <a:xfrm>
            <a:off x="-39269" y="5742691"/>
            <a:ext cx="12231269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*results may vary</a:t>
            </a:r>
            <a:endParaRPr kumimoji="0" lang="en-US" sz="5400" b="0" i="0" u="none" strike="noStrike" kern="1200" cap="none" spc="0" normalizeH="0" baseline="0" noProof="0" dirty="0">
              <a:ln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Segoe UI Semibold" panose="020B0702040204020203" pitchFamily="34" charset="0"/>
              <a:ea typeface="+mj-ea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767025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MLOps</a:t>
            </a:r>
            <a:r>
              <a:rPr lang="en-US"/>
              <a:t> Workflow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0E7C0878-9D64-46B0-8EDA-D296D83F01D7}"/>
              </a:ext>
            </a:extLst>
          </p:cNvPr>
          <p:cNvSpPr/>
          <p:nvPr/>
        </p:nvSpPr>
        <p:spPr>
          <a:xfrm>
            <a:off x="10036051" y="3575282"/>
            <a:ext cx="1344880" cy="6740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400">
                <a:latin typeface="Segoe UI"/>
                <a:cs typeface="Courier New" panose="02070309020205020404" pitchFamily="49" charset="0"/>
              </a:rPr>
              <a:t>Model management &amp; monitoring</a:t>
            </a:r>
          </a:p>
        </p:txBody>
      </p:sp>
      <p:pic>
        <p:nvPicPr>
          <p:cNvPr id="125" name="Picture 2" descr="https://azure.microsoft.com/images/page/services/machine-learning-service/machine-learning-service.png">
            <a:extLst>
              <a:ext uri="{FF2B5EF4-FFF2-40B4-BE49-F238E27FC236}">
                <a16:creationId xmlns:a16="http://schemas.microsoft.com/office/drawing/2014/main" id="{63E94C22-0F94-41BD-AB5B-D2F50F63D6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0738" y="3600857"/>
            <a:ext cx="428985" cy="428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5" name="Rectangle 134">
            <a:extLst>
              <a:ext uri="{FF2B5EF4-FFF2-40B4-BE49-F238E27FC236}">
                <a16:creationId xmlns:a16="http://schemas.microsoft.com/office/drawing/2014/main" id="{E42C38BA-2075-419E-A2EE-F4871D4D6815}"/>
              </a:ext>
            </a:extLst>
          </p:cNvPr>
          <p:cNvSpPr/>
          <p:nvPr/>
        </p:nvSpPr>
        <p:spPr>
          <a:xfrm>
            <a:off x="7072820" y="5084605"/>
            <a:ext cx="1933491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400">
                <a:latin typeface="Segoe UI"/>
                <a:cs typeface="Courier New" panose="02070309020205020404" pitchFamily="49" charset="0"/>
              </a:rPr>
              <a:t>Model performance analysis</a:t>
            </a:r>
          </a:p>
        </p:txBody>
      </p:sp>
      <p:pic>
        <p:nvPicPr>
          <p:cNvPr id="136" name="Picture 2" descr="https://azure.microsoft.com/images/page/services/machine-learning-service/machine-learning-service.png">
            <a:extLst>
              <a:ext uri="{FF2B5EF4-FFF2-40B4-BE49-F238E27FC236}">
                <a16:creationId xmlns:a16="http://schemas.microsoft.com/office/drawing/2014/main" id="{1E7FEC84-EA17-40F8-B110-108A1A5DAE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3674" y="5088674"/>
            <a:ext cx="428985" cy="428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Rectangle 61">
            <a:extLst>
              <a:ext uri="{FF2B5EF4-FFF2-40B4-BE49-F238E27FC236}">
                <a16:creationId xmlns:a16="http://schemas.microsoft.com/office/drawing/2014/main" id="{CF468115-6C2A-4446-A8EF-085038849D9D}"/>
              </a:ext>
            </a:extLst>
          </p:cNvPr>
          <p:cNvSpPr/>
          <p:nvPr/>
        </p:nvSpPr>
        <p:spPr bwMode="auto">
          <a:xfrm>
            <a:off x="0" y="5882365"/>
            <a:ext cx="12192000" cy="975635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92847D6-F910-4E06-85E3-4768FAE983AD}"/>
              </a:ext>
            </a:extLst>
          </p:cNvPr>
          <p:cNvSpPr txBox="1"/>
          <p:nvPr/>
        </p:nvSpPr>
        <p:spPr>
          <a:xfrm>
            <a:off x="998524" y="6247073"/>
            <a:ext cx="205740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reproducibility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D4AC7499-CEEF-481D-BC86-3404313F455C}"/>
              </a:ext>
            </a:extLst>
          </p:cNvPr>
          <p:cNvSpPr txBox="1"/>
          <p:nvPr/>
        </p:nvSpPr>
        <p:spPr>
          <a:xfrm>
            <a:off x="9886899" y="6247073"/>
            <a:ext cx="156856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retraining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0B156B4F-6F62-4ACF-98BD-33A5385E4FEB}"/>
              </a:ext>
            </a:extLst>
          </p:cNvPr>
          <p:cNvSpPr txBox="1"/>
          <p:nvPr/>
        </p:nvSpPr>
        <p:spPr>
          <a:xfrm>
            <a:off x="6883617" y="6247073"/>
            <a:ext cx="1903823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deployment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D5C7D103-DFCD-4C35-A5A2-765AE1E79BE7}"/>
              </a:ext>
            </a:extLst>
          </p:cNvPr>
          <p:cNvSpPr txBox="1"/>
          <p:nvPr/>
        </p:nvSpPr>
        <p:spPr>
          <a:xfrm>
            <a:off x="4153974" y="6247073"/>
            <a:ext cx="1630183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validation</a:t>
            </a:r>
          </a:p>
        </p:txBody>
      </p:sp>
      <p:sp>
        <p:nvSpPr>
          <p:cNvPr id="71" name="Rectangle 1">
            <a:extLst>
              <a:ext uri="{FF2B5EF4-FFF2-40B4-BE49-F238E27FC236}">
                <a16:creationId xmlns:a16="http://schemas.microsoft.com/office/drawing/2014/main" id="{DD1B91A0-3831-455A-93B4-BC715CA72122}"/>
              </a:ext>
            </a:extLst>
          </p:cNvPr>
          <p:cNvSpPr/>
          <p:nvPr/>
        </p:nvSpPr>
        <p:spPr bwMode="auto">
          <a:xfrm>
            <a:off x="1750229" y="3100478"/>
            <a:ext cx="1602571" cy="1201455"/>
          </a:xfrm>
          <a:custGeom>
            <a:avLst/>
            <a:gdLst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4" fmla="*/ 0 w 1471327"/>
              <a:gd name="connsiteY4" fmla="*/ 0 h 1520291"/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4" fmla="*/ 91440 w 1471327"/>
              <a:gd name="connsiteY4" fmla="*/ 91440 h 1520291"/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0" fmla="*/ 1471327 w 1471327"/>
              <a:gd name="connsiteY0" fmla="*/ 0 h 1520291"/>
              <a:gd name="connsiteX1" fmla="*/ 1471327 w 1471327"/>
              <a:gd name="connsiteY1" fmla="*/ 1520291 h 1520291"/>
              <a:gd name="connsiteX2" fmla="*/ 0 w 1471327"/>
              <a:gd name="connsiteY2" fmla="*/ 1520291 h 1520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71327" h="1520291">
                <a:moveTo>
                  <a:pt x="1471327" y="0"/>
                </a:moveTo>
                <a:lnTo>
                  <a:pt x="1471327" y="1520291"/>
                </a:lnTo>
                <a:lnTo>
                  <a:pt x="0" y="1520291"/>
                </a:lnTo>
              </a:path>
            </a:pathLst>
          </a:custGeom>
          <a:ln w="19050">
            <a:solidFill>
              <a:schemeClr val="accent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3EC019FA-33D0-4610-96D5-9E942874A18A}"/>
              </a:ext>
            </a:extLst>
          </p:cNvPr>
          <p:cNvSpPr txBox="1"/>
          <p:nvPr/>
        </p:nvSpPr>
        <p:spPr>
          <a:xfrm>
            <a:off x="4393647" y="3033672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Train model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741D903D-DE26-4589-A4DE-8C21FA6970E8}"/>
              </a:ext>
            </a:extLst>
          </p:cNvPr>
          <p:cNvSpPr txBox="1"/>
          <p:nvPr/>
        </p:nvSpPr>
        <p:spPr>
          <a:xfrm>
            <a:off x="6063707" y="3033672"/>
            <a:ext cx="1531424" cy="535531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Courier New" panose="02070309020205020404" pitchFamily="49" charset="0"/>
              </a:defRPr>
            </a:lvl1pPr>
          </a:lstStyle>
          <a:p>
            <a:pPr defTabSz="914377">
              <a:defRPr/>
            </a:pPr>
            <a:r>
              <a:rPr lang="en-US">
                <a:solidFill>
                  <a:schemeClr val="tx1"/>
                </a:solidFill>
                <a:latin typeface="Segoe UI Semibold"/>
              </a:rPr>
              <a:t>Validate model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640BF6DE-D222-4654-A0C3-4B6F8A42FCFD}"/>
              </a:ext>
            </a:extLst>
          </p:cNvPr>
          <p:cNvSpPr txBox="1"/>
          <p:nvPr/>
        </p:nvSpPr>
        <p:spPr>
          <a:xfrm>
            <a:off x="8067399" y="3033672"/>
            <a:ext cx="1344880" cy="535531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Courier New" panose="02070309020205020404" pitchFamily="49" charset="0"/>
              </a:defRPr>
            </a:lvl1pPr>
          </a:lstStyle>
          <a:p>
            <a:pPr defTabSz="914377">
              <a:defRPr/>
            </a:pPr>
            <a:r>
              <a:rPr lang="en-US">
                <a:solidFill>
                  <a:schemeClr val="tx1"/>
                </a:solidFill>
                <a:latin typeface="Segoe UI Semibold"/>
              </a:rPr>
              <a:t>Deploy model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F926CDFA-A54E-4BFC-AE07-6D5EB60E4691}"/>
              </a:ext>
            </a:extLst>
          </p:cNvPr>
          <p:cNvSpPr txBox="1"/>
          <p:nvPr/>
        </p:nvSpPr>
        <p:spPr>
          <a:xfrm>
            <a:off x="9858731" y="3033672"/>
            <a:ext cx="1344880" cy="535531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Monitor model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608068AA-2507-4555-8F99-EF1FDC75F940}"/>
              </a:ext>
            </a:extLst>
          </p:cNvPr>
          <p:cNvSpPr txBox="1"/>
          <p:nvPr/>
        </p:nvSpPr>
        <p:spPr>
          <a:xfrm>
            <a:off x="6998407" y="4645888"/>
            <a:ext cx="1600448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Courier New" panose="02070309020205020404" pitchFamily="49" charset="0"/>
              </a:defRPr>
            </a:lvl1pPr>
          </a:lstStyle>
          <a:p>
            <a:pPr defTabSz="914377">
              <a:defRPr/>
            </a:pPr>
            <a:r>
              <a:rPr lang="en-US">
                <a:solidFill>
                  <a:schemeClr val="tx1"/>
                </a:solidFill>
                <a:latin typeface="Segoe UI Semibold"/>
              </a:rPr>
              <a:t>Retrain model</a:t>
            </a:r>
          </a:p>
        </p:txBody>
      </p:sp>
      <p:cxnSp>
        <p:nvCxnSpPr>
          <p:cNvPr id="88" name="Connector: Elbow 87">
            <a:extLst>
              <a:ext uri="{FF2B5EF4-FFF2-40B4-BE49-F238E27FC236}">
                <a16:creationId xmlns:a16="http://schemas.microsoft.com/office/drawing/2014/main" id="{0DA33A84-2D0F-4F79-8C18-666998EF69A4}"/>
              </a:ext>
            </a:extLst>
          </p:cNvPr>
          <p:cNvCxnSpPr>
            <a:cxnSpLocks/>
          </p:cNvCxnSpPr>
          <p:nvPr/>
        </p:nvCxnSpPr>
        <p:spPr>
          <a:xfrm rot="10800000">
            <a:off x="6045007" y="2952699"/>
            <a:ext cx="1932320" cy="1455251"/>
          </a:xfrm>
          <a:prstGeom prst="bentConnector2">
            <a:avLst/>
          </a:prstGeom>
          <a:ln w="19050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Connector: Elbow 88">
            <a:extLst>
              <a:ext uri="{FF2B5EF4-FFF2-40B4-BE49-F238E27FC236}">
                <a16:creationId xmlns:a16="http://schemas.microsoft.com/office/drawing/2014/main" id="{4B863298-C701-47C3-A1AD-164893665175}"/>
              </a:ext>
            </a:extLst>
          </p:cNvPr>
          <p:cNvCxnSpPr>
            <a:cxnSpLocks/>
            <a:endCxn id="79" idx="3"/>
          </p:cNvCxnSpPr>
          <p:nvPr/>
        </p:nvCxnSpPr>
        <p:spPr>
          <a:xfrm rot="10800000" flipV="1">
            <a:off x="8598855" y="2593670"/>
            <a:ext cx="2373950" cy="2209183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TextBox 93">
            <a:extLst>
              <a:ext uri="{FF2B5EF4-FFF2-40B4-BE49-F238E27FC236}">
                <a16:creationId xmlns:a16="http://schemas.microsoft.com/office/drawing/2014/main" id="{5995D1D4-A916-498E-ABD4-A5AF95C07FA8}"/>
              </a:ext>
            </a:extLst>
          </p:cNvPr>
          <p:cNvSpPr txBox="1"/>
          <p:nvPr/>
        </p:nvSpPr>
        <p:spPr>
          <a:xfrm>
            <a:off x="4393647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Build app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FA816544-D9CB-49D6-A620-4B0C65BFCC06}"/>
              </a:ext>
            </a:extLst>
          </p:cNvPr>
          <p:cNvSpPr txBox="1"/>
          <p:nvPr/>
        </p:nvSpPr>
        <p:spPr>
          <a:xfrm>
            <a:off x="2683329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Collaborate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FD5FBBC9-AF29-4E1F-8A22-F9EBDD1EF2A4}"/>
              </a:ext>
            </a:extLst>
          </p:cNvPr>
          <p:cNvSpPr txBox="1"/>
          <p:nvPr/>
        </p:nvSpPr>
        <p:spPr>
          <a:xfrm>
            <a:off x="6156979" y="1832445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Test app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1D358304-49D3-4C5D-9133-D543EBA4EB4F}"/>
              </a:ext>
            </a:extLst>
          </p:cNvPr>
          <p:cNvSpPr txBox="1"/>
          <p:nvPr/>
        </p:nvSpPr>
        <p:spPr>
          <a:xfrm>
            <a:off x="8067399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Release app</a:t>
            </a: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8CB482E7-CC34-46B5-B9B1-BF269389FAE8}"/>
              </a:ext>
            </a:extLst>
          </p:cNvPr>
          <p:cNvSpPr txBox="1"/>
          <p:nvPr/>
        </p:nvSpPr>
        <p:spPr>
          <a:xfrm>
            <a:off x="9858731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Monitor app</a:t>
            </a:r>
          </a:p>
        </p:txBody>
      </p:sp>
      <p:cxnSp>
        <p:nvCxnSpPr>
          <p:cNvPr id="140" name="Straight Arrow Connector 139">
            <a:extLst>
              <a:ext uri="{FF2B5EF4-FFF2-40B4-BE49-F238E27FC236}">
                <a16:creationId xmlns:a16="http://schemas.microsoft.com/office/drawing/2014/main" id="{BFAAC287-A2A7-4218-9A5C-359D1D884A4B}"/>
              </a:ext>
            </a:extLst>
          </p:cNvPr>
          <p:cNvCxnSpPr>
            <a:cxnSpLocks/>
          </p:cNvCxnSpPr>
          <p:nvPr/>
        </p:nvCxnSpPr>
        <p:spPr>
          <a:xfrm flipV="1">
            <a:off x="3850225" y="2520243"/>
            <a:ext cx="774497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Arrow Connector 140">
            <a:extLst>
              <a:ext uri="{FF2B5EF4-FFF2-40B4-BE49-F238E27FC236}">
                <a16:creationId xmlns:a16="http://schemas.microsoft.com/office/drawing/2014/main" id="{AE1EA355-4B1F-4EF6-B072-B297C7D36958}"/>
              </a:ext>
            </a:extLst>
          </p:cNvPr>
          <p:cNvCxnSpPr>
            <a:cxnSpLocks/>
          </p:cNvCxnSpPr>
          <p:nvPr/>
        </p:nvCxnSpPr>
        <p:spPr>
          <a:xfrm>
            <a:off x="5570645" y="2520243"/>
            <a:ext cx="946287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Arrow Connector 141">
            <a:extLst>
              <a:ext uri="{FF2B5EF4-FFF2-40B4-BE49-F238E27FC236}">
                <a16:creationId xmlns:a16="http://schemas.microsoft.com/office/drawing/2014/main" id="{8A56E93C-395A-45EE-940A-983CFDE92635}"/>
              </a:ext>
            </a:extLst>
          </p:cNvPr>
          <p:cNvCxnSpPr>
            <a:cxnSpLocks/>
          </p:cNvCxnSpPr>
          <p:nvPr/>
        </p:nvCxnSpPr>
        <p:spPr>
          <a:xfrm>
            <a:off x="7196682" y="2520243"/>
            <a:ext cx="109930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Arrow Connector 143">
            <a:extLst>
              <a:ext uri="{FF2B5EF4-FFF2-40B4-BE49-F238E27FC236}">
                <a16:creationId xmlns:a16="http://schemas.microsoft.com/office/drawing/2014/main" id="{495DE396-7C45-49E8-8D9E-F6C003404DD5}"/>
              </a:ext>
            </a:extLst>
          </p:cNvPr>
          <p:cNvCxnSpPr>
            <a:cxnSpLocks/>
          </p:cNvCxnSpPr>
          <p:nvPr/>
        </p:nvCxnSpPr>
        <p:spPr>
          <a:xfrm>
            <a:off x="9112623" y="2520243"/>
            <a:ext cx="962699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9B6FC9CD-2D6B-4794-BF51-E9B88796FF2B}"/>
              </a:ext>
            </a:extLst>
          </p:cNvPr>
          <p:cNvGrpSpPr/>
          <p:nvPr/>
        </p:nvGrpSpPr>
        <p:grpSpPr>
          <a:xfrm>
            <a:off x="3034411" y="2271608"/>
            <a:ext cx="642716" cy="643947"/>
            <a:chOff x="3034411" y="2271607"/>
            <a:chExt cx="642716" cy="643947"/>
          </a:xfrm>
        </p:grpSpPr>
        <p:sp useBgFill="1">
          <p:nvSpPr>
            <p:cNvPr id="146" name="Freeform 5">
              <a:extLst>
                <a:ext uri="{FF2B5EF4-FFF2-40B4-BE49-F238E27FC236}">
                  <a16:creationId xmlns:a16="http://schemas.microsoft.com/office/drawing/2014/main" id="{2C70C977-B900-43A7-A552-A57AF62891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4411" y="2271607"/>
              <a:ext cx="642716" cy="643947"/>
            </a:xfrm>
            <a:prstGeom prst="ellipse">
              <a:avLst/>
            </a:prstGeom>
            <a:solidFill>
              <a:schemeClr val="bg1"/>
            </a:solidFill>
            <a:ln w="10795" cap="flat" cmpd="sng" algn="ctr">
              <a:noFill/>
              <a:prstDash val="solid"/>
            </a:ln>
            <a:effectLst>
              <a:outerShdw blurRad="190500" dist="38100" dir="2700000" algn="tl" rotWithShape="0">
                <a:prstClr val="black">
                  <a:alpha val="25000"/>
                </a:prstClr>
              </a:outerShdw>
            </a:effectLst>
          </p:spPr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ts val="600"/>
                </a:spcBef>
                <a:defRPr/>
              </a:pPr>
              <a:endParaRPr lang="en-US" sz="2000">
                <a:latin typeface="Segoe UI Semilight"/>
              </a:endParaRPr>
            </a:p>
          </p:txBody>
        </p:sp>
        <p:grpSp>
          <p:nvGrpSpPr>
            <p:cNvPr id="147" name="Group 146">
              <a:extLst>
                <a:ext uri="{FF2B5EF4-FFF2-40B4-BE49-F238E27FC236}">
                  <a16:creationId xmlns:a16="http://schemas.microsoft.com/office/drawing/2014/main" id="{63BF0961-D24F-459B-9E41-7790125E171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034411" y="2273421"/>
              <a:ext cx="642716" cy="628550"/>
              <a:chOff x="6634" y="3297"/>
              <a:chExt cx="2092" cy="2046"/>
            </a:xfrm>
            <a:solidFill>
              <a:schemeClr val="tx1"/>
            </a:solidFill>
          </p:grpSpPr>
          <p:sp>
            <p:nvSpPr>
              <p:cNvPr id="148" name="Freeform 5">
                <a:extLst>
                  <a:ext uri="{FF2B5EF4-FFF2-40B4-BE49-F238E27FC236}">
                    <a16:creationId xmlns:a16="http://schemas.microsoft.com/office/drawing/2014/main" id="{92CD9963-5797-4ABC-AE2B-42F964834A6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4" y="3297"/>
                <a:ext cx="2092" cy="2046"/>
              </a:xfrm>
              <a:custGeom>
                <a:avLst/>
                <a:gdLst>
                  <a:gd name="T0" fmla="*/ 594 w 1187"/>
                  <a:gd name="T1" fmla="*/ 0 h 1161"/>
                  <a:gd name="T2" fmla="*/ 594 w 1187"/>
                  <a:gd name="T3" fmla="*/ 0 h 1161"/>
                  <a:gd name="T4" fmla="*/ 0 w 1187"/>
                  <a:gd name="T5" fmla="*/ 592 h 1161"/>
                  <a:gd name="T6" fmla="*/ 406 w 1187"/>
                  <a:gd name="T7" fmla="*/ 1155 h 1161"/>
                  <a:gd name="T8" fmla="*/ 446 w 1187"/>
                  <a:gd name="T9" fmla="*/ 1126 h 1161"/>
                  <a:gd name="T10" fmla="*/ 445 w 1187"/>
                  <a:gd name="T11" fmla="*/ 1016 h 1161"/>
                  <a:gd name="T12" fmla="*/ 246 w 1187"/>
                  <a:gd name="T13" fmla="*/ 946 h 1161"/>
                  <a:gd name="T14" fmla="*/ 179 w 1187"/>
                  <a:gd name="T15" fmla="*/ 859 h 1161"/>
                  <a:gd name="T16" fmla="*/ 184 w 1187"/>
                  <a:gd name="T17" fmla="*/ 823 h 1161"/>
                  <a:gd name="T18" fmla="*/ 274 w 1187"/>
                  <a:gd name="T19" fmla="*/ 884 h 1161"/>
                  <a:gd name="T20" fmla="*/ 448 w 1187"/>
                  <a:gd name="T21" fmla="*/ 934 h 1161"/>
                  <a:gd name="T22" fmla="*/ 485 w 1187"/>
                  <a:gd name="T23" fmla="*/ 854 h 1161"/>
                  <a:gd name="T24" fmla="*/ 215 w 1187"/>
                  <a:gd name="T25" fmla="*/ 561 h 1161"/>
                  <a:gd name="T26" fmla="*/ 276 w 1187"/>
                  <a:gd name="T27" fmla="*/ 402 h 1161"/>
                  <a:gd name="T28" fmla="*/ 282 w 1187"/>
                  <a:gd name="T29" fmla="*/ 245 h 1161"/>
                  <a:gd name="T30" fmla="*/ 445 w 1187"/>
                  <a:gd name="T31" fmla="*/ 305 h 1161"/>
                  <a:gd name="T32" fmla="*/ 594 w 1187"/>
                  <a:gd name="T33" fmla="*/ 285 h 1161"/>
                  <a:gd name="T34" fmla="*/ 742 w 1187"/>
                  <a:gd name="T35" fmla="*/ 305 h 1161"/>
                  <a:gd name="T36" fmla="*/ 906 w 1187"/>
                  <a:gd name="T37" fmla="*/ 245 h 1161"/>
                  <a:gd name="T38" fmla="*/ 911 w 1187"/>
                  <a:gd name="T39" fmla="*/ 402 h 1161"/>
                  <a:gd name="T40" fmla="*/ 972 w 1187"/>
                  <a:gd name="T41" fmla="*/ 561 h 1161"/>
                  <a:gd name="T42" fmla="*/ 701 w 1187"/>
                  <a:gd name="T43" fmla="*/ 853 h 1161"/>
                  <a:gd name="T44" fmla="*/ 741 w 1187"/>
                  <a:gd name="T45" fmla="*/ 963 h 1161"/>
                  <a:gd name="T46" fmla="*/ 740 w 1187"/>
                  <a:gd name="T47" fmla="*/ 1126 h 1161"/>
                  <a:gd name="T48" fmla="*/ 782 w 1187"/>
                  <a:gd name="T49" fmla="*/ 1155 h 1161"/>
                  <a:gd name="T50" fmla="*/ 1187 w 1187"/>
                  <a:gd name="T51" fmla="*/ 592 h 1161"/>
                  <a:gd name="T52" fmla="*/ 594 w 1187"/>
                  <a:gd name="T53" fmla="*/ 0 h 1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87" h="1161">
                    <a:moveTo>
                      <a:pt x="594" y="0"/>
                    </a:moveTo>
                    <a:cubicBezTo>
                      <a:pt x="594" y="0"/>
                      <a:pt x="594" y="0"/>
                      <a:pt x="594" y="0"/>
                    </a:cubicBezTo>
                    <a:cubicBezTo>
                      <a:pt x="265" y="0"/>
                      <a:pt x="0" y="264"/>
                      <a:pt x="0" y="592"/>
                    </a:cubicBezTo>
                    <a:cubicBezTo>
                      <a:pt x="0" y="854"/>
                      <a:pt x="170" y="1077"/>
                      <a:pt x="406" y="1155"/>
                    </a:cubicBezTo>
                    <a:cubicBezTo>
                      <a:pt x="435" y="1161"/>
                      <a:pt x="446" y="1142"/>
                      <a:pt x="446" y="1126"/>
                    </a:cubicBezTo>
                    <a:cubicBezTo>
                      <a:pt x="446" y="1112"/>
                      <a:pt x="445" y="1066"/>
                      <a:pt x="445" y="1016"/>
                    </a:cubicBezTo>
                    <a:cubicBezTo>
                      <a:pt x="280" y="1052"/>
                      <a:pt x="246" y="946"/>
                      <a:pt x="246" y="946"/>
                    </a:cubicBezTo>
                    <a:cubicBezTo>
                      <a:pt x="218" y="877"/>
                      <a:pt x="179" y="859"/>
                      <a:pt x="179" y="859"/>
                    </a:cubicBezTo>
                    <a:cubicBezTo>
                      <a:pt x="125" y="822"/>
                      <a:pt x="184" y="823"/>
                      <a:pt x="184" y="823"/>
                    </a:cubicBezTo>
                    <a:cubicBezTo>
                      <a:pt x="243" y="827"/>
                      <a:pt x="274" y="884"/>
                      <a:pt x="274" y="884"/>
                    </a:cubicBezTo>
                    <a:cubicBezTo>
                      <a:pt x="327" y="975"/>
                      <a:pt x="414" y="948"/>
                      <a:pt x="448" y="934"/>
                    </a:cubicBezTo>
                    <a:cubicBezTo>
                      <a:pt x="453" y="895"/>
                      <a:pt x="468" y="869"/>
                      <a:pt x="485" y="854"/>
                    </a:cubicBezTo>
                    <a:cubicBezTo>
                      <a:pt x="353" y="839"/>
                      <a:pt x="215" y="789"/>
                      <a:pt x="215" y="561"/>
                    </a:cubicBezTo>
                    <a:cubicBezTo>
                      <a:pt x="215" y="496"/>
                      <a:pt x="237" y="443"/>
                      <a:pt x="276" y="402"/>
                    </a:cubicBezTo>
                    <a:cubicBezTo>
                      <a:pt x="269" y="387"/>
                      <a:pt x="249" y="327"/>
                      <a:pt x="282" y="245"/>
                    </a:cubicBezTo>
                    <a:cubicBezTo>
                      <a:pt x="282" y="245"/>
                      <a:pt x="331" y="229"/>
                      <a:pt x="445" y="305"/>
                    </a:cubicBezTo>
                    <a:cubicBezTo>
                      <a:pt x="492" y="293"/>
                      <a:pt x="543" y="286"/>
                      <a:pt x="594" y="285"/>
                    </a:cubicBezTo>
                    <a:cubicBezTo>
                      <a:pt x="644" y="286"/>
                      <a:pt x="695" y="293"/>
                      <a:pt x="742" y="305"/>
                    </a:cubicBezTo>
                    <a:cubicBezTo>
                      <a:pt x="855" y="229"/>
                      <a:pt x="906" y="245"/>
                      <a:pt x="906" y="245"/>
                    </a:cubicBezTo>
                    <a:cubicBezTo>
                      <a:pt x="937" y="327"/>
                      <a:pt x="917" y="387"/>
                      <a:pt x="911" y="402"/>
                    </a:cubicBezTo>
                    <a:cubicBezTo>
                      <a:pt x="949" y="443"/>
                      <a:pt x="972" y="496"/>
                      <a:pt x="972" y="561"/>
                    </a:cubicBezTo>
                    <a:cubicBezTo>
                      <a:pt x="972" y="789"/>
                      <a:pt x="833" y="839"/>
                      <a:pt x="701" y="853"/>
                    </a:cubicBezTo>
                    <a:cubicBezTo>
                      <a:pt x="723" y="872"/>
                      <a:pt x="741" y="908"/>
                      <a:pt x="741" y="963"/>
                    </a:cubicBezTo>
                    <a:cubicBezTo>
                      <a:pt x="741" y="1043"/>
                      <a:pt x="740" y="1107"/>
                      <a:pt x="740" y="1126"/>
                    </a:cubicBezTo>
                    <a:cubicBezTo>
                      <a:pt x="740" y="1142"/>
                      <a:pt x="751" y="1161"/>
                      <a:pt x="782" y="1155"/>
                    </a:cubicBezTo>
                    <a:cubicBezTo>
                      <a:pt x="1017" y="1076"/>
                      <a:pt x="1187" y="854"/>
                      <a:pt x="1187" y="592"/>
                    </a:cubicBezTo>
                    <a:cubicBezTo>
                      <a:pt x="1187" y="264"/>
                      <a:pt x="921" y="0"/>
                      <a:pt x="59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49" name="Freeform 6">
                <a:extLst>
                  <a:ext uri="{FF2B5EF4-FFF2-40B4-BE49-F238E27FC236}">
                    <a16:creationId xmlns:a16="http://schemas.microsoft.com/office/drawing/2014/main" id="{231576D0-24C4-49FF-84F3-A57F89E64AC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01" y="4776"/>
                <a:ext cx="31" cy="26"/>
              </a:xfrm>
              <a:custGeom>
                <a:avLst/>
                <a:gdLst>
                  <a:gd name="T0" fmla="*/ 16 w 18"/>
                  <a:gd name="T1" fmla="*/ 11 h 15"/>
                  <a:gd name="T2" fmla="*/ 16 w 18"/>
                  <a:gd name="T3" fmla="*/ 11 h 15"/>
                  <a:gd name="T4" fmla="*/ 7 w 18"/>
                  <a:gd name="T5" fmla="*/ 13 h 15"/>
                  <a:gd name="T6" fmla="*/ 1 w 18"/>
                  <a:gd name="T7" fmla="*/ 4 h 15"/>
                  <a:gd name="T8" fmla="*/ 11 w 18"/>
                  <a:gd name="T9" fmla="*/ 3 h 15"/>
                  <a:gd name="T10" fmla="*/ 16 w 18"/>
                  <a:gd name="T11" fmla="*/ 1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15">
                    <a:moveTo>
                      <a:pt x="16" y="11"/>
                    </a:moveTo>
                    <a:cubicBezTo>
                      <a:pt x="16" y="11"/>
                      <a:pt x="16" y="11"/>
                      <a:pt x="16" y="11"/>
                    </a:cubicBezTo>
                    <a:cubicBezTo>
                      <a:pt x="15" y="14"/>
                      <a:pt x="10" y="15"/>
                      <a:pt x="7" y="13"/>
                    </a:cubicBezTo>
                    <a:cubicBezTo>
                      <a:pt x="2" y="11"/>
                      <a:pt x="0" y="7"/>
                      <a:pt x="1" y="4"/>
                    </a:cubicBezTo>
                    <a:cubicBezTo>
                      <a:pt x="2" y="1"/>
                      <a:pt x="7" y="0"/>
                      <a:pt x="11" y="3"/>
                    </a:cubicBezTo>
                    <a:cubicBezTo>
                      <a:pt x="15" y="4"/>
                      <a:pt x="18" y="9"/>
                      <a:pt x="16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50" name="Freeform 7">
                <a:extLst>
                  <a:ext uri="{FF2B5EF4-FFF2-40B4-BE49-F238E27FC236}">
                    <a16:creationId xmlns:a16="http://schemas.microsoft.com/office/drawing/2014/main" id="{733648A1-0A6E-4307-BE8E-58A8CFD8879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43" y="4811"/>
                <a:ext cx="33" cy="37"/>
              </a:xfrm>
              <a:custGeom>
                <a:avLst/>
                <a:gdLst>
                  <a:gd name="T0" fmla="*/ 17 w 19"/>
                  <a:gd name="T1" fmla="*/ 18 h 21"/>
                  <a:gd name="T2" fmla="*/ 17 w 19"/>
                  <a:gd name="T3" fmla="*/ 18 h 21"/>
                  <a:gd name="T4" fmla="*/ 5 w 19"/>
                  <a:gd name="T5" fmla="*/ 16 h 21"/>
                  <a:gd name="T6" fmla="*/ 3 w 19"/>
                  <a:gd name="T7" fmla="*/ 3 h 21"/>
                  <a:gd name="T8" fmla="*/ 15 w 19"/>
                  <a:gd name="T9" fmla="*/ 6 h 21"/>
                  <a:gd name="T10" fmla="*/ 17 w 19"/>
                  <a:gd name="T11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21">
                    <a:moveTo>
                      <a:pt x="17" y="18"/>
                    </a:moveTo>
                    <a:cubicBezTo>
                      <a:pt x="17" y="18"/>
                      <a:pt x="17" y="18"/>
                      <a:pt x="17" y="18"/>
                    </a:cubicBezTo>
                    <a:cubicBezTo>
                      <a:pt x="14" y="21"/>
                      <a:pt x="8" y="19"/>
                      <a:pt x="5" y="16"/>
                    </a:cubicBezTo>
                    <a:cubicBezTo>
                      <a:pt x="0" y="11"/>
                      <a:pt x="0" y="5"/>
                      <a:pt x="3" y="3"/>
                    </a:cubicBezTo>
                    <a:cubicBezTo>
                      <a:pt x="5" y="0"/>
                      <a:pt x="11" y="2"/>
                      <a:pt x="15" y="6"/>
                    </a:cubicBezTo>
                    <a:cubicBezTo>
                      <a:pt x="19" y="10"/>
                      <a:pt x="19" y="16"/>
                      <a:pt x="17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51" name="Freeform 8">
                <a:extLst>
                  <a:ext uri="{FF2B5EF4-FFF2-40B4-BE49-F238E27FC236}">
                    <a16:creationId xmlns:a16="http://schemas.microsoft.com/office/drawing/2014/main" id="{354B0740-FB15-4B10-A311-B50533F1611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84" y="4865"/>
                <a:ext cx="37" cy="43"/>
              </a:xfrm>
              <a:custGeom>
                <a:avLst/>
                <a:gdLst>
                  <a:gd name="T0" fmla="*/ 17 w 21"/>
                  <a:gd name="T1" fmla="*/ 22 h 24"/>
                  <a:gd name="T2" fmla="*/ 17 w 21"/>
                  <a:gd name="T3" fmla="*/ 22 h 24"/>
                  <a:gd name="T4" fmla="*/ 4 w 21"/>
                  <a:gd name="T5" fmla="*/ 16 h 24"/>
                  <a:gd name="T6" fmla="*/ 4 w 21"/>
                  <a:gd name="T7" fmla="*/ 2 h 24"/>
                  <a:gd name="T8" fmla="*/ 17 w 21"/>
                  <a:gd name="T9" fmla="*/ 7 h 24"/>
                  <a:gd name="T10" fmla="*/ 17 w 21"/>
                  <a:gd name="T11" fmla="*/ 2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" h="24">
                    <a:moveTo>
                      <a:pt x="17" y="22"/>
                    </a:moveTo>
                    <a:cubicBezTo>
                      <a:pt x="17" y="22"/>
                      <a:pt x="17" y="22"/>
                      <a:pt x="17" y="22"/>
                    </a:cubicBezTo>
                    <a:cubicBezTo>
                      <a:pt x="13" y="24"/>
                      <a:pt x="8" y="22"/>
                      <a:pt x="4" y="16"/>
                    </a:cubicBezTo>
                    <a:cubicBezTo>
                      <a:pt x="0" y="11"/>
                      <a:pt x="0" y="5"/>
                      <a:pt x="4" y="2"/>
                    </a:cubicBezTo>
                    <a:cubicBezTo>
                      <a:pt x="8" y="0"/>
                      <a:pt x="13" y="2"/>
                      <a:pt x="17" y="7"/>
                    </a:cubicBezTo>
                    <a:cubicBezTo>
                      <a:pt x="21" y="13"/>
                      <a:pt x="21" y="19"/>
                      <a:pt x="17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52" name="Freeform 9">
                <a:extLst>
                  <a:ext uri="{FF2B5EF4-FFF2-40B4-BE49-F238E27FC236}">
                    <a16:creationId xmlns:a16="http://schemas.microsoft.com/office/drawing/2014/main" id="{126FCC2D-66B9-4FA6-ACCC-AA68194D760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31" y="4924"/>
                <a:ext cx="46" cy="44"/>
              </a:xfrm>
              <a:custGeom>
                <a:avLst/>
                <a:gdLst>
                  <a:gd name="T0" fmla="*/ 22 w 26"/>
                  <a:gd name="T1" fmla="*/ 22 h 25"/>
                  <a:gd name="T2" fmla="*/ 22 w 26"/>
                  <a:gd name="T3" fmla="*/ 22 h 25"/>
                  <a:gd name="T4" fmla="*/ 7 w 26"/>
                  <a:gd name="T5" fmla="*/ 19 h 25"/>
                  <a:gd name="T6" fmla="*/ 3 w 26"/>
                  <a:gd name="T7" fmla="*/ 4 h 25"/>
                  <a:gd name="T8" fmla="*/ 19 w 26"/>
                  <a:gd name="T9" fmla="*/ 6 h 25"/>
                  <a:gd name="T10" fmla="*/ 22 w 26"/>
                  <a:gd name="T11" fmla="*/ 2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25">
                    <a:moveTo>
                      <a:pt x="22" y="22"/>
                    </a:moveTo>
                    <a:cubicBezTo>
                      <a:pt x="22" y="22"/>
                      <a:pt x="22" y="22"/>
                      <a:pt x="22" y="22"/>
                    </a:cubicBezTo>
                    <a:cubicBezTo>
                      <a:pt x="19" y="25"/>
                      <a:pt x="12" y="24"/>
                      <a:pt x="7" y="19"/>
                    </a:cubicBezTo>
                    <a:cubicBezTo>
                      <a:pt x="2" y="14"/>
                      <a:pt x="0" y="8"/>
                      <a:pt x="3" y="4"/>
                    </a:cubicBezTo>
                    <a:cubicBezTo>
                      <a:pt x="7" y="0"/>
                      <a:pt x="14" y="1"/>
                      <a:pt x="19" y="6"/>
                    </a:cubicBezTo>
                    <a:cubicBezTo>
                      <a:pt x="24" y="11"/>
                      <a:pt x="26" y="18"/>
                      <a:pt x="22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53" name="Freeform 10">
                <a:extLst>
                  <a:ext uri="{FF2B5EF4-FFF2-40B4-BE49-F238E27FC236}">
                    <a16:creationId xmlns:a16="http://schemas.microsoft.com/office/drawing/2014/main" id="{C7D066FF-E060-4B09-A2F9-2D099B46DB8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02" y="4969"/>
                <a:ext cx="49" cy="39"/>
              </a:xfrm>
              <a:custGeom>
                <a:avLst/>
                <a:gdLst>
                  <a:gd name="T0" fmla="*/ 26 w 28"/>
                  <a:gd name="T1" fmla="*/ 15 h 22"/>
                  <a:gd name="T2" fmla="*/ 26 w 28"/>
                  <a:gd name="T3" fmla="*/ 15 h 22"/>
                  <a:gd name="T4" fmla="*/ 11 w 28"/>
                  <a:gd name="T5" fmla="*/ 19 h 22"/>
                  <a:gd name="T6" fmla="*/ 2 w 28"/>
                  <a:gd name="T7" fmla="*/ 8 h 22"/>
                  <a:gd name="T8" fmla="*/ 16 w 28"/>
                  <a:gd name="T9" fmla="*/ 2 h 22"/>
                  <a:gd name="T10" fmla="*/ 26 w 28"/>
                  <a:gd name="T11" fmla="*/ 1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22">
                    <a:moveTo>
                      <a:pt x="26" y="15"/>
                    </a:moveTo>
                    <a:cubicBezTo>
                      <a:pt x="26" y="15"/>
                      <a:pt x="26" y="15"/>
                      <a:pt x="26" y="15"/>
                    </a:cubicBezTo>
                    <a:cubicBezTo>
                      <a:pt x="25" y="19"/>
                      <a:pt x="18" y="22"/>
                      <a:pt x="11" y="19"/>
                    </a:cubicBezTo>
                    <a:cubicBezTo>
                      <a:pt x="5" y="17"/>
                      <a:pt x="0" y="12"/>
                      <a:pt x="2" y="8"/>
                    </a:cubicBezTo>
                    <a:cubicBezTo>
                      <a:pt x="3" y="2"/>
                      <a:pt x="10" y="0"/>
                      <a:pt x="16" y="2"/>
                    </a:cubicBezTo>
                    <a:cubicBezTo>
                      <a:pt x="23" y="5"/>
                      <a:pt x="28" y="10"/>
                      <a:pt x="26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54" name="Freeform 11">
                <a:extLst>
                  <a:ext uri="{FF2B5EF4-FFF2-40B4-BE49-F238E27FC236}">
                    <a16:creationId xmlns:a16="http://schemas.microsoft.com/office/drawing/2014/main" id="{47E159B4-90D6-45B7-9F4F-0EFC3973121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90" y="4985"/>
                <a:ext cx="44" cy="32"/>
              </a:xfrm>
              <a:custGeom>
                <a:avLst/>
                <a:gdLst>
                  <a:gd name="T0" fmla="*/ 25 w 25"/>
                  <a:gd name="T1" fmla="*/ 9 h 18"/>
                  <a:gd name="T2" fmla="*/ 25 w 25"/>
                  <a:gd name="T3" fmla="*/ 9 h 18"/>
                  <a:gd name="T4" fmla="*/ 12 w 25"/>
                  <a:gd name="T5" fmla="*/ 18 h 18"/>
                  <a:gd name="T6" fmla="*/ 0 w 25"/>
                  <a:gd name="T7" fmla="*/ 10 h 18"/>
                  <a:gd name="T8" fmla="*/ 12 w 25"/>
                  <a:gd name="T9" fmla="*/ 1 h 18"/>
                  <a:gd name="T10" fmla="*/ 25 w 25"/>
                  <a:gd name="T11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" h="18">
                    <a:moveTo>
                      <a:pt x="25" y="9"/>
                    </a:moveTo>
                    <a:cubicBezTo>
                      <a:pt x="25" y="9"/>
                      <a:pt x="25" y="9"/>
                      <a:pt x="25" y="9"/>
                    </a:cubicBezTo>
                    <a:cubicBezTo>
                      <a:pt x="25" y="14"/>
                      <a:pt x="20" y="18"/>
                      <a:pt x="12" y="18"/>
                    </a:cubicBezTo>
                    <a:cubicBezTo>
                      <a:pt x="6" y="18"/>
                      <a:pt x="0" y="14"/>
                      <a:pt x="0" y="10"/>
                    </a:cubicBezTo>
                    <a:cubicBezTo>
                      <a:pt x="0" y="4"/>
                      <a:pt x="5" y="1"/>
                      <a:pt x="12" y="1"/>
                    </a:cubicBezTo>
                    <a:cubicBezTo>
                      <a:pt x="19" y="0"/>
                      <a:pt x="25" y="4"/>
                      <a:pt x="25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55" name="Freeform 12">
                <a:extLst>
                  <a:ext uri="{FF2B5EF4-FFF2-40B4-BE49-F238E27FC236}">
                    <a16:creationId xmlns:a16="http://schemas.microsoft.com/office/drawing/2014/main" id="{6311F244-6C6A-4496-BF18-B0F21A9428A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367" y="4973"/>
                <a:ext cx="48" cy="37"/>
              </a:xfrm>
              <a:custGeom>
                <a:avLst/>
                <a:gdLst>
                  <a:gd name="T0" fmla="*/ 26 w 27"/>
                  <a:gd name="T1" fmla="*/ 9 h 21"/>
                  <a:gd name="T2" fmla="*/ 26 w 27"/>
                  <a:gd name="T3" fmla="*/ 9 h 21"/>
                  <a:gd name="T4" fmla="*/ 15 w 27"/>
                  <a:gd name="T5" fmla="*/ 20 h 21"/>
                  <a:gd name="T6" fmla="*/ 1 w 27"/>
                  <a:gd name="T7" fmla="*/ 13 h 21"/>
                  <a:gd name="T8" fmla="*/ 12 w 27"/>
                  <a:gd name="T9" fmla="*/ 2 h 21"/>
                  <a:gd name="T10" fmla="*/ 26 w 27"/>
                  <a:gd name="T11" fmla="*/ 9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21">
                    <a:moveTo>
                      <a:pt x="26" y="9"/>
                    </a:moveTo>
                    <a:cubicBezTo>
                      <a:pt x="26" y="9"/>
                      <a:pt x="26" y="9"/>
                      <a:pt x="26" y="9"/>
                    </a:cubicBezTo>
                    <a:cubicBezTo>
                      <a:pt x="27" y="13"/>
                      <a:pt x="22" y="18"/>
                      <a:pt x="15" y="20"/>
                    </a:cubicBezTo>
                    <a:cubicBezTo>
                      <a:pt x="8" y="21"/>
                      <a:pt x="2" y="18"/>
                      <a:pt x="1" y="13"/>
                    </a:cubicBezTo>
                    <a:cubicBezTo>
                      <a:pt x="0" y="8"/>
                      <a:pt x="5" y="3"/>
                      <a:pt x="12" y="2"/>
                    </a:cubicBezTo>
                    <a:cubicBezTo>
                      <a:pt x="19" y="0"/>
                      <a:pt x="25" y="3"/>
                      <a:pt x="2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</p:grpSp>
      </p:grpSp>
      <p:pic>
        <p:nvPicPr>
          <p:cNvPr id="156" name="Picture 6">
            <a:extLst>
              <a:ext uri="{FF2B5EF4-FFF2-40B4-BE49-F238E27FC236}">
                <a16:creationId xmlns:a16="http://schemas.microsoft.com/office/drawing/2014/main" id="{4AC7510A-6CE4-4315-8197-4CB4E3940C24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3367" y="2319423"/>
            <a:ext cx="532944" cy="53654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>
            <a:outerShdw blurRad="1905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157" name="Picture 12">
            <a:extLst>
              <a:ext uri="{FF2B5EF4-FFF2-40B4-BE49-F238E27FC236}">
                <a16:creationId xmlns:a16="http://schemas.microsoft.com/office/drawing/2014/main" id="{8772450E-8BAA-46B6-9A5E-3D579AF59EBC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4245" y="2322523"/>
            <a:ext cx="530347" cy="53034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>
            <a:outerShdw blurRad="1905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158" name="Graphic 157">
            <a:extLst>
              <a:ext uri="{FF2B5EF4-FFF2-40B4-BE49-F238E27FC236}">
                <a16:creationId xmlns:a16="http://schemas.microsoft.com/office/drawing/2014/main" id="{341DDEC5-C980-44C9-91DB-59859F6ADBF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97813" y="2315809"/>
            <a:ext cx="536547" cy="536547"/>
          </a:xfrm>
          <a:prstGeom prst="rect">
            <a:avLst/>
          </a:prstGeom>
          <a:effectLst>
            <a:outerShdw blurRad="190500" dist="38100" dir="2700000" algn="ctr" rotWithShape="0">
              <a:prstClr val="black">
                <a:alpha val="25000"/>
              </a:prstClr>
            </a:outerShdw>
          </a:effectLst>
        </p:spPr>
      </p:pic>
      <p:cxnSp>
        <p:nvCxnSpPr>
          <p:cNvPr id="176" name="Straight Arrow Connector 175">
            <a:extLst>
              <a:ext uri="{FF2B5EF4-FFF2-40B4-BE49-F238E27FC236}">
                <a16:creationId xmlns:a16="http://schemas.microsoft.com/office/drawing/2014/main" id="{95398597-8FD4-457A-A6A8-3AA58E948548}"/>
              </a:ext>
            </a:extLst>
          </p:cNvPr>
          <p:cNvCxnSpPr>
            <a:cxnSpLocks/>
          </p:cNvCxnSpPr>
          <p:nvPr/>
        </p:nvCxnSpPr>
        <p:spPr>
          <a:xfrm>
            <a:off x="1810056" y="2520243"/>
            <a:ext cx="110556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Arrow Connector 176">
            <a:extLst>
              <a:ext uri="{FF2B5EF4-FFF2-40B4-BE49-F238E27FC236}">
                <a16:creationId xmlns:a16="http://schemas.microsoft.com/office/drawing/2014/main" id="{44A2A861-BA92-4191-95FD-1A388E968F94}"/>
              </a:ext>
            </a:extLst>
          </p:cNvPr>
          <p:cNvCxnSpPr>
            <a:cxnSpLocks/>
          </p:cNvCxnSpPr>
          <p:nvPr/>
        </p:nvCxnSpPr>
        <p:spPr>
          <a:xfrm flipV="1">
            <a:off x="3850225" y="2664541"/>
            <a:ext cx="774497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Arrow Connector 177">
            <a:extLst>
              <a:ext uri="{FF2B5EF4-FFF2-40B4-BE49-F238E27FC236}">
                <a16:creationId xmlns:a16="http://schemas.microsoft.com/office/drawing/2014/main" id="{ED5A322C-0A20-429E-A877-D10915E6415C}"/>
              </a:ext>
            </a:extLst>
          </p:cNvPr>
          <p:cNvCxnSpPr>
            <a:cxnSpLocks/>
          </p:cNvCxnSpPr>
          <p:nvPr/>
        </p:nvCxnSpPr>
        <p:spPr>
          <a:xfrm>
            <a:off x="5570645" y="2664541"/>
            <a:ext cx="946287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Arrow Connector 178">
            <a:extLst>
              <a:ext uri="{FF2B5EF4-FFF2-40B4-BE49-F238E27FC236}">
                <a16:creationId xmlns:a16="http://schemas.microsoft.com/office/drawing/2014/main" id="{E30D44AA-D08C-4C3E-B0FF-D715F8868162}"/>
              </a:ext>
            </a:extLst>
          </p:cNvPr>
          <p:cNvCxnSpPr>
            <a:cxnSpLocks/>
          </p:cNvCxnSpPr>
          <p:nvPr/>
        </p:nvCxnSpPr>
        <p:spPr>
          <a:xfrm>
            <a:off x="7196682" y="2664541"/>
            <a:ext cx="1099303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Arrow Connector 179">
            <a:extLst>
              <a:ext uri="{FF2B5EF4-FFF2-40B4-BE49-F238E27FC236}">
                <a16:creationId xmlns:a16="http://schemas.microsoft.com/office/drawing/2014/main" id="{5C18A7A0-2ADC-406B-9B82-71C55DEA7B2A}"/>
              </a:ext>
            </a:extLst>
          </p:cNvPr>
          <p:cNvCxnSpPr>
            <a:cxnSpLocks/>
          </p:cNvCxnSpPr>
          <p:nvPr/>
        </p:nvCxnSpPr>
        <p:spPr>
          <a:xfrm>
            <a:off x="9112623" y="2664541"/>
            <a:ext cx="962699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>
            <a:extLst>
              <a:ext uri="{FF2B5EF4-FFF2-40B4-BE49-F238E27FC236}">
                <a16:creationId xmlns:a16="http://schemas.microsoft.com/office/drawing/2014/main" id="{B5D6D793-0823-4247-88FC-DBEC7E762809}"/>
              </a:ext>
            </a:extLst>
          </p:cNvPr>
          <p:cNvSpPr txBox="1"/>
          <p:nvPr/>
        </p:nvSpPr>
        <p:spPr>
          <a:xfrm>
            <a:off x="361727" y="2951161"/>
            <a:ext cx="187743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77">
              <a:defRPr/>
            </a:pPr>
            <a:r>
              <a:rPr lang="en-US" sz="1400">
                <a:latin typeface="Segoe UI Semibold"/>
              </a:rPr>
              <a:t>App developer</a:t>
            </a:r>
          </a:p>
          <a:p>
            <a:pPr algn="ctr" defTabSz="914377">
              <a:defRPr/>
            </a:pPr>
            <a:r>
              <a:rPr lang="en-US" sz="1400">
                <a:latin typeface="Segoe UI Semibold"/>
              </a:rPr>
              <a:t>using Azure DevOps </a:t>
            </a: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D4FAF9DF-4027-4DD1-A5C2-39320AD84E23}"/>
              </a:ext>
            </a:extLst>
          </p:cNvPr>
          <p:cNvGrpSpPr/>
          <p:nvPr/>
        </p:nvGrpSpPr>
        <p:grpSpPr>
          <a:xfrm>
            <a:off x="1057501" y="2340616"/>
            <a:ext cx="485888" cy="564792"/>
            <a:chOff x="6185695" y="5061756"/>
            <a:chExt cx="742515" cy="863093"/>
          </a:xfrm>
          <a:solidFill>
            <a:schemeClr val="tx1"/>
          </a:solidFill>
        </p:grpSpPr>
        <p:sp>
          <p:nvSpPr>
            <p:cNvPr id="77" name="Oval 69">
              <a:extLst>
                <a:ext uri="{FF2B5EF4-FFF2-40B4-BE49-F238E27FC236}">
                  <a16:creationId xmlns:a16="http://schemas.microsoft.com/office/drawing/2014/main" id="{12F29A09-7A1D-4009-88D1-0C189C46C6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69737" y="5061756"/>
              <a:ext cx="368084" cy="36808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  <p:sp>
          <p:nvSpPr>
            <p:cNvPr id="82" name="Freeform 70">
              <a:extLst>
                <a:ext uri="{FF2B5EF4-FFF2-40B4-BE49-F238E27FC236}">
                  <a16:creationId xmlns:a16="http://schemas.microsoft.com/office/drawing/2014/main" id="{60C790DF-E063-4876-84C5-EB5A015DB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5695" y="5556765"/>
              <a:ext cx="742515" cy="368084"/>
            </a:xfrm>
            <a:custGeom>
              <a:avLst/>
              <a:gdLst>
                <a:gd name="T0" fmla="*/ 0 w 512"/>
                <a:gd name="T1" fmla="*/ 256 h 256"/>
                <a:gd name="T2" fmla="*/ 256 w 512"/>
                <a:gd name="T3" fmla="*/ 0 h 256"/>
                <a:gd name="T4" fmla="*/ 512 w 512"/>
                <a:gd name="T5" fmla="*/ 256 h 256"/>
                <a:gd name="T6" fmla="*/ 0 w 512"/>
                <a:gd name="T7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2" h="256">
                  <a:moveTo>
                    <a:pt x="0" y="256"/>
                  </a:moveTo>
                  <a:cubicBezTo>
                    <a:pt x="0" y="115"/>
                    <a:pt x="114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lnTo>
                    <a:pt x="0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</p:grpSp>
      <p:sp>
        <p:nvSpPr>
          <p:cNvPr id="83" name="TextBox 82">
            <a:extLst>
              <a:ext uri="{FF2B5EF4-FFF2-40B4-BE49-F238E27FC236}">
                <a16:creationId xmlns:a16="http://schemas.microsoft.com/office/drawing/2014/main" id="{E580BE00-EA60-42EC-BFE4-9B4D7CFA1256}"/>
              </a:ext>
            </a:extLst>
          </p:cNvPr>
          <p:cNvSpPr txBox="1"/>
          <p:nvPr/>
        </p:nvSpPr>
        <p:spPr>
          <a:xfrm>
            <a:off x="223876" y="4645317"/>
            <a:ext cx="21531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77">
              <a:defRPr/>
            </a:pPr>
            <a:r>
              <a:rPr lang="en-US" sz="1400">
                <a:latin typeface="Segoe UI Semibold"/>
              </a:rPr>
              <a:t>Data scientist using </a:t>
            </a:r>
          </a:p>
          <a:p>
            <a:pPr algn="ctr" defTabSz="914377">
              <a:defRPr/>
            </a:pPr>
            <a:r>
              <a:rPr lang="en-US" sz="1400">
                <a:latin typeface="Segoe UI Semibold"/>
              </a:rPr>
              <a:t>Azure Machine Learning</a:t>
            </a:r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772300CD-799C-4012-9C74-5274CDA3E0D7}"/>
              </a:ext>
            </a:extLst>
          </p:cNvPr>
          <p:cNvGrpSpPr/>
          <p:nvPr/>
        </p:nvGrpSpPr>
        <p:grpSpPr>
          <a:xfrm>
            <a:off x="1057501" y="4052851"/>
            <a:ext cx="485888" cy="564792"/>
            <a:chOff x="6185695" y="5061756"/>
            <a:chExt cx="742515" cy="863093"/>
          </a:xfrm>
        </p:grpSpPr>
        <p:sp>
          <p:nvSpPr>
            <p:cNvPr id="85" name="Oval 69">
              <a:extLst>
                <a:ext uri="{FF2B5EF4-FFF2-40B4-BE49-F238E27FC236}">
                  <a16:creationId xmlns:a16="http://schemas.microsoft.com/office/drawing/2014/main" id="{D675A02E-1CE5-4EBE-BDA5-BCC998B8B1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69737" y="5061756"/>
              <a:ext cx="368084" cy="368084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  <p:sp>
          <p:nvSpPr>
            <p:cNvPr id="86" name="Freeform 70">
              <a:extLst>
                <a:ext uri="{FF2B5EF4-FFF2-40B4-BE49-F238E27FC236}">
                  <a16:creationId xmlns:a16="http://schemas.microsoft.com/office/drawing/2014/main" id="{EE47AA69-0D66-456B-A031-2F7DF7CEF55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5695" y="5556765"/>
              <a:ext cx="742515" cy="368084"/>
            </a:xfrm>
            <a:custGeom>
              <a:avLst/>
              <a:gdLst>
                <a:gd name="T0" fmla="*/ 0 w 512"/>
                <a:gd name="T1" fmla="*/ 256 h 256"/>
                <a:gd name="T2" fmla="*/ 256 w 512"/>
                <a:gd name="T3" fmla="*/ 0 h 256"/>
                <a:gd name="T4" fmla="*/ 512 w 512"/>
                <a:gd name="T5" fmla="*/ 256 h 256"/>
                <a:gd name="T6" fmla="*/ 0 w 512"/>
                <a:gd name="T7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2" h="256">
                  <a:moveTo>
                    <a:pt x="0" y="256"/>
                  </a:moveTo>
                  <a:cubicBezTo>
                    <a:pt x="0" y="115"/>
                    <a:pt x="114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lnTo>
                    <a:pt x="0" y="256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A7D079E2-68D6-4423-88C2-EDD5341AC1B4}"/>
              </a:ext>
            </a:extLst>
          </p:cNvPr>
          <p:cNvGrpSpPr/>
          <p:nvPr/>
        </p:nvGrpSpPr>
        <p:grpSpPr>
          <a:xfrm>
            <a:off x="10208042" y="2264567"/>
            <a:ext cx="646260" cy="646260"/>
            <a:chOff x="9897614" y="3471418"/>
            <a:chExt cx="1414462" cy="1414463"/>
          </a:xfrm>
        </p:grpSpPr>
        <p:sp>
          <p:nvSpPr>
            <p:cNvPr id="90" name="Donut 67">
              <a:extLst>
                <a:ext uri="{FF2B5EF4-FFF2-40B4-BE49-F238E27FC236}">
                  <a16:creationId xmlns:a16="http://schemas.microsoft.com/office/drawing/2014/main" id="{4847EC4D-EA4C-42FB-B3C4-97083358E003}"/>
                </a:ext>
              </a:extLst>
            </p:cNvPr>
            <p:cNvSpPr/>
            <p:nvPr/>
          </p:nvSpPr>
          <p:spPr bwMode="auto">
            <a:xfrm>
              <a:off x="9951778" y="3525582"/>
              <a:ext cx="1306134" cy="1306134"/>
            </a:xfrm>
            <a:prstGeom prst="ellipse">
              <a:avLst/>
            </a:prstGeom>
            <a:solidFill>
              <a:schemeClr val="tx1"/>
            </a:solidFill>
            <a:ln w="10795" cap="flat" cmpd="sng" algn="ctr">
              <a:noFill/>
              <a:prstDash val="solid"/>
            </a:ln>
            <a:effectLst>
              <a:outerShdw blurRad="190500" dist="38100" dir="2700000" algn="tl" rotWithShape="0">
                <a:prstClr val="black">
                  <a:alpha val="25000"/>
                </a:prstClr>
              </a:outerShdw>
            </a:effectLst>
          </p:spPr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ts val="600"/>
                </a:spcBef>
                <a:defRPr/>
              </a:pPr>
              <a:endParaRPr lang="en-IN" sz="2000">
                <a:latin typeface="Segoe UI Semilight"/>
              </a:endParaRPr>
            </a:p>
          </p:txBody>
        </p:sp>
        <p:sp>
          <p:nvSpPr>
            <p:cNvPr id="91" name="Donut 67">
              <a:extLst>
                <a:ext uri="{FF2B5EF4-FFF2-40B4-BE49-F238E27FC236}">
                  <a16:creationId xmlns:a16="http://schemas.microsoft.com/office/drawing/2014/main" id="{9CB2B39C-AC4E-4A93-B2A4-71FBD0DAFEDD}"/>
                </a:ext>
              </a:extLst>
            </p:cNvPr>
            <p:cNvSpPr/>
            <p:nvPr/>
          </p:nvSpPr>
          <p:spPr bwMode="auto">
            <a:xfrm>
              <a:off x="9897614" y="3471418"/>
              <a:ext cx="1414462" cy="1414462"/>
            </a:xfrm>
            <a:prstGeom prst="donut">
              <a:avLst>
                <a:gd name="adj" fmla="val 7423"/>
              </a:avLst>
            </a:prstGeom>
            <a:solidFill>
              <a:srgbClr val="FFFFFF">
                <a:lumMod val="8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891" indent="-342891"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Wingdings 3" panose="05040102010807070707" pitchFamily="18" charset="2"/>
                <a:buChar char="Æ"/>
                <a:defRPr/>
              </a:pPr>
              <a:endParaRPr lang="en-IN" sz="2000" b="1"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2" name="Freeform 69">
              <a:extLst>
                <a:ext uri="{FF2B5EF4-FFF2-40B4-BE49-F238E27FC236}">
                  <a16:creationId xmlns:a16="http://schemas.microsoft.com/office/drawing/2014/main" id="{8FAC345E-DBB7-4E92-AB9D-A98D182A09C7}"/>
                </a:ext>
              </a:extLst>
            </p:cNvPr>
            <p:cNvSpPr/>
            <p:nvPr/>
          </p:nvSpPr>
          <p:spPr bwMode="auto">
            <a:xfrm>
              <a:off x="10260852" y="3529492"/>
              <a:ext cx="1051224" cy="1356389"/>
            </a:xfrm>
            <a:custGeom>
              <a:avLst/>
              <a:gdLst>
                <a:gd name="connsiteX0" fmla="*/ 623876 w 1051224"/>
                <a:gd name="connsiteY0" fmla="*/ 0 h 1356389"/>
                <a:gd name="connsiteX1" fmla="*/ 739413 w 1051224"/>
                <a:gd name="connsiteY1" fmla="*/ 62711 h 1356389"/>
                <a:gd name="connsiteX2" fmla="*/ 1051224 w 1051224"/>
                <a:gd name="connsiteY2" fmla="*/ 649158 h 1356389"/>
                <a:gd name="connsiteX3" fmla="*/ 343993 w 1051224"/>
                <a:gd name="connsiteY3" fmla="*/ 1356389 h 1356389"/>
                <a:gd name="connsiteX4" fmla="*/ 68707 w 1051224"/>
                <a:gd name="connsiteY4" fmla="*/ 1300812 h 1356389"/>
                <a:gd name="connsiteX5" fmla="*/ 0 w 1051224"/>
                <a:gd name="connsiteY5" fmla="*/ 1263518 h 1356389"/>
                <a:gd name="connsiteX6" fmla="*/ 46310 w 1051224"/>
                <a:gd name="connsiteY6" fmla="*/ 1169727 h 1356389"/>
                <a:gd name="connsiteX7" fmla="*/ 109576 w 1051224"/>
                <a:gd name="connsiteY7" fmla="*/ 1204067 h 1356389"/>
                <a:gd name="connsiteX8" fmla="*/ 343993 w 1051224"/>
                <a:gd name="connsiteY8" fmla="*/ 1251393 h 1356389"/>
                <a:gd name="connsiteX9" fmla="*/ 946228 w 1051224"/>
                <a:gd name="connsiteY9" fmla="*/ 649158 h 1356389"/>
                <a:gd name="connsiteX10" fmla="*/ 578410 w 1051224"/>
                <a:gd name="connsiteY10" fmla="*/ 94250 h 1356389"/>
                <a:gd name="connsiteX11" fmla="*/ 577481 w 1051224"/>
                <a:gd name="connsiteY11" fmla="*/ 93961 h 1356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1224" h="1356389">
                  <a:moveTo>
                    <a:pt x="623876" y="0"/>
                  </a:moveTo>
                  <a:lnTo>
                    <a:pt x="739413" y="62711"/>
                  </a:lnTo>
                  <a:cubicBezTo>
                    <a:pt x="927537" y="189806"/>
                    <a:pt x="1051224" y="405038"/>
                    <a:pt x="1051224" y="649158"/>
                  </a:cubicBezTo>
                  <a:cubicBezTo>
                    <a:pt x="1051224" y="1039751"/>
                    <a:pt x="734586" y="1356389"/>
                    <a:pt x="343993" y="1356389"/>
                  </a:cubicBezTo>
                  <a:cubicBezTo>
                    <a:pt x="246345" y="1356389"/>
                    <a:pt x="153319" y="1336599"/>
                    <a:pt x="68707" y="1300812"/>
                  </a:cubicBezTo>
                  <a:lnTo>
                    <a:pt x="0" y="1263518"/>
                  </a:lnTo>
                  <a:lnTo>
                    <a:pt x="46310" y="1169727"/>
                  </a:lnTo>
                  <a:lnTo>
                    <a:pt x="109576" y="1204067"/>
                  </a:lnTo>
                  <a:cubicBezTo>
                    <a:pt x="181627" y="1234541"/>
                    <a:pt x="260842" y="1251393"/>
                    <a:pt x="343993" y="1251393"/>
                  </a:cubicBezTo>
                  <a:cubicBezTo>
                    <a:pt x="676598" y="1251393"/>
                    <a:pt x="946228" y="981763"/>
                    <a:pt x="946228" y="649158"/>
                  </a:cubicBezTo>
                  <a:cubicBezTo>
                    <a:pt x="946228" y="399705"/>
                    <a:pt x="794561" y="185674"/>
                    <a:pt x="578410" y="94250"/>
                  </a:cubicBezTo>
                  <a:lnTo>
                    <a:pt x="577481" y="93961"/>
                  </a:lnTo>
                  <a:close/>
                </a:path>
              </a:pathLst>
            </a:custGeom>
            <a:solidFill>
              <a:srgbClr val="FFFFFF">
                <a:lumMod val="6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891" indent="-342891"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Wingdings 3" panose="05040102010807070707" pitchFamily="18" charset="2"/>
                <a:buChar char="Æ"/>
                <a:defRPr/>
              </a:pPr>
              <a:endParaRPr lang="en-IN" sz="2000" b="1"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745527A6-9D02-403F-9F39-051CAD35DA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9812" y="4086900"/>
              <a:ext cx="624392" cy="170675"/>
            </a:xfrm>
            <a:custGeom>
              <a:avLst/>
              <a:gdLst>
                <a:gd name="connsiteX0" fmla="*/ 87395 w 624392"/>
                <a:gd name="connsiteY0" fmla="*/ 41 h 170675"/>
                <a:gd name="connsiteX1" fmla="*/ 146987 w 624392"/>
                <a:gd name="connsiteY1" fmla="*/ 25995 h 170675"/>
                <a:gd name="connsiteX2" fmla="*/ 590585 w 624392"/>
                <a:gd name="connsiteY2" fmla="*/ 34373 h 170675"/>
                <a:gd name="connsiteX3" fmla="*/ 624362 w 624392"/>
                <a:gd name="connsiteY3" fmla="*/ 92614 h 170675"/>
                <a:gd name="connsiteX4" fmla="*/ 561973 w 624392"/>
                <a:gd name="connsiteY4" fmla="*/ 151199 h 170675"/>
                <a:gd name="connsiteX5" fmla="*/ 142992 w 624392"/>
                <a:gd name="connsiteY5" fmla="*/ 146765 h 170675"/>
                <a:gd name="connsiteX6" fmla="*/ 22209 w 624392"/>
                <a:gd name="connsiteY6" fmla="*/ 143164 h 170675"/>
                <a:gd name="connsiteX7" fmla="*/ 26205 w 624392"/>
                <a:gd name="connsiteY7" fmla="*/ 22394 h 170675"/>
                <a:gd name="connsiteX8" fmla="*/ 87395 w 624392"/>
                <a:gd name="connsiteY8" fmla="*/ 41 h 170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392" h="170675">
                  <a:moveTo>
                    <a:pt x="87395" y="41"/>
                  </a:moveTo>
                  <a:cubicBezTo>
                    <a:pt x="109539" y="700"/>
                    <a:pt x="131415" y="9412"/>
                    <a:pt x="146987" y="25995"/>
                  </a:cubicBezTo>
                  <a:lnTo>
                    <a:pt x="590585" y="34373"/>
                  </a:lnTo>
                  <a:cubicBezTo>
                    <a:pt x="610032" y="46097"/>
                    <a:pt x="625161" y="68460"/>
                    <a:pt x="624362" y="92614"/>
                  </a:cubicBezTo>
                  <a:cubicBezTo>
                    <a:pt x="623296" y="124820"/>
                    <a:pt x="594181" y="152159"/>
                    <a:pt x="561973" y="151199"/>
                  </a:cubicBezTo>
                  <a:lnTo>
                    <a:pt x="142992" y="146765"/>
                  </a:lnTo>
                  <a:cubicBezTo>
                    <a:pt x="109718" y="178011"/>
                    <a:pt x="57246" y="180476"/>
                    <a:pt x="22209" y="143164"/>
                  </a:cubicBezTo>
                  <a:cubicBezTo>
                    <a:pt x="-8934" y="109999"/>
                    <a:pt x="-7070" y="53639"/>
                    <a:pt x="26205" y="22394"/>
                  </a:cubicBezTo>
                  <a:cubicBezTo>
                    <a:pt x="42841" y="6771"/>
                    <a:pt x="65251" y="-620"/>
                    <a:pt x="87395" y="41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25DE1CB9-1739-45CD-93D4-02418A2D13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86195" y="3695702"/>
              <a:ext cx="290637" cy="267449"/>
            </a:xfrm>
            <a:custGeom>
              <a:avLst/>
              <a:gdLst>
                <a:gd name="connsiteX0" fmla="*/ 290637 w 290637"/>
                <a:gd name="connsiteY0" fmla="*/ 0 h 267449"/>
                <a:gd name="connsiteX1" fmla="*/ 290637 w 290637"/>
                <a:gd name="connsiteY1" fmla="*/ 210967 h 267449"/>
                <a:gd name="connsiteX2" fmla="*/ 258366 w 290637"/>
                <a:gd name="connsiteY2" fmla="*/ 215609 h 267449"/>
                <a:gd name="connsiteX3" fmla="*/ 216275 w 290637"/>
                <a:gd name="connsiteY3" fmla="*/ 228809 h 267449"/>
                <a:gd name="connsiteX4" fmla="*/ 150830 w 290637"/>
                <a:gd name="connsiteY4" fmla="*/ 267449 h 267449"/>
                <a:gd name="connsiteX5" fmla="*/ 17811 w 290637"/>
                <a:gd name="connsiteY5" fmla="*/ 134430 h 267449"/>
                <a:gd name="connsiteX6" fmla="*/ 0 w 290637"/>
                <a:gd name="connsiteY6" fmla="*/ 114611 h 267449"/>
                <a:gd name="connsiteX7" fmla="*/ 213477 w 290637"/>
                <a:gd name="connsiteY7" fmla="*/ 9475 h 267449"/>
                <a:gd name="connsiteX8" fmla="*/ 290637 w 290637"/>
                <a:gd name="connsiteY8" fmla="*/ 0 h 267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0637" h="267449">
                  <a:moveTo>
                    <a:pt x="290637" y="0"/>
                  </a:moveTo>
                  <a:lnTo>
                    <a:pt x="290637" y="210967"/>
                  </a:lnTo>
                  <a:lnTo>
                    <a:pt x="258366" y="215609"/>
                  </a:lnTo>
                  <a:cubicBezTo>
                    <a:pt x="243909" y="218915"/>
                    <a:pt x="229837" y="223357"/>
                    <a:pt x="216275" y="228809"/>
                  </a:cubicBezTo>
                  <a:lnTo>
                    <a:pt x="150830" y="267449"/>
                  </a:lnTo>
                  <a:lnTo>
                    <a:pt x="17811" y="134430"/>
                  </a:lnTo>
                  <a:lnTo>
                    <a:pt x="0" y="114611"/>
                  </a:lnTo>
                  <a:cubicBezTo>
                    <a:pt x="63125" y="63651"/>
                    <a:pt x="135403" y="26346"/>
                    <a:pt x="213477" y="9475"/>
                  </a:cubicBezTo>
                  <a:lnTo>
                    <a:pt x="290637" y="0"/>
                  </a:lnTo>
                  <a:close/>
                </a:path>
              </a:pathLst>
            </a:custGeom>
            <a:solidFill>
              <a:srgbClr val="BBDA7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56B97908-AB1B-43EF-87BB-B770AD6E1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2307" y="3696054"/>
              <a:ext cx="287959" cy="266888"/>
            </a:xfrm>
            <a:custGeom>
              <a:avLst/>
              <a:gdLst>
                <a:gd name="connsiteX0" fmla="*/ 0 w 287959"/>
                <a:gd name="connsiteY0" fmla="*/ 0 h 266888"/>
                <a:gd name="connsiteX1" fmla="*/ 74803 w 287959"/>
                <a:gd name="connsiteY1" fmla="*/ 9477 h 266888"/>
                <a:gd name="connsiteX2" fmla="*/ 223047 w 287959"/>
                <a:gd name="connsiteY2" fmla="*/ 69275 h 266888"/>
                <a:gd name="connsiteX3" fmla="*/ 287959 w 287959"/>
                <a:gd name="connsiteY3" fmla="*/ 114767 h 266888"/>
                <a:gd name="connsiteX4" fmla="*/ 135839 w 287959"/>
                <a:gd name="connsiteY4" fmla="*/ 266888 h 266888"/>
                <a:gd name="connsiteX5" fmla="*/ 70848 w 287959"/>
                <a:gd name="connsiteY5" fmla="*/ 227653 h 266888"/>
                <a:gd name="connsiteX6" fmla="*/ 27150 w 287959"/>
                <a:gd name="connsiteY6" fmla="*/ 212846 h 266888"/>
                <a:gd name="connsiteX7" fmla="*/ 0 w 287959"/>
                <a:gd name="connsiteY7" fmla="*/ 208513 h 266888"/>
                <a:gd name="connsiteX8" fmla="*/ 0 w 287959"/>
                <a:gd name="connsiteY8" fmla="*/ 0 h 266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7959" h="266888">
                  <a:moveTo>
                    <a:pt x="0" y="0"/>
                  </a:moveTo>
                  <a:lnTo>
                    <a:pt x="74803" y="9477"/>
                  </a:lnTo>
                  <a:cubicBezTo>
                    <a:pt x="127104" y="20976"/>
                    <a:pt x="176854" y="41582"/>
                    <a:pt x="223047" y="69275"/>
                  </a:cubicBezTo>
                  <a:lnTo>
                    <a:pt x="287959" y="114767"/>
                  </a:lnTo>
                  <a:lnTo>
                    <a:pt x="135839" y="266888"/>
                  </a:lnTo>
                  <a:lnTo>
                    <a:pt x="70848" y="227653"/>
                  </a:lnTo>
                  <a:cubicBezTo>
                    <a:pt x="56706" y="221621"/>
                    <a:pt x="42056" y="216602"/>
                    <a:pt x="27150" y="212846"/>
                  </a:cubicBezTo>
                  <a:lnTo>
                    <a:pt x="0" y="208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5CA5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1026EDA-83C0-45DB-B12F-167DB2F6FD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2399" y="3857990"/>
              <a:ext cx="269161" cy="277918"/>
            </a:xfrm>
            <a:custGeom>
              <a:avLst/>
              <a:gdLst>
                <a:gd name="connsiteX0" fmla="*/ 116870 w 269161"/>
                <a:gd name="connsiteY0" fmla="*/ 0 h 277918"/>
                <a:gd name="connsiteX1" fmla="*/ 269161 w 269161"/>
                <a:gd name="connsiteY1" fmla="*/ 152291 h 277918"/>
                <a:gd name="connsiteX2" fmla="*/ 230871 w 269161"/>
                <a:gd name="connsiteY2" fmla="*/ 215717 h 277918"/>
                <a:gd name="connsiteX3" fmla="*/ 216064 w 269161"/>
                <a:gd name="connsiteY3" fmla="*/ 259415 h 277918"/>
                <a:gd name="connsiteX4" fmla="*/ 213111 w 269161"/>
                <a:gd name="connsiteY4" fmla="*/ 277918 h 277918"/>
                <a:gd name="connsiteX5" fmla="*/ 0 w 269161"/>
                <a:gd name="connsiteY5" fmla="*/ 277918 h 277918"/>
                <a:gd name="connsiteX6" fmla="*/ 10414 w 269161"/>
                <a:gd name="connsiteY6" fmla="*/ 209482 h 277918"/>
                <a:gd name="connsiteX7" fmla="*/ 70719 w 269161"/>
                <a:gd name="connsiteY7" fmla="*/ 61744 h 277918"/>
                <a:gd name="connsiteX8" fmla="*/ 116870 w 269161"/>
                <a:gd name="connsiteY8" fmla="*/ 0 h 277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9161" h="277918">
                  <a:moveTo>
                    <a:pt x="116870" y="0"/>
                  </a:moveTo>
                  <a:lnTo>
                    <a:pt x="269161" y="152291"/>
                  </a:lnTo>
                  <a:lnTo>
                    <a:pt x="230871" y="215717"/>
                  </a:lnTo>
                  <a:cubicBezTo>
                    <a:pt x="224839" y="229859"/>
                    <a:pt x="219819" y="244509"/>
                    <a:pt x="216064" y="259415"/>
                  </a:cubicBezTo>
                  <a:lnTo>
                    <a:pt x="213111" y="277918"/>
                  </a:lnTo>
                  <a:lnTo>
                    <a:pt x="0" y="277918"/>
                  </a:lnTo>
                  <a:lnTo>
                    <a:pt x="10414" y="209482"/>
                  </a:lnTo>
                  <a:cubicBezTo>
                    <a:pt x="22420" y="157688"/>
                    <a:pt x="42519" y="107430"/>
                    <a:pt x="70719" y="61744"/>
                  </a:cubicBezTo>
                  <a:lnTo>
                    <a:pt x="116870" y="0"/>
                  </a:lnTo>
                  <a:close/>
                </a:path>
              </a:pathLst>
            </a:custGeom>
            <a:solidFill>
              <a:srgbClr val="D2E7A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66A39D9F-8DB6-4504-8214-A5EED0E4B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4046" y="3858113"/>
              <a:ext cx="259956" cy="228787"/>
            </a:xfrm>
            <a:custGeom>
              <a:avLst/>
              <a:gdLst>
                <a:gd name="connsiteX0" fmla="*/ 151525 w 259956"/>
                <a:gd name="connsiteY0" fmla="*/ 0 h 228787"/>
                <a:gd name="connsiteX1" fmla="*/ 187726 w 259956"/>
                <a:gd name="connsiteY1" fmla="*/ 47229 h 228787"/>
                <a:gd name="connsiteX2" fmla="*/ 249063 w 259956"/>
                <a:gd name="connsiteY2" fmla="*/ 177909 h 228787"/>
                <a:gd name="connsiteX3" fmla="*/ 259956 w 259956"/>
                <a:gd name="connsiteY3" fmla="*/ 228787 h 228787"/>
                <a:gd name="connsiteX4" fmla="*/ 41069 w 259956"/>
                <a:gd name="connsiteY4" fmla="*/ 228787 h 228787"/>
                <a:gd name="connsiteX5" fmla="*/ 24304 w 259956"/>
                <a:gd name="connsiteY5" fmla="*/ 188030 h 228787"/>
                <a:gd name="connsiteX6" fmla="*/ 0 w 259956"/>
                <a:gd name="connsiteY6" fmla="*/ 151525 h 228787"/>
                <a:gd name="connsiteX7" fmla="*/ 151525 w 259956"/>
                <a:gd name="connsiteY7" fmla="*/ 0 h 228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9956" h="228787">
                  <a:moveTo>
                    <a:pt x="151525" y="0"/>
                  </a:moveTo>
                  <a:lnTo>
                    <a:pt x="187726" y="47229"/>
                  </a:lnTo>
                  <a:cubicBezTo>
                    <a:pt x="214470" y="87842"/>
                    <a:pt x="235418" y="132240"/>
                    <a:pt x="249063" y="177909"/>
                  </a:cubicBezTo>
                  <a:lnTo>
                    <a:pt x="259956" y="228787"/>
                  </a:lnTo>
                  <a:lnTo>
                    <a:pt x="41069" y="228787"/>
                  </a:lnTo>
                  <a:lnTo>
                    <a:pt x="24304" y="188030"/>
                  </a:lnTo>
                  <a:lnTo>
                    <a:pt x="0" y="151525"/>
                  </a:lnTo>
                  <a:lnTo>
                    <a:pt x="151525" y="0"/>
                  </a:lnTo>
                  <a:close/>
                </a:path>
              </a:pathLst>
            </a:custGeom>
            <a:solidFill>
              <a:srgbClr val="7F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B0217FB6-14ED-4522-8F33-445521ACBDB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5713" y="4217639"/>
              <a:ext cx="277662" cy="286335"/>
            </a:xfrm>
            <a:custGeom>
              <a:avLst/>
              <a:gdLst>
                <a:gd name="connsiteX0" fmla="*/ 0 w 277662"/>
                <a:gd name="connsiteY0" fmla="*/ 0 h 286335"/>
                <a:gd name="connsiteX1" fmla="*/ 211901 w 277662"/>
                <a:gd name="connsiteY1" fmla="*/ 0 h 286335"/>
                <a:gd name="connsiteX2" fmla="*/ 215712 w 277662"/>
                <a:gd name="connsiteY2" fmla="*/ 24896 h 286335"/>
                <a:gd name="connsiteX3" fmla="*/ 277662 w 277662"/>
                <a:gd name="connsiteY3" fmla="*/ 145645 h 286335"/>
                <a:gd name="connsiteX4" fmla="*/ 120833 w 277662"/>
                <a:gd name="connsiteY4" fmla="*/ 286335 h 286335"/>
                <a:gd name="connsiteX5" fmla="*/ 10016 w 277662"/>
                <a:gd name="connsiteY5" fmla="*/ 76009 h 286335"/>
                <a:gd name="connsiteX6" fmla="*/ 0 w 277662"/>
                <a:gd name="connsiteY6" fmla="*/ 0 h 286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7662" h="286335">
                  <a:moveTo>
                    <a:pt x="0" y="0"/>
                  </a:moveTo>
                  <a:lnTo>
                    <a:pt x="211901" y="0"/>
                  </a:lnTo>
                  <a:lnTo>
                    <a:pt x="215712" y="24896"/>
                  </a:lnTo>
                  <a:cubicBezTo>
                    <a:pt x="226173" y="68526"/>
                    <a:pt x="247391" y="109343"/>
                    <a:pt x="277662" y="145645"/>
                  </a:cubicBezTo>
                  <a:cubicBezTo>
                    <a:pt x="277662" y="145645"/>
                    <a:pt x="277662" y="145645"/>
                    <a:pt x="120833" y="286335"/>
                  </a:cubicBezTo>
                  <a:cubicBezTo>
                    <a:pt x="66353" y="225824"/>
                    <a:pt x="27712" y="154013"/>
                    <a:pt x="10016" y="76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1EFC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DA4A4DB6-A96E-48CE-891C-3210261EB065}"/>
                </a:ext>
              </a:extLst>
            </p:cNvPr>
            <p:cNvSpPr/>
            <p:nvPr/>
          </p:nvSpPr>
          <p:spPr bwMode="auto">
            <a:xfrm>
              <a:off x="10519812" y="4168631"/>
              <a:ext cx="624362" cy="88944"/>
            </a:xfrm>
            <a:custGeom>
              <a:avLst/>
              <a:gdLst>
                <a:gd name="connsiteX0" fmla="*/ 123 w 624362"/>
                <a:gd name="connsiteY0" fmla="*/ 0 h 88944"/>
                <a:gd name="connsiteX1" fmla="*/ 621367 w 624362"/>
                <a:gd name="connsiteY1" fmla="*/ 0 h 88944"/>
                <a:gd name="connsiteX2" fmla="*/ 624362 w 624362"/>
                <a:gd name="connsiteY2" fmla="*/ 10883 h 88944"/>
                <a:gd name="connsiteX3" fmla="*/ 561973 w 624362"/>
                <a:gd name="connsiteY3" fmla="*/ 69468 h 88944"/>
                <a:gd name="connsiteX4" fmla="*/ 142992 w 624362"/>
                <a:gd name="connsiteY4" fmla="*/ 65034 h 88944"/>
                <a:gd name="connsiteX5" fmla="*/ 22209 w 624362"/>
                <a:gd name="connsiteY5" fmla="*/ 61433 h 88944"/>
                <a:gd name="connsiteX6" fmla="*/ 50 w 624362"/>
                <a:gd name="connsiteY6" fmla="*/ 328 h 88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362" h="88944">
                  <a:moveTo>
                    <a:pt x="123" y="0"/>
                  </a:moveTo>
                  <a:lnTo>
                    <a:pt x="621367" y="0"/>
                  </a:lnTo>
                  <a:lnTo>
                    <a:pt x="624362" y="10883"/>
                  </a:lnTo>
                  <a:cubicBezTo>
                    <a:pt x="623296" y="43089"/>
                    <a:pt x="594181" y="70428"/>
                    <a:pt x="561973" y="69468"/>
                  </a:cubicBezTo>
                  <a:lnTo>
                    <a:pt x="142992" y="65034"/>
                  </a:lnTo>
                  <a:cubicBezTo>
                    <a:pt x="109718" y="96280"/>
                    <a:pt x="57246" y="98745"/>
                    <a:pt x="22209" y="61433"/>
                  </a:cubicBezTo>
                  <a:cubicBezTo>
                    <a:pt x="6638" y="44851"/>
                    <a:pt x="-682" y="22469"/>
                    <a:pt x="50" y="328"/>
                  </a:cubicBezTo>
                  <a:close/>
                </a:path>
              </a:pathLst>
            </a:custGeom>
            <a:solidFill>
              <a:srgbClr val="D83B0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4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>
                <a:solidFill>
                  <a:schemeClr val="tx1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pic>
        <p:nvPicPr>
          <p:cNvPr id="80" name="Graphic 79" descr="Checkmark">
            <a:extLst>
              <a:ext uri="{FF2B5EF4-FFF2-40B4-BE49-F238E27FC236}">
                <a16:creationId xmlns:a16="http://schemas.microsoft.com/office/drawing/2014/main" id="{FC5957CE-B797-4B2F-86B7-68F137AC5B9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61729" y="6031261"/>
            <a:ext cx="587425" cy="587425"/>
          </a:xfrm>
          <a:prstGeom prst="rect">
            <a:avLst/>
          </a:prstGeom>
        </p:spPr>
      </p:pic>
      <p:pic>
        <p:nvPicPr>
          <p:cNvPr id="81" name="Graphic 80" descr="Checkmark">
            <a:extLst>
              <a:ext uri="{FF2B5EF4-FFF2-40B4-BE49-F238E27FC236}">
                <a16:creationId xmlns:a16="http://schemas.microsoft.com/office/drawing/2014/main" id="{B939106D-C7FD-484C-B177-CD6198FB502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511493" y="6031261"/>
            <a:ext cx="587425" cy="587425"/>
          </a:xfrm>
          <a:prstGeom prst="rect">
            <a:avLst/>
          </a:prstGeom>
        </p:spPr>
      </p:pic>
      <p:pic>
        <p:nvPicPr>
          <p:cNvPr id="101" name="Graphic 100" descr="Checkmark">
            <a:extLst>
              <a:ext uri="{FF2B5EF4-FFF2-40B4-BE49-F238E27FC236}">
                <a16:creationId xmlns:a16="http://schemas.microsoft.com/office/drawing/2014/main" id="{AB42FAB0-77B0-46A0-A97A-C1AC5827FC2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210189" y="6031261"/>
            <a:ext cx="587425" cy="587425"/>
          </a:xfrm>
          <a:prstGeom prst="rect">
            <a:avLst/>
          </a:prstGeom>
        </p:spPr>
      </p:pic>
      <p:pic>
        <p:nvPicPr>
          <p:cNvPr id="102" name="Graphic 101" descr="Checkmark">
            <a:extLst>
              <a:ext uri="{FF2B5EF4-FFF2-40B4-BE49-F238E27FC236}">
                <a16:creationId xmlns:a16="http://schemas.microsoft.com/office/drawing/2014/main" id="{3A22FF21-1060-4A8F-9B18-A25046CEFCB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213472" y="6031261"/>
            <a:ext cx="587425" cy="587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768928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Connector: Elbow 102">
            <a:extLst>
              <a:ext uri="{FF2B5EF4-FFF2-40B4-BE49-F238E27FC236}">
                <a16:creationId xmlns:a16="http://schemas.microsoft.com/office/drawing/2014/main" id="{4C2AE1BD-BC7F-4658-BBAE-7C33ECA47B74}"/>
              </a:ext>
            </a:extLst>
          </p:cNvPr>
          <p:cNvCxnSpPr>
            <a:cxnSpLocks/>
          </p:cNvCxnSpPr>
          <p:nvPr/>
        </p:nvCxnSpPr>
        <p:spPr>
          <a:xfrm rot="10800000" flipV="1">
            <a:off x="8598857" y="2593671"/>
            <a:ext cx="2373945" cy="2209183"/>
          </a:xfrm>
          <a:prstGeom prst="bentConnector3">
            <a:avLst>
              <a:gd name="adj1" fmla="val -22235"/>
            </a:avLst>
          </a:prstGeom>
          <a:ln w="19050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MLOps</a:t>
            </a:r>
            <a:r>
              <a:rPr lang="en-US"/>
              <a:t> Workflow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0E7C0878-9D64-46B0-8EDA-D296D83F01D7}"/>
              </a:ext>
            </a:extLst>
          </p:cNvPr>
          <p:cNvSpPr/>
          <p:nvPr/>
        </p:nvSpPr>
        <p:spPr>
          <a:xfrm>
            <a:off x="10036051" y="3575282"/>
            <a:ext cx="1344880" cy="6740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400">
                <a:latin typeface="Segoe UI"/>
                <a:cs typeface="Courier New" panose="02070309020205020404" pitchFamily="49" charset="0"/>
              </a:rPr>
              <a:t>Model management &amp; monitoring</a:t>
            </a:r>
          </a:p>
        </p:txBody>
      </p:sp>
      <p:pic>
        <p:nvPicPr>
          <p:cNvPr id="125" name="Picture 2" descr="https://azure.microsoft.com/images/page/services/machine-learning-service/machine-learning-service.png">
            <a:extLst>
              <a:ext uri="{FF2B5EF4-FFF2-40B4-BE49-F238E27FC236}">
                <a16:creationId xmlns:a16="http://schemas.microsoft.com/office/drawing/2014/main" id="{63E94C22-0F94-41BD-AB5B-D2F50F63D6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0738" y="3600857"/>
            <a:ext cx="428985" cy="428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5" name="Rectangle 134">
            <a:extLst>
              <a:ext uri="{FF2B5EF4-FFF2-40B4-BE49-F238E27FC236}">
                <a16:creationId xmlns:a16="http://schemas.microsoft.com/office/drawing/2014/main" id="{E42C38BA-2075-419E-A2EE-F4871D4D6815}"/>
              </a:ext>
            </a:extLst>
          </p:cNvPr>
          <p:cNvSpPr/>
          <p:nvPr/>
        </p:nvSpPr>
        <p:spPr>
          <a:xfrm>
            <a:off x="7072820" y="5084605"/>
            <a:ext cx="1933491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400">
                <a:latin typeface="Segoe UI"/>
                <a:cs typeface="Courier New" panose="02070309020205020404" pitchFamily="49" charset="0"/>
              </a:rPr>
              <a:t>Model performance analysis</a:t>
            </a:r>
          </a:p>
        </p:txBody>
      </p:sp>
      <p:pic>
        <p:nvPicPr>
          <p:cNvPr id="136" name="Picture 2" descr="https://azure.microsoft.com/images/page/services/machine-learning-service/machine-learning-service.png">
            <a:extLst>
              <a:ext uri="{FF2B5EF4-FFF2-40B4-BE49-F238E27FC236}">
                <a16:creationId xmlns:a16="http://schemas.microsoft.com/office/drawing/2014/main" id="{1E7FEC84-EA17-40F8-B110-108A1A5DAE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3674" y="5088674"/>
            <a:ext cx="428985" cy="428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Rectangle 61">
            <a:extLst>
              <a:ext uri="{FF2B5EF4-FFF2-40B4-BE49-F238E27FC236}">
                <a16:creationId xmlns:a16="http://schemas.microsoft.com/office/drawing/2014/main" id="{CF468115-6C2A-4446-A8EF-085038849D9D}"/>
              </a:ext>
            </a:extLst>
          </p:cNvPr>
          <p:cNvSpPr/>
          <p:nvPr/>
        </p:nvSpPr>
        <p:spPr bwMode="auto">
          <a:xfrm>
            <a:off x="0" y="5882365"/>
            <a:ext cx="12192000" cy="975635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92847D6-F910-4E06-85E3-4768FAE983AD}"/>
              </a:ext>
            </a:extLst>
          </p:cNvPr>
          <p:cNvSpPr txBox="1"/>
          <p:nvPr/>
        </p:nvSpPr>
        <p:spPr>
          <a:xfrm>
            <a:off x="998524" y="6247073"/>
            <a:ext cx="205740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reproducibility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D4AC7499-CEEF-481D-BC86-3404313F455C}"/>
              </a:ext>
            </a:extLst>
          </p:cNvPr>
          <p:cNvSpPr txBox="1"/>
          <p:nvPr/>
        </p:nvSpPr>
        <p:spPr>
          <a:xfrm>
            <a:off x="9886899" y="6247073"/>
            <a:ext cx="156856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retraining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0B156B4F-6F62-4ACF-98BD-33A5385E4FEB}"/>
              </a:ext>
            </a:extLst>
          </p:cNvPr>
          <p:cNvSpPr txBox="1"/>
          <p:nvPr/>
        </p:nvSpPr>
        <p:spPr>
          <a:xfrm>
            <a:off x="6883617" y="6247073"/>
            <a:ext cx="1903823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deployment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D5C7D103-DFCD-4C35-A5A2-765AE1E79BE7}"/>
              </a:ext>
            </a:extLst>
          </p:cNvPr>
          <p:cNvSpPr txBox="1"/>
          <p:nvPr/>
        </p:nvSpPr>
        <p:spPr>
          <a:xfrm>
            <a:off x="4153974" y="6247073"/>
            <a:ext cx="1630183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validation</a:t>
            </a:r>
          </a:p>
        </p:txBody>
      </p:sp>
      <p:sp>
        <p:nvSpPr>
          <p:cNvPr id="71" name="Rectangle 1">
            <a:extLst>
              <a:ext uri="{FF2B5EF4-FFF2-40B4-BE49-F238E27FC236}">
                <a16:creationId xmlns:a16="http://schemas.microsoft.com/office/drawing/2014/main" id="{DD1B91A0-3831-455A-93B4-BC715CA72122}"/>
              </a:ext>
            </a:extLst>
          </p:cNvPr>
          <p:cNvSpPr/>
          <p:nvPr/>
        </p:nvSpPr>
        <p:spPr bwMode="auto">
          <a:xfrm>
            <a:off x="1750229" y="3100478"/>
            <a:ext cx="1602571" cy="1201455"/>
          </a:xfrm>
          <a:custGeom>
            <a:avLst/>
            <a:gdLst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4" fmla="*/ 0 w 1471327"/>
              <a:gd name="connsiteY4" fmla="*/ 0 h 1520291"/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4" fmla="*/ 91440 w 1471327"/>
              <a:gd name="connsiteY4" fmla="*/ 91440 h 1520291"/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0" fmla="*/ 1471327 w 1471327"/>
              <a:gd name="connsiteY0" fmla="*/ 0 h 1520291"/>
              <a:gd name="connsiteX1" fmla="*/ 1471327 w 1471327"/>
              <a:gd name="connsiteY1" fmla="*/ 1520291 h 1520291"/>
              <a:gd name="connsiteX2" fmla="*/ 0 w 1471327"/>
              <a:gd name="connsiteY2" fmla="*/ 1520291 h 1520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71327" h="1520291">
                <a:moveTo>
                  <a:pt x="1471327" y="0"/>
                </a:moveTo>
                <a:lnTo>
                  <a:pt x="1471327" y="1520291"/>
                </a:lnTo>
                <a:lnTo>
                  <a:pt x="0" y="1520291"/>
                </a:lnTo>
              </a:path>
            </a:pathLst>
          </a:custGeom>
          <a:ln w="19050">
            <a:solidFill>
              <a:schemeClr val="accent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3EC019FA-33D0-4610-96D5-9E942874A18A}"/>
              </a:ext>
            </a:extLst>
          </p:cNvPr>
          <p:cNvSpPr txBox="1"/>
          <p:nvPr/>
        </p:nvSpPr>
        <p:spPr>
          <a:xfrm>
            <a:off x="4393647" y="3033672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Train model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741D903D-DE26-4589-A4DE-8C21FA6970E8}"/>
              </a:ext>
            </a:extLst>
          </p:cNvPr>
          <p:cNvSpPr txBox="1"/>
          <p:nvPr/>
        </p:nvSpPr>
        <p:spPr>
          <a:xfrm>
            <a:off x="6063707" y="3033672"/>
            <a:ext cx="1531424" cy="535531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Courier New" panose="02070309020205020404" pitchFamily="49" charset="0"/>
              </a:defRPr>
            </a:lvl1pPr>
          </a:lstStyle>
          <a:p>
            <a:pPr defTabSz="914377">
              <a:defRPr/>
            </a:pPr>
            <a:r>
              <a:rPr lang="en-US">
                <a:solidFill>
                  <a:schemeClr val="tx1"/>
                </a:solidFill>
                <a:latin typeface="Segoe UI Semibold"/>
              </a:rPr>
              <a:t>Validate model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640BF6DE-D222-4654-A0C3-4B6F8A42FCFD}"/>
              </a:ext>
            </a:extLst>
          </p:cNvPr>
          <p:cNvSpPr txBox="1"/>
          <p:nvPr/>
        </p:nvSpPr>
        <p:spPr>
          <a:xfrm>
            <a:off x="8067399" y="3033672"/>
            <a:ext cx="1344880" cy="535531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Courier New" panose="02070309020205020404" pitchFamily="49" charset="0"/>
              </a:defRPr>
            </a:lvl1pPr>
          </a:lstStyle>
          <a:p>
            <a:pPr defTabSz="914377">
              <a:defRPr/>
            </a:pPr>
            <a:r>
              <a:rPr lang="en-US">
                <a:solidFill>
                  <a:schemeClr val="tx1"/>
                </a:solidFill>
                <a:latin typeface="Segoe UI Semibold"/>
              </a:rPr>
              <a:t>Deploy model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F926CDFA-A54E-4BFC-AE07-6D5EB60E4691}"/>
              </a:ext>
            </a:extLst>
          </p:cNvPr>
          <p:cNvSpPr txBox="1"/>
          <p:nvPr/>
        </p:nvSpPr>
        <p:spPr>
          <a:xfrm>
            <a:off x="9858731" y="3033672"/>
            <a:ext cx="1344880" cy="535531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Monitor model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608068AA-2507-4555-8F99-EF1FDC75F940}"/>
              </a:ext>
            </a:extLst>
          </p:cNvPr>
          <p:cNvSpPr txBox="1"/>
          <p:nvPr/>
        </p:nvSpPr>
        <p:spPr>
          <a:xfrm>
            <a:off x="6998407" y="4645888"/>
            <a:ext cx="1600448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Courier New" panose="02070309020205020404" pitchFamily="49" charset="0"/>
              </a:defRPr>
            </a:lvl1pPr>
          </a:lstStyle>
          <a:p>
            <a:pPr defTabSz="914377">
              <a:defRPr/>
            </a:pPr>
            <a:r>
              <a:rPr lang="en-US">
                <a:solidFill>
                  <a:schemeClr val="tx1"/>
                </a:solidFill>
                <a:latin typeface="Segoe UI Semibold"/>
              </a:rPr>
              <a:t>Retrain model</a:t>
            </a:r>
          </a:p>
        </p:txBody>
      </p:sp>
      <p:cxnSp>
        <p:nvCxnSpPr>
          <p:cNvPr id="88" name="Connector: Elbow 87">
            <a:extLst>
              <a:ext uri="{FF2B5EF4-FFF2-40B4-BE49-F238E27FC236}">
                <a16:creationId xmlns:a16="http://schemas.microsoft.com/office/drawing/2014/main" id="{0DA33A84-2D0F-4F79-8C18-666998EF69A4}"/>
              </a:ext>
            </a:extLst>
          </p:cNvPr>
          <p:cNvCxnSpPr>
            <a:cxnSpLocks/>
            <a:stCxn id="79" idx="1"/>
            <a:endCxn id="72" idx="2"/>
          </p:cNvCxnSpPr>
          <p:nvPr/>
        </p:nvCxnSpPr>
        <p:spPr>
          <a:xfrm rot="10800000">
            <a:off x="5066087" y="3347604"/>
            <a:ext cx="1932320" cy="1455250"/>
          </a:xfrm>
          <a:prstGeom prst="bentConnector2">
            <a:avLst/>
          </a:prstGeom>
          <a:ln w="19050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TextBox 93">
            <a:extLst>
              <a:ext uri="{FF2B5EF4-FFF2-40B4-BE49-F238E27FC236}">
                <a16:creationId xmlns:a16="http://schemas.microsoft.com/office/drawing/2014/main" id="{5995D1D4-A916-498E-ABD4-A5AF95C07FA8}"/>
              </a:ext>
            </a:extLst>
          </p:cNvPr>
          <p:cNvSpPr txBox="1"/>
          <p:nvPr/>
        </p:nvSpPr>
        <p:spPr>
          <a:xfrm>
            <a:off x="4393647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Build app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FA816544-D9CB-49D6-A620-4B0C65BFCC06}"/>
              </a:ext>
            </a:extLst>
          </p:cNvPr>
          <p:cNvSpPr txBox="1"/>
          <p:nvPr/>
        </p:nvSpPr>
        <p:spPr>
          <a:xfrm>
            <a:off x="2683329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Collaborate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FD5FBBC9-AF29-4E1F-8A22-F9EBDD1EF2A4}"/>
              </a:ext>
            </a:extLst>
          </p:cNvPr>
          <p:cNvSpPr txBox="1"/>
          <p:nvPr/>
        </p:nvSpPr>
        <p:spPr>
          <a:xfrm>
            <a:off x="6156979" y="1832445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Test app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1D358304-49D3-4C5D-9133-D543EBA4EB4F}"/>
              </a:ext>
            </a:extLst>
          </p:cNvPr>
          <p:cNvSpPr txBox="1"/>
          <p:nvPr/>
        </p:nvSpPr>
        <p:spPr>
          <a:xfrm>
            <a:off x="8067399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Release app</a:t>
            </a: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8CB482E7-CC34-46B5-B9B1-BF269389FAE8}"/>
              </a:ext>
            </a:extLst>
          </p:cNvPr>
          <p:cNvSpPr txBox="1"/>
          <p:nvPr/>
        </p:nvSpPr>
        <p:spPr>
          <a:xfrm>
            <a:off x="9858731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Monitor app</a:t>
            </a:r>
          </a:p>
        </p:txBody>
      </p:sp>
      <p:cxnSp>
        <p:nvCxnSpPr>
          <p:cNvPr id="140" name="Straight Arrow Connector 139">
            <a:extLst>
              <a:ext uri="{FF2B5EF4-FFF2-40B4-BE49-F238E27FC236}">
                <a16:creationId xmlns:a16="http://schemas.microsoft.com/office/drawing/2014/main" id="{BFAAC287-A2A7-4218-9A5C-359D1D884A4B}"/>
              </a:ext>
            </a:extLst>
          </p:cNvPr>
          <p:cNvCxnSpPr>
            <a:cxnSpLocks/>
          </p:cNvCxnSpPr>
          <p:nvPr/>
        </p:nvCxnSpPr>
        <p:spPr>
          <a:xfrm flipV="1">
            <a:off x="3850225" y="2520243"/>
            <a:ext cx="774497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Arrow Connector 140">
            <a:extLst>
              <a:ext uri="{FF2B5EF4-FFF2-40B4-BE49-F238E27FC236}">
                <a16:creationId xmlns:a16="http://schemas.microsoft.com/office/drawing/2014/main" id="{AE1EA355-4B1F-4EF6-B072-B297C7D36958}"/>
              </a:ext>
            </a:extLst>
          </p:cNvPr>
          <p:cNvCxnSpPr>
            <a:cxnSpLocks/>
          </p:cNvCxnSpPr>
          <p:nvPr/>
        </p:nvCxnSpPr>
        <p:spPr>
          <a:xfrm>
            <a:off x="5570645" y="2520243"/>
            <a:ext cx="946287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Arrow Connector 141">
            <a:extLst>
              <a:ext uri="{FF2B5EF4-FFF2-40B4-BE49-F238E27FC236}">
                <a16:creationId xmlns:a16="http://schemas.microsoft.com/office/drawing/2014/main" id="{8A56E93C-395A-45EE-940A-983CFDE92635}"/>
              </a:ext>
            </a:extLst>
          </p:cNvPr>
          <p:cNvCxnSpPr>
            <a:cxnSpLocks/>
          </p:cNvCxnSpPr>
          <p:nvPr/>
        </p:nvCxnSpPr>
        <p:spPr>
          <a:xfrm>
            <a:off x="7196682" y="2520243"/>
            <a:ext cx="109930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Arrow Connector 143">
            <a:extLst>
              <a:ext uri="{FF2B5EF4-FFF2-40B4-BE49-F238E27FC236}">
                <a16:creationId xmlns:a16="http://schemas.microsoft.com/office/drawing/2014/main" id="{495DE396-7C45-49E8-8D9E-F6C003404DD5}"/>
              </a:ext>
            </a:extLst>
          </p:cNvPr>
          <p:cNvCxnSpPr>
            <a:cxnSpLocks/>
          </p:cNvCxnSpPr>
          <p:nvPr/>
        </p:nvCxnSpPr>
        <p:spPr>
          <a:xfrm>
            <a:off x="9112623" y="2520243"/>
            <a:ext cx="962699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9B6FC9CD-2D6B-4794-BF51-E9B88796FF2B}"/>
              </a:ext>
            </a:extLst>
          </p:cNvPr>
          <p:cNvGrpSpPr/>
          <p:nvPr/>
        </p:nvGrpSpPr>
        <p:grpSpPr>
          <a:xfrm>
            <a:off x="3034411" y="2271608"/>
            <a:ext cx="642716" cy="643947"/>
            <a:chOff x="3034411" y="2271607"/>
            <a:chExt cx="642716" cy="643947"/>
          </a:xfrm>
        </p:grpSpPr>
        <p:sp useBgFill="1">
          <p:nvSpPr>
            <p:cNvPr id="146" name="Freeform 5">
              <a:extLst>
                <a:ext uri="{FF2B5EF4-FFF2-40B4-BE49-F238E27FC236}">
                  <a16:creationId xmlns:a16="http://schemas.microsoft.com/office/drawing/2014/main" id="{2C70C977-B900-43A7-A552-A57AF62891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4411" y="2271607"/>
              <a:ext cx="642716" cy="643947"/>
            </a:xfrm>
            <a:prstGeom prst="ellipse">
              <a:avLst/>
            </a:prstGeom>
            <a:solidFill>
              <a:schemeClr val="bg1"/>
            </a:solidFill>
            <a:ln w="10795" cap="flat" cmpd="sng" algn="ctr">
              <a:noFill/>
              <a:prstDash val="solid"/>
            </a:ln>
            <a:effectLst>
              <a:outerShdw blurRad="190500" dist="38100" dir="2700000" algn="tl" rotWithShape="0">
                <a:prstClr val="black">
                  <a:alpha val="25000"/>
                </a:prstClr>
              </a:outerShdw>
            </a:effectLst>
          </p:spPr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ts val="600"/>
                </a:spcBef>
                <a:defRPr/>
              </a:pPr>
              <a:endParaRPr lang="en-US" sz="2000">
                <a:latin typeface="Segoe UI Semilight"/>
              </a:endParaRPr>
            </a:p>
          </p:txBody>
        </p:sp>
        <p:grpSp>
          <p:nvGrpSpPr>
            <p:cNvPr id="147" name="Group 146">
              <a:extLst>
                <a:ext uri="{FF2B5EF4-FFF2-40B4-BE49-F238E27FC236}">
                  <a16:creationId xmlns:a16="http://schemas.microsoft.com/office/drawing/2014/main" id="{63BF0961-D24F-459B-9E41-7790125E171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034411" y="2273421"/>
              <a:ext cx="642716" cy="628550"/>
              <a:chOff x="6634" y="3297"/>
              <a:chExt cx="2092" cy="2046"/>
            </a:xfrm>
            <a:solidFill>
              <a:schemeClr val="tx1"/>
            </a:solidFill>
          </p:grpSpPr>
          <p:sp>
            <p:nvSpPr>
              <p:cNvPr id="148" name="Freeform 5">
                <a:extLst>
                  <a:ext uri="{FF2B5EF4-FFF2-40B4-BE49-F238E27FC236}">
                    <a16:creationId xmlns:a16="http://schemas.microsoft.com/office/drawing/2014/main" id="{92CD9963-5797-4ABC-AE2B-42F964834A6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4" y="3297"/>
                <a:ext cx="2092" cy="2046"/>
              </a:xfrm>
              <a:custGeom>
                <a:avLst/>
                <a:gdLst>
                  <a:gd name="T0" fmla="*/ 594 w 1187"/>
                  <a:gd name="T1" fmla="*/ 0 h 1161"/>
                  <a:gd name="T2" fmla="*/ 594 w 1187"/>
                  <a:gd name="T3" fmla="*/ 0 h 1161"/>
                  <a:gd name="T4" fmla="*/ 0 w 1187"/>
                  <a:gd name="T5" fmla="*/ 592 h 1161"/>
                  <a:gd name="T6" fmla="*/ 406 w 1187"/>
                  <a:gd name="T7" fmla="*/ 1155 h 1161"/>
                  <a:gd name="T8" fmla="*/ 446 w 1187"/>
                  <a:gd name="T9" fmla="*/ 1126 h 1161"/>
                  <a:gd name="T10" fmla="*/ 445 w 1187"/>
                  <a:gd name="T11" fmla="*/ 1016 h 1161"/>
                  <a:gd name="T12" fmla="*/ 246 w 1187"/>
                  <a:gd name="T13" fmla="*/ 946 h 1161"/>
                  <a:gd name="T14" fmla="*/ 179 w 1187"/>
                  <a:gd name="T15" fmla="*/ 859 h 1161"/>
                  <a:gd name="T16" fmla="*/ 184 w 1187"/>
                  <a:gd name="T17" fmla="*/ 823 h 1161"/>
                  <a:gd name="T18" fmla="*/ 274 w 1187"/>
                  <a:gd name="T19" fmla="*/ 884 h 1161"/>
                  <a:gd name="T20" fmla="*/ 448 w 1187"/>
                  <a:gd name="T21" fmla="*/ 934 h 1161"/>
                  <a:gd name="T22" fmla="*/ 485 w 1187"/>
                  <a:gd name="T23" fmla="*/ 854 h 1161"/>
                  <a:gd name="T24" fmla="*/ 215 w 1187"/>
                  <a:gd name="T25" fmla="*/ 561 h 1161"/>
                  <a:gd name="T26" fmla="*/ 276 w 1187"/>
                  <a:gd name="T27" fmla="*/ 402 h 1161"/>
                  <a:gd name="T28" fmla="*/ 282 w 1187"/>
                  <a:gd name="T29" fmla="*/ 245 h 1161"/>
                  <a:gd name="T30" fmla="*/ 445 w 1187"/>
                  <a:gd name="T31" fmla="*/ 305 h 1161"/>
                  <a:gd name="T32" fmla="*/ 594 w 1187"/>
                  <a:gd name="T33" fmla="*/ 285 h 1161"/>
                  <a:gd name="T34" fmla="*/ 742 w 1187"/>
                  <a:gd name="T35" fmla="*/ 305 h 1161"/>
                  <a:gd name="T36" fmla="*/ 906 w 1187"/>
                  <a:gd name="T37" fmla="*/ 245 h 1161"/>
                  <a:gd name="T38" fmla="*/ 911 w 1187"/>
                  <a:gd name="T39" fmla="*/ 402 h 1161"/>
                  <a:gd name="T40" fmla="*/ 972 w 1187"/>
                  <a:gd name="T41" fmla="*/ 561 h 1161"/>
                  <a:gd name="T42" fmla="*/ 701 w 1187"/>
                  <a:gd name="T43" fmla="*/ 853 h 1161"/>
                  <a:gd name="T44" fmla="*/ 741 w 1187"/>
                  <a:gd name="T45" fmla="*/ 963 h 1161"/>
                  <a:gd name="T46" fmla="*/ 740 w 1187"/>
                  <a:gd name="T47" fmla="*/ 1126 h 1161"/>
                  <a:gd name="T48" fmla="*/ 782 w 1187"/>
                  <a:gd name="T49" fmla="*/ 1155 h 1161"/>
                  <a:gd name="T50" fmla="*/ 1187 w 1187"/>
                  <a:gd name="T51" fmla="*/ 592 h 1161"/>
                  <a:gd name="T52" fmla="*/ 594 w 1187"/>
                  <a:gd name="T53" fmla="*/ 0 h 1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87" h="1161">
                    <a:moveTo>
                      <a:pt x="594" y="0"/>
                    </a:moveTo>
                    <a:cubicBezTo>
                      <a:pt x="594" y="0"/>
                      <a:pt x="594" y="0"/>
                      <a:pt x="594" y="0"/>
                    </a:cubicBezTo>
                    <a:cubicBezTo>
                      <a:pt x="265" y="0"/>
                      <a:pt x="0" y="264"/>
                      <a:pt x="0" y="592"/>
                    </a:cubicBezTo>
                    <a:cubicBezTo>
                      <a:pt x="0" y="854"/>
                      <a:pt x="170" y="1077"/>
                      <a:pt x="406" y="1155"/>
                    </a:cubicBezTo>
                    <a:cubicBezTo>
                      <a:pt x="435" y="1161"/>
                      <a:pt x="446" y="1142"/>
                      <a:pt x="446" y="1126"/>
                    </a:cubicBezTo>
                    <a:cubicBezTo>
                      <a:pt x="446" y="1112"/>
                      <a:pt x="445" y="1066"/>
                      <a:pt x="445" y="1016"/>
                    </a:cubicBezTo>
                    <a:cubicBezTo>
                      <a:pt x="280" y="1052"/>
                      <a:pt x="246" y="946"/>
                      <a:pt x="246" y="946"/>
                    </a:cubicBezTo>
                    <a:cubicBezTo>
                      <a:pt x="218" y="877"/>
                      <a:pt x="179" y="859"/>
                      <a:pt x="179" y="859"/>
                    </a:cubicBezTo>
                    <a:cubicBezTo>
                      <a:pt x="125" y="822"/>
                      <a:pt x="184" y="823"/>
                      <a:pt x="184" y="823"/>
                    </a:cubicBezTo>
                    <a:cubicBezTo>
                      <a:pt x="243" y="827"/>
                      <a:pt x="274" y="884"/>
                      <a:pt x="274" y="884"/>
                    </a:cubicBezTo>
                    <a:cubicBezTo>
                      <a:pt x="327" y="975"/>
                      <a:pt x="414" y="948"/>
                      <a:pt x="448" y="934"/>
                    </a:cubicBezTo>
                    <a:cubicBezTo>
                      <a:pt x="453" y="895"/>
                      <a:pt x="468" y="869"/>
                      <a:pt x="485" y="854"/>
                    </a:cubicBezTo>
                    <a:cubicBezTo>
                      <a:pt x="353" y="839"/>
                      <a:pt x="215" y="789"/>
                      <a:pt x="215" y="561"/>
                    </a:cubicBezTo>
                    <a:cubicBezTo>
                      <a:pt x="215" y="496"/>
                      <a:pt x="237" y="443"/>
                      <a:pt x="276" y="402"/>
                    </a:cubicBezTo>
                    <a:cubicBezTo>
                      <a:pt x="269" y="387"/>
                      <a:pt x="249" y="327"/>
                      <a:pt x="282" y="245"/>
                    </a:cubicBezTo>
                    <a:cubicBezTo>
                      <a:pt x="282" y="245"/>
                      <a:pt x="331" y="229"/>
                      <a:pt x="445" y="305"/>
                    </a:cubicBezTo>
                    <a:cubicBezTo>
                      <a:pt x="492" y="293"/>
                      <a:pt x="543" y="286"/>
                      <a:pt x="594" y="285"/>
                    </a:cubicBezTo>
                    <a:cubicBezTo>
                      <a:pt x="644" y="286"/>
                      <a:pt x="695" y="293"/>
                      <a:pt x="742" y="305"/>
                    </a:cubicBezTo>
                    <a:cubicBezTo>
                      <a:pt x="855" y="229"/>
                      <a:pt x="906" y="245"/>
                      <a:pt x="906" y="245"/>
                    </a:cubicBezTo>
                    <a:cubicBezTo>
                      <a:pt x="937" y="327"/>
                      <a:pt x="917" y="387"/>
                      <a:pt x="911" y="402"/>
                    </a:cubicBezTo>
                    <a:cubicBezTo>
                      <a:pt x="949" y="443"/>
                      <a:pt x="972" y="496"/>
                      <a:pt x="972" y="561"/>
                    </a:cubicBezTo>
                    <a:cubicBezTo>
                      <a:pt x="972" y="789"/>
                      <a:pt x="833" y="839"/>
                      <a:pt x="701" y="853"/>
                    </a:cubicBezTo>
                    <a:cubicBezTo>
                      <a:pt x="723" y="872"/>
                      <a:pt x="741" y="908"/>
                      <a:pt x="741" y="963"/>
                    </a:cubicBezTo>
                    <a:cubicBezTo>
                      <a:pt x="741" y="1043"/>
                      <a:pt x="740" y="1107"/>
                      <a:pt x="740" y="1126"/>
                    </a:cubicBezTo>
                    <a:cubicBezTo>
                      <a:pt x="740" y="1142"/>
                      <a:pt x="751" y="1161"/>
                      <a:pt x="782" y="1155"/>
                    </a:cubicBezTo>
                    <a:cubicBezTo>
                      <a:pt x="1017" y="1076"/>
                      <a:pt x="1187" y="854"/>
                      <a:pt x="1187" y="592"/>
                    </a:cubicBezTo>
                    <a:cubicBezTo>
                      <a:pt x="1187" y="264"/>
                      <a:pt x="921" y="0"/>
                      <a:pt x="59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49" name="Freeform 6">
                <a:extLst>
                  <a:ext uri="{FF2B5EF4-FFF2-40B4-BE49-F238E27FC236}">
                    <a16:creationId xmlns:a16="http://schemas.microsoft.com/office/drawing/2014/main" id="{231576D0-24C4-49FF-84F3-A57F89E64AC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01" y="4776"/>
                <a:ext cx="31" cy="26"/>
              </a:xfrm>
              <a:custGeom>
                <a:avLst/>
                <a:gdLst>
                  <a:gd name="T0" fmla="*/ 16 w 18"/>
                  <a:gd name="T1" fmla="*/ 11 h 15"/>
                  <a:gd name="T2" fmla="*/ 16 w 18"/>
                  <a:gd name="T3" fmla="*/ 11 h 15"/>
                  <a:gd name="T4" fmla="*/ 7 w 18"/>
                  <a:gd name="T5" fmla="*/ 13 h 15"/>
                  <a:gd name="T6" fmla="*/ 1 w 18"/>
                  <a:gd name="T7" fmla="*/ 4 h 15"/>
                  <a:gd name="T8" fmla="*/ 11 w 18"/>
                  <a:gd name="T9" fmla="*/ 3 h 15"/>
                  <a:gd name="T10" fmla="*/ 16 w 18"/>
                  <a:gd name="T11" fmla="*/ 1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15">
                    <a:moveTo>
                      <a:pt x="16" y="11"/>
                    </a:moveTo>
                    <a:cubicBezTo>
                      <a:pt x="16" y="11"/>
                      <a:pt x="16" y="11"/>
                      <a:pt x="16" y="11"/>
                    </a:cubicBezTo>
                    <a:cubicBezTo>
                      <a:pt x="15" y="14"/>
                      <a:pt x="10" y="15"/>
                      <a:pt x="7" y="13"/>
                    </a:cubicBezTo>
                    <a:cubicBezTo>
                      <a:pt x="2" y="11"/>
                      <a:pt x="0" y="7"/>
                      <a:pt x="1" y="4"/>
                    </a:cubicBezTo>
                    <a:cubicBezTo>
                      <a:pt x="2" y="1"/>
                      <a:pt x="7" y="0"/>
                      <a:pt x="11" y="3"/>
                    </a:cubicBezTo>
                    <a:cubicBezTo>
                      <a:pt x="15" y="4"/>
                      <a:pt x="18" y="9"/>
                      <a:pt x="16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50" name="Freeform 7">
                <a:extLst>
                  <a:ext uri="{FF2B5EF4-FFF2-40B4-BE49-F238E27FC236}">
                    <a16:creationId xmlns:a16="http://schemas.microsoft.com/office/drawing/2014/main" id="{733648A1-0A6E-4307-BE8E-58A8CFD8879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43" y="4811"/>
                <a:ext cx="33" cy="37"/>
              </a:xfrm>
              <a:custGeom>
                <a:avLst/>
                <a:gdLst>
                  <a:gd name="T0" fmla="*/ 17 w 19"/>
                  <a:gd name="T1" fmla="*/ 18 h 21"/>
                  <a:gd name="T2" fmla="*/ 17 w 19"/>
                  <a:gd name="T3" fmla="*/ 18 h 21"/>
                  <a:gd name="T4" fmla="*/ 5 w 19"/>
                  <a:gd name="T5" fmla="*/ 16 h 21"/>
                  <a:gd name="T6" fmla="*/ 3 w 19"/>
                  <a:gd name="T7" fmla="*/ 3 h 21"/>
                  <a:gd name="T8" fmla="*/ 15 w 19"/>
                  <a:gd name="T9" fmla="*/ 6 h 21"/>
                  <a:gd name="T10" fmla="*/ 17 w 19"/>
                  <a:gd name="T11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21">
                    <a:moveTo>
                      <a:pt x="17" y="18"/>
                    </a:moveTo>
                    <a:cubicBezTo>
                      <a:pt x="17" y="18"/>
                      <a:pt x="17" y="18"/>
                      <a:pt x="17" y="18"/>
                    </a:cubicBezTo>
                    <a:cubicBezTo>
                      <a:pt x="14" y="21"/>
                      <a:pt x="8" y="19"/>
                      <a:pt x="5" y="16"/>
                    </a:cubicBezTo>
                    <a:cubicBezTo>
                      <a:pt x="0" y="11"/>
                      <a:pt x="0" y="5"/>
                      <a:pt x="3" y="3"/>
                    </a:cubicBezTo>
                    <a:cubicBezTo>
                      <a:pt x="5" y="0"/>
                      <a:pt x="11" y="2"/>
                      <a:pt x="15" y="6"/>
                    </a:cubicBezTo>
                    <a:cubicBezTo>
                      <a:pt x="19" y="10"/>
                      <a:pt x="19" y="16"/>
                      <a:pt x="17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51" name="Freeform 8">
                <a:extLst>
                  <a:ext uri="{FF2B5EF4-FFF2-40B4-BE49-F238E27FC236}">
                    <a16:creationId xmlns:a16="http://schemas.microsoft.com/office/drawing/2014/main" id="{354B0740-FB15-4B10-A311-B50533F1611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84" y="4865"/>
                <a:ext cx="37" cy="43"/>
              </a:xfrm>
              <a:custGeom>
                <a:avLst/>
                <a:gdLst>
                  <a:gd name="T0" fmla="*/ 17 w 21"/>
                  <a:gd name="T1" fmla="*/ 22 h 24"/>
                  <a:gd name="T2" fmla="*/ 17 w 21"/>
                  <a:gd name="T3" fmla="*/ 22 h 24"/>
                  <a:gd name="T4" fmla="*/ 4 w 21"/>
                  <a:gd name="T5" fmla="*/ 16 h 24"/>
                  <a:gd name="T6" fmla="*/ 4 w 21"/>
                  <a:gd name="T7" fmla="*/ 2 h 24"/>
                  <a:gd name="T8" fmla="*/ 17 w 21"/>
                  <a:gd name="T9" fmla="*/ 7 h 24"/>
                  <a:gd name="T10" fmla="*/ 17 w 21"/>
                  <a:gd name="T11" fmla="*/ 2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" h="24">
                    <a:moveTo>
                      <a:pt x="17" y="22"/>
                    </a:moveTo>
                    <a:cubicBezTo>
                      <a:pt x="17" y="22"/>
                      <a:pt x="17" y="22"/>
                      <a:pt x="17" y="22"/>
                    </a:cubicBezTo>
                    <a:cubicBezTo>
                      <a:pt x="13" y="24"/>
                      <a:pt x="8" y="22"/>
                      <a:pt x="4" y="16"/>
                    </a:cubicBezTo>
                    <a:cubicBezTo>
                      <a:pt x="0" y="11"/>
                      <a:pt x="0" y="5"/>
                      <a:pt x="4" y="2"/>
                    </a:cubicBezTo>
                    <a:cubicBezTo>
                      <a:pt x="8" y="0"/>
                      <a:pt x="13" y="2"/>
                      <a:pt x="17" y="7"/>
                    </a:cubicBezTo>
                    <a:cubicBezTo>
                      <a:pt x="21" y="13"/>
                      <a:pt x="21" y="19"/>
                      <a:pt x="17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52" name="Freeform 9">
                <a:extLst>
                  <a:ext uri="{FF2B5EF4-FFF2-40B4-BE49-F238E27FC236}">
                    <a16:creationId xmlns:a16="http://schemas.microsoft.com/office/drawing/2014/main" id="{126FCC2D-66B9-4FA6-ACCC-AA68194D760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31" y="4924"/>
                <a:ext cx="46" cy="44"/>
              </a:xfrm>
              <a:custGeom>
                <a:avLst/>
                <a:gdLst>
                  <a:gd name="T0" fmla="*/ 22 w 26"/>
                  <a:gd name="T1" fmla="*/ 22 h 25"/>
                  <a:gd name="T2" fmla="*/ 22 w 26"/>
                  <a:gd name="T3" fmla="*/ 22 h 25"/>
                  <a:gd name="T4" fmla="*/ 7 w 26"/>
                  <a:gd name="T5" fmla="*/ 19 h 25"/>
                  <a:gd name="T6" fmla="*/ 3 w 26"/>
                  <a:gd name="T7" fmla="*/ 4 h 25"/>
                  <a:gd name="T8" fmla="*/ 19 w 26"/>
                  <a:gd name="T9" fmla="*/ 6 h 25"/>
                  <a:gd name="T10" fmla="*/ 22 w 26"/>
                  <a:gd name="T11" fmla="*/ 2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25">
                    <a:moveTo>
                      <a:pt x="22" y="22"/>
                    </a:moveTo>
                    <a:cubicBezTo>
                      <a:pt x="22" y="22"/>
                      <a:pt x="22" y="22"/>
                      <a:pt x="22" y="22"/>
                    </a:cubicBezTo>
                    <a:cubicBezTo>
                      <a:pt x="19" y="25"/>
                      <a:pt x="12" y="24"/>
                      <a:pt x="7" y="19"/>
                    </a:cubicBezTo>
                    <a:cubicBezTo>
                      <a:pt x="2" y="14"/>
                      <a:pt x="0" y="8"/>
                      <a:pt x="3" y="4"/>
                    </a:cubicBezTo>
                    <a:cubicBezTo>
                      <a:pt x="7" y="0"/>
                      <a:pt x="14" y="1"/>
                      <a:pt x="19" y="6"/>
                    </a:cubicBezTo>
                    <a:cubicBezTo>
                      <a:pt x="24" y="11"/>
                      <a:pt x="26" y="18"/>
                      <a:pt x="22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53" name="Freeform 10">
                <a:extLst>
                  <a:ext uri="{FF2B5EF4-FFF2-40B4-BE49-F238E27FC236}">
                    <a16:creationId xmlns:a16="http://schemas.microsoft.com/office/drawing/2014/main" id="{C7D066FF-E060-4B09-A2F9-2D099B46DB8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02" y="4969"/>
                <a:ext cx="49" cy="39"/>
              </a:xfrm>
              <a:custGeom>
                <a:avLst/>
                <a:gdLst>
                  <a:gd name="T0" fmla="*/ 26 w 28"/>
                  <a:gd name="T1" fmla="*/ 15 h 22"/>
                  <a:gd name="T2" fmla="*/ 26 w 28"/>
                  <a:gd name="T3" fmla="*/ 15 h 22"/>
                  <a:gd name="T4" fmla="*/ 11 w 28"/>
                  <a:gd name="T5" fmla="*/ 19 h 22"/>
                  <a:gd name="T6" fmla="*/ 2 w 28"/>
                  <a:gd name="T7" fmla="*/ 8 h 22"/>
                  <a:gd name="T8" fmla="*/ 16 w 28"/>
                  <a:gd name="T9" fmla="*/ 2 h 22"/>
                  <a:gd name="T10" fmla="*/ 26 w 28"/>
                  <a:gd name="T11" fmla="*/ 1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22">
                    <a:moveTo>
                      <a:pt x="26" y="15"/>
                    </a:moveTo>
                    <a:cubicBezTo>
                      <a:pt x="26" y="15"/>
                      <a:pt x="26" y="15"/>
                      <a:pt x="26" y="15"/>
                    </a:cubicBezTo>
                    <a:cubicBezTo>
                      <a:pt x="25" y="19"/>
                      <a:pt x="18" y="22"/>
                      <a:pt x="11" y="19"/>
                    </a:cubicBezTo>
                    <a:cubicBezTo>
                      <a:pt x="5" y="17"/>
                      <a:pt x="0" y="12"/>
                      <a:pt x="2" y="8"/>
                    </a:cubicBezTo>
                    <a:cubicBezTo>
                      <a:pt x="3" y="2"/>
                      <a:pt x="10" y="0"/>
                      <a:pt x="16" y="2"/>
                    </a:cubicBezTo>
                    <a:cubicBezTo>
                      <a:pt x="23" y="5"/>
                      <a:pt x="28" y="10"/>
                      <a:pt x="26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54" name="Freeform 11">
                <a:extLst>
                  <a:ext uri="{FF2B5EF4-FFF2-40B4-BE49-F238E27FC236}">
                    <a16:creationId xmlns:a16="http://schemas.microsoft.com/office/drawing/2014/main" id="{47E159B4-90D6-45B7-9F4F-0EFC3973121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90" y="4985"/>
                <a:ext cx="44" cy="32"/>
              </a:xfrm>
              <a:custGeom>
                <a:avLst/>
                <a:gdLst>
                  <a:gd name="T0" fmla="*/ 25 w 25"/>
                  <a:gd name="T1" fmla="*/ 9 h 18"/>
                  <a:gd name="T2" fmla="*/ 25 w 25"/>
                  <a:gd name="T3" fmla="*/ 9 h 18"/>
                  <a:gd name="T4" fmla="*/ 12 w 25"/>
                  <a:gd name="T5" fmla="*/ 18 h 18"/>
                  <a:gd name="T6" fmla="*/ 0 w 25"/>
                  <a:gd name="T7" fmla="*/ 10 h 18"/>
                  <a:gd name="T8" fmla="*/ 12 w 25"/>
                  <a:gd name="T9" fmla="*/ 1 h 18"/>
                  <a:gd name="T10" fmla="*/ 25 w 25"/>
                  <a:gd name="T11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" h="18">
                    <a:moveTo>
                      <a:pt x="25" y="9"/>
                    </a:moveTo>
                    <a:cubicBezTo>
                      <a:pt x="25" y="9"/>
                      <a:pt x="25" y="9"/>
                      <a:pt x="25" y="9"/>
                    </a:cubicBezTo>
                    <a:cubicBezTo>
                      <a:pt x="25" y="14"/>
                      <a:pt x="20" y="18"/>
                      <a:pt x="12" y="18"/>
                    </a:cubicBezTo>
                    <a:cubicBezTo>
                      <a:pt x="6" y="18"/>
                      <a:pt x="0" y="14"/>
                      <a:pt x="0" y="10"/>
                    </a:cubicBezTo>
                    <a:cubicBezTo>
                      <a:pt x="0" y="4"/>
                      <a:pt x="5" y="1"/>
                      <a:pt x="12" y="1"/>
                    </a:cubicBezTo>
                    <a:cubicBezTo>
                      <a:pt x="19" y="0"/>
                      <a:pt x="25" y="4"/>
                      <a:pt x="25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55" name="Freeform 12">
                <a:extLst>
                  <a:ext uri="{FF2B5EF4-FFF2-40B4-BE49-F238E27FC236}">
                    <a16:creationId xmlns:a16="http://schemas.microsoft.com/office/drawing/2014/main" id="{6311F244-6C6A-4496-BF18-B0F21A9428A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367" y="4973"/>
                <a:ext cx="48" cy="37"/>
              </a:xfrm>
              <a:custGeom>
                <a:avLst/>
                <a:gdLst>
                  <a:gd name="T0" fmla="*/ 26 w 27"/>
                  <a:gd name="T1" fmla="*/ 9 h 21"/>
                  <a:gd name="T2" fmla="*/ 26 w 27"/>
                  <a:gd name="T3" fmla="*/ 9 h 21"/>
                  <a:gd name="T4" fmla="*/ 15 w 27"/>
                  <a:gd name="T5" fmla="*/ 20 h 21"/>
                  <a:gd name="T6" fmla="*/ 1 w 27"/>
                  <a:gd name="T7" fmla="*/ 13 h 21"/>
                  <a:gd name="T8" fmla="*/ 12 w 27"/>
                  <a:gd name="T9" fmla="*/ 2 h 21"/>
                  <a:gd name="T10" fmla="*/ 26 w 27"/>
                  <a:gd name="T11" fmla="*/ 9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21">
                    <a:moveTo>
                      <a:pt x="26" y="9"/>
                    </a:moveTo>
                    <a:cubicBezTo>
                      <a:pt x="26" y="9"/>
                      <a:pt x="26" y="9"/>
                      <a:pt x="26" y="9"/>
                    </a:cubicBezTo>
                    <a:cubicBezTo>
                      <a:pt x="27" y="13"/>
                      <a:pt x="22" y="18"/>
                      <a:pt x="15" y="20"/>
                    </a:cubicBezTo>
                    <a:cubicBezTo>
                      <a:pt x="8" y="21"/>
                      <a:pt x="2" y="18"/>
                      <a:pt x="1" y="13"/>
                    </a:cubicBezTo>
                    <a:cubicBezTo>
                      <a:pt x="0" y="8"/>
                      <a:pt x="5" y="3"/>
                      <a:pt x="12" y="2"/>
                    </a:cubicBezTo>
                    <a:cubicBezTo>
                      <a:pt x="19" y="0"/>
                      <a:pt x="25" y="3"/>
                      <a:pt x="2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</p:grpSp>
      </p:grpSp>
      <p:pic>
        <p:nvPicPr>
          <p:cNvPr id="156" name="Picture 6">
            <a:extLst>
              <a:ext uri="{FF2B5EF4-FFF2-40B4-BE49-F238E27FC236}">
                <a16:creationId xmlns:a16="http://schemas.microsoft.com/office/drawing/2014/main" id="{4AC7510A-6CE4-4315-8197-4CB4E3940C24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3367" y="2319423"/>
            <a:ext cx="532944" cy="53654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>
            <a:outerShdw blurRad="1905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157" name="Picture 12">
            <a:extLst>
              <a:ext uri="{FF2B5EF4-FFF2-40B4-BE49-F238E27FC236}">
                <a16:creationId xmlns:a16="http://schemas.microsoft.com/office/drawing/2014/main" id="{8772450E-8BAA-46B6-9A5E-3D579AF59EBC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4245" y="2322523"/>
            <a:ext cx="530347" cy="53034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>
            <a:outerShdw blurRad="1905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158" name="Graphic 157">
            <a:extLst>
              <a:ext uri="{FF2B5EF4-FFF2-40B4-BE49-F238E27FC236}">
                <a16:creationId xmlns:a16="http://schemas.microsoft.com/office/drawing/2014/main" id="{341DDEC5-C980-44C9-91DB-59859F6ADBF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97813" y="2315809"/>
            <a:ext cx="536547" cy="536547"/>
          </a:xfrm>
          <a:prstGeom prst="rect">
            <a:avLst/>
          </a:prstGeom>
          <a:effectLst>
            <a:outerShdw blurRad="190500" dist="38100" dir="2700000" algn="ctr" rotWithShape="0">
              <a:prstClr val="black">
                <a:alpha val="25000"/>
              </a:prstClr>
            </a:outerShdw>
          </a:effectLst>
        </p:spPr>
      </p:pic>
      <p:cxnSp>
        <p:nvCxnSpPr>
          <p:cNvPr id="176" name="Straight Arrow Connector 175">
            <a:extLst>
              <a:ext uri="{FF2B5EF4-FFF2-40B4-BE49-F238E27FC236}">
                <a16:creationId xmlns:a16="http://schemas.microsoft.com/office/drawing/2014/main" id="{95398597-8FD4-457A-A6A8-3AA58E948548}"/>
              </a:ext>
            </a:extLst>
          </p:cNvPr>
          <p:cNvCxnSpPr>
            <a:cxnSpLocks/>
          </p:cNvCxnSpPr>
          <p:nvPr/>
        </p:nvCxnSpPr>
        <p:spPr>
          <a:xfrm>
            <a:off x="1810056" y="2520243"/>
            <a:ext cx="110556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Arrow Connector 176">
            <a:extLst>
              <a:ext uri="{FF2B5EF4-FFF2-40B4-BE49-F238E27FC236}">
                <a16:creationId xmlns:a16="http://schemas.microsoft.com/office/drawing/2014/main" id="{44A2A861-BA92-4191-95FD-1A388E968F94}"/>
              </a:ext>
            </a:extLst>
          </p:cNvPr>
          <p:cNvCxnSpPr>
            <a:cxnSpLocks/>
          </p:cNvCxnSpPr>
          <p:nvPr/>
        </p:nvCxnSpPr>
        <p:spPr>
          <a:xfrm flipV="1">
            <a:off x="3850225" y="2664541"/>
            <a:ext cx="774497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Arrow Connector 177">
            <a:extLst>
              <a:ext uri="{FF2B5EF4-FFF2-40B4-BE49-F238E27FC236}">
                <a16:creationId xmlns:a16="http://schemas.microsoft.com/office/drawing/2014/main" id="{ED5A322C-0A20-429E-A877-D10915E6415C}"/>
              </a:ext>
            </a:extLst>
          </p:cNvPr>
          <p:cNvCxnSpPr>
            <a:cxnSpLocks/>
          </p:cNvCxnSpPr>
          <p:nvPr/>
        </p:nvCxnSpPr>
        <p:spPr>
          <a:xfrm>
            <a:off x="5570645" y="2664541"/>
            <a:ext cx="946287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Arrow Connector 178">
            <a:extLst>
              <a:ext uri="{FF2B5EF4-FFF2-40B4-BE49-F238E27FC236}">
                <a16:creationId xmlns:a16="http://schemas.microsoft.com/office/drawing/2014/main" id="{E30D44AA-D08C-4C3E-B0FF-D715F8868162}"/>
              </a:ext>
            </a:extLst>
          </p:cNvPr>
          <p:cNvCxnSpPr>
            <a:cxnSpLocks/>
          </p:cNvCxnSpPr>
          <p:nvPr/>
        </p:nvCxnSpPr>
        <p:spPr>
          <a:xfrm>
            <a:off x="7196682" y="2664541"/>
            <a:ext cx="1099303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Arrow Connector 179">
            <a:extLst>
              <a:ext uri="{FF2B5EF4-FFF2-40B4-BE49-F238E27FC236}">
                <a16:creationId xmlns:a16="http://schemas.microsoft.com/office/drawing/2014/main" id="{5C18A7A0-2ADC-406B-9B82-71C55DEA7B2A}"/>
              </a:ext>
            </a:extLst>
          </p:cNvPr>
          <p:cNvCxnSpPr>
            <a:cxnSpLocks/>
          </p:cNvCxnSpPr>
          <p:nvPr/>
        </p:nvCxnSpPr>
        <p:spPr>
          <a:xfrm>
            <a:off x="9112623" y="2664541"/>
            <a:ext cx="962699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>
            <a:extLst>
              <a:ext uri="{FF2B5EF4-FFF2-40B4-BE49-F238E27FC236}">
                <a16:creationId xmlns:a16="http://schemas.microsoft.com/office/drawing/2014/main" id="{B5D6D793-0823-4247-88FC-DBEC7E762809}"/>
              </a:ext>
            </a:extLst>
          </p:cNvPr>
          <p:cNvSpPr txBox="1"/>
          <p:nvPr/>
        </p:nvSpPr>
        <p:spPr>
          <a:xfrm>
            <a:off x="361727" y="2951161"/>
            <a:ext cx="187743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77">
              <a:defRPr/>
            </a:pPr>
            <a:r>
              <a:rPr lang="en-US" sz="1400">
                <a:latin typeface="Segoe UI Semibold"/>
              </a:rPr>
              <a:t>App developer</a:t>
            </a:r>
          </a:p>
          <a:p>
            <a:pPr algn="ctr" defTabSz="914377">
              <a:defRPr/>
            </a:pPr>
            <a:r>
              <a:rPr lang="en-US" sz="1400">
                <a:latin typeface="Segoe UI Semibold"/>
              </a:rPr>
              <a:t>using Azure DevOps </a:t>
            </a: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D4FAF9DF-4027-4DD1-A5C2-39320AD84E23}"/>
              </a:ext>
            </a:extLst>
          </p:cNvPr>
          <p:cNvGrpSpPr/>
          <p:nvPr/>
        </p:nvGrpSpPr>
        <p:grpSpPr>
          <a:xfrm>
            <a:off x="1057501" y="2340616"/>
            <a:ext cx="485888" cy="564792"/>
            <a:chOff x="6185695" y="5061756"/>
            <a:chExt cx="742515" cy="863093"/>
          </a:xfrm>
          <a:solidFill>
            <a:schemeClr val="tx1"/>
          </a:solidFill>
        </p:grpSpPr>
        <p:sp>
          <p:nvSpPr>
            <p:cNvPr id="77" name="Oval 69">
              <a:extLst>
                <a:ext uri="{FF2B5EF4-FFF2-40B4-BE49-F238E27FC236}">
                  <a16:creationId xmlns:a16="http://schemas.microsoft.com/office/drawing/2014/main" id="{12F29A09-7A1D-4009-88D1-0C189C46C6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69737" y="5061756"/>
              <a:ext cx="368084" cy="36808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  <p:sp>
          <p:nvSpPr>
            <p:cNvPr id="82" name="Freeform 70">
              <a:extLst>
                <a:ext uri="{FF2B5EF4-FFF2-40B4-BE49-F238E27FC236}">
                  <a16:creationId xmlns:a16="http://schemas.microsoft.com/office/drawing/2014/main" id="{60C790DF-E063-4876-84C5-EB5A015DB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5695" y="5556765"/>
              <a:ext cx="742515" cy="368084"/>
            </a:xfrm>
            <a:custGeom>
              <a:avLst/>
              <a:gdLst>
                <a:gd name="T0" fmla="*/ 0 w 512"/>
                <a:gd name="T1" fmla="*/ 256 h 256"/>
                <a:gd name="T2" fmla="*/ 256 w 512"/>
                <a:gd name="T3" fmla="*/ 0 h 256"/>
                <a:gd name="T4" fmla="*/ 512 w 512"/>
                <a:gd name="T5" fmla="*/ 256 h 256"/>
                <a:gd name="T6" fmla="*/ 0 w 512"/>
                <a:gd name="T7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2" h="256">
                  <a:moveTo>
                    <a:pt x="0" y="256"/>
                  </a:moveTo>
                  <a:cubicBezTo>
                    <a:pt x="0" y="115"/>
                    <a:pt x="114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lnTo>
                    <a:pt x="0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</p:grpSp>
      <p:sp>
        <p:nvSpPr>
          <p:cNvPr id="83" name="TextBox 82">
            <a:extLst>
              <a:ext uri="{FF2B5EF4-FFF2-40B4-BE49-F238E27FC236}">
                <a16:creationId xmlns:a16="http://schemas.microsoft.com/office/drawing/2014/main" id="{E580BE00-EA60-42EC-BFE4-9B4D7CFA1256}"/>
              </a:ext>
            </a:extLst>
          </p:cNvPr>
          <p:cNvSpPr txBox="1"/>
          <p:nvPr/>
        </p:nvSpPr>
        <p:spPr>
          <a:xfrm>
            <a:off x="223876" y="4645317"/>
            <a:ext cx="21531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77">
              <a:defRPr/>
            </a:pPr>
            <a:r>
              <a:rPr lang="en-US" sz="1400">
                <a:latin typeface="Segoe UI Semibold"/>
              </a:rPr>
              <a:t>Data scientist using </a:t>
            </a:r>
          </a:p>
          <a:p>
            <a:pPr algn="ctr" defTabSz="914377">
              <a:defRPr/>
            </a:pPr>
            <a:r>
              <a:rPr lang="en-US" sz="1400">
                <a:latin typeface="Segoe UI Semibold"/>
              </a:rPr>
              <a:t>Azure Machine Learning</a:t>
            </a:r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772300CD-799C-4012-9C74-5274CDA3E0D7}"/>
              </a:ext>
            </a:extLst>
          </p:cNvPr>
          <p:cNvGrpSpPr/>
          <p:nvPr/>
        </p:nvGrpSpPr>
        <p:grpSpPr>
          <a:xfrm>
            <a:off x="1057501" y="4052851"/>
            <a:ext cx="485888" cy="564792"/>
            <a:chOff x="6185695" y="5061756"/>
            <a:chExt cx="742515" cy="863093"/>
          </a:xfrm>
        </p:grpSpPr>
        <p:sp>
          <p:nvSpPr>
            <p:cNvPr id="85" name="Oval 69">
              <a:extLst>
                <a:ext uri="{FF2B5EF4-FFF2-40B4-BE49-F238E27FC236}">
                  <a16:creationId xmlns:a16="http://schemas.microsoft.com/office/drawing/2014/main" id="{D675A02E-1CE5-4EBE-BDA5-BCC998B8B1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69737" y="5061756"/>
              <a:ext cx="368084" cy="368084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  <p:sp>
          <p:nvSpPr>
            <p:cNvPr id="86" name="Freeform 70">
              <a:extLst>
                <a:ext uri="{FF2B5EF4-FFF2-40B4-BE49-F238E27FC236}">
                  <a16:creationId xmlns:a16="http://schemas.microsoft.com/office/drawing/2014/main" id="{EE47AA69-0D66-456B-A031-2F7DF7CEF55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5695" y="5556765"/>
              <a:ext cx="742515" cy="368084"/>
            </a:xfrm>
            <a:custGeom>
              <a:avLst/>
              <a:gdLst>
                <a:gd name="T0" fmla="*/ 0 w 512"/>
                <a:gd name="T1" fmla="*/ 256 h 256"/>
                <a:gd name="T2" fmla="*/ 256 w 512"/>
                <a:gd name="T3" fmla="*/ 0 h 256"/>
                <a:gd name="T4" fmla="*/ 512 w 512"/>
                <a:gd name="T5" fmla="*/ 256 h 256"/>
                <a:gd name="T6" fmla="*/ 0 w 512"/>
                <a:gd name="T7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2" h="256">
                  <a:moveTo>
                    <a:pt x="0" y="256"/>
                  </a:moveTo>
                  <a:cubicBezTo>
                    <a:pt x="0" y="115"/>
                    <a:pt x="114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lnTo>
                    <a:pt x="0" y="256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A7D079E2-68D6-4423-88C2-EDD5341AC1B4}"/>
              </a:ext>
            </a:extLst>
          </p:cNvPr>
          <p:cNvGrpSpPr/>
          <p:nvPr/>
        </p:nvGrpSpPr>
        <p:grpSpPr>
          <a:xfrm>
            <a:off x="10208042" y="2264567"/>
            <a:ext cx="646260" cy="646260"/>
            <a:chOff x="9897614" y="3471418"/>
            <a:chExt cx="1414462" cy="1414463"/>
          </a:xfrm>
        </p:grpSpPr>
        <p:sp>
          <p:nvSpPr>
            <p:cNvPr id="90" name="Donut 67">
              <a:extLst>
                <a:ext uri="{FF2B5EF4-FFF2-40B4-BE49-F238E27FC236}">
                  <a16:creationId xmlns:a16="http://schemas.microsoft.com/office/drawing/2014/main" id="{4847EC4D-EA4C-42FB-B3C4-97083358E003}"/>
                </a:ext>
              </a:extLst>
            </p:cNvPr>
            <p:cNvSpPr/>
            <p:nvPr/>
          </p:nvSpPr>
          <p:spPr bwMode="auto">
            <a:xfrm>
              <a:off x="9951778" y="3525582"/>
              <a:ext cx="1306134" cy="1306134"/>
            </a:xfrm>
            <a:prstGeom prst="ellipse">
              <a:avLst/>
            </a:prstGeom>
            <a:solidFill>
              <a:schemeClr val="tx1"/>
            </a:solidFill>
            <a:ln w="10795" cap="flat" cmpd="sng" algn="ctr">
              <a:noFill/>
              <a:prstDash val="solid"/>
            </a:ln>
            <a:effectLst>
              <a:outerShdw blurRad="190500" dist="38100" dir="2700000" algn="tl" rotWithShape="0">
                <a:prstClr val="black">
                  <a:alpha val="25000"/>
                </a:prstClr>
              </a:outerShdw>
            </a:effectLst>
          </p:spPr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ts val="600"/>
                </a:spcBef>
                <a:defRPr/>
              </a:pPr>
              <a:endParaRPr lang="en-IN" sz="2000">
                <a:latin typeface="Segoe UI Semilight"/>
              </a:endParaRPr>
            </a:p>
          </p:txBody>
        </p:sp>
        <p:sp>
          <p:nvSpPr>
            <p:cNvPr id="91" name="Donut 67">
              <a:extLst>
                <a:ext uri="{FF2B5EF4-FFF2-40B4-BE49-F238E27FC236}">
                  <a16:creationId xmlns:a16="http://schemas.microsoft.com/office/drawing/2014/main" id="{9CB2B39C-AC4E-4A93-B2A4-71FBD0DAFEDD}"/>
                </a:ext>
              </a:extLst>
            </p:cNvPr>
            <p:cNvSpPr/>
            <p:nvPr/>
          </p:nvSpPr>
          <p:spPr bwMode="auto">
            <a:xfrm>
              <a:off x="9897614" y="3471418"/>
              <a:ext cx="1414462" cy="1414462"/>
            </a:xfrm>
            <a:prstGeom prst="donut">
              <a:avLst>
                <a:gd name="adj" fmla="val 7423"/>
              </a:avLst>
            </a:prstGeom>
            <a:solidFill>
              <a:srgbClr val="FFFFFF">
                <a:lumMod val="8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891" indent="-342891"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Wingdings 3" panose="05040102010807070707" pitchFamily="18" charset="2"/>
                <a:buChar char="Æ"/>
                <a:defRPr/>
              </a:pPr>
              <a:endParaRPr lang="en-IN" sz="2000" b="1"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2" name="Freeform 69">
              <a:extLst>
                <a:ext uri="{FF2B5EF4-FFF2-40B4-BE49-F238E27FC236}">
                  <a16:creationId xmlns:a16="http://schemas.microsoft.com/office/drawing/2014/main" id="{8FAC345E-DBB7-4E92-AB9D-A98D182A09C7}"/>
                </a:ext>
              </a:extLst>
            </p:cNvPr>
            <p:cNvSpPr/>
            <p:nvPr/>
          </p:nvSpPr>
          <p:spPr bwMode="auto">
            <a:xfrm>
              <a:off x="10260852" y="3529492"/>
              <a:ext cx="1051224" cy="1356389"/>
            </a:xfrm>
            <a:custGeom>
              <a:avLst/>
              <a:gdLst>
                <a:gd name="connsiteX0" fmla="*/ 623876 w 1051224"/>
                <a:gd name="connsiteY0" fmla="*/ 0 h 1356389"/>
                <a:gd name="connsiteX1" fmla="*/ 739413 w 1051224"/>
                <a:gd name="connsiteY1" fmla="*/ 62711 h 1356389"/>
                <a:gd name="connsiteX2" fmla="*/ 1051224 w 1051224"/>
                <a:gd name="connsiteY2" fmla="*/ 649158 h 1356389"/>
                <a:gd name="connsiteX3" fmla="*/ 343993 w 1051224"/>
                <a:gd name="connsiteY3" fmla="*/ 1356389 h 1356389"/>
                <a:gd name="connsiteX4" fmla="*/ 68707 w 1051224"/>
                <a:gd name="connsiteY4" fmla="*/ 1300812 h 1356389"/>
                <a:gd name="connsiteX5" fmla="*/ 0 w 1051224"/>
                <a:gd name="connsiteY5" fmla="*/ 1263518 h 1356389"/>
                <a:gd name="connsiteX6" fmla="*/ 46310 w 1051224"/>
                <a:gd name="connsiteY6" fmla="*/ 1169727 h 1356389"/>
                <a:gd name="connsiteX7" fmla="*/ 109576 w 1051224"/>
                <a:gd name="connsiteY7" fmla="*/ 1204067 h 1356389"/>
                <a:gd name="connsiteX8" fmla="*/ 343993 w 1051224"/>
                <a:gd name="connsiteY8" fmla="*/ 1251393 h 1356389"/>
                <a:gd name="connsiteX9" fmla="*/ 946228 w 1051224"/>
                <a:gd name="connsiteY9" fmla="*/ 649158 h 1356389"/>
                <a:gd name="connsiteX10" fmla="*/ 578410 w 1051224"/>
                <a:gd name="connsiteY10" fmla="*/ 94250 h 1356389"/>
                <a:gd name="connsiteX11" fmla="*/ 577481 w 1051224"/>
                <a:gd name="connsiteY11" fmla="*/ 93961 h 1356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1224" h="1356389">
                  <a:moveTo>
                    <a:pt x="623876" y="0"/>
                  </a:moveTo>
                  <a:lnTo>
                    <a:pt x="739413" y="62711"/>
                  </a:lnTo>
                  <a:cubicBezTo>
                    <a:pt x="927537" y="189806"/>
                    <a:pt x="1051224" y="405038"/>
                    <a:pt x="1051224" y="649158"/>
                  </a:cubicBezTo>
                  <a:cubicBezTo>
                    <a:pt x="1051224" y="1039751"/>
                    <a:pt x="734586" y="1356389"/>
                    <a:pt x="343993" y="1356389"/>
                  </a:cubicBezTo>
                  <a:cubicBezTo>
                    <a:pt x="246345" y="1356389"/>
                    <a:pt x="153319" y="1336599"/>
                    <a:pt x="68707" y="1300812"/>
                  </a:cubicBezTo>
                  <a:lnTo>
                    <a:pt x="0" y="1263518"/>
                  </a:lnTo>
                  <a:lnTo>
                    <a:pt x="46310" y="1169727"/>
                  </a:lnTo>
                  <a:lnTo>
                    <a:pt x="109576" y="1204067"/>
                  </a:lnTo>
                  <a:cubicBezTo>
                    <a:pt x="181627" y="1234541"/>
                    <a:pt x="260842" y="1251393"/>
                    <a:pt x="343993" y="1251393"/>
                  </a:cubicBezTo>
                  <a:cubicBezTo>
                    <a:pt x="676598" y="1251393"/>
                    <a:pt x="946228" y="981763"/>
                    <a:pt x="946228" y="649158"/>
                  </a:cubicBezTo>
                  <a:cubicBezTo>
                    <a:pt x="946228" y="399705"/>
                    <a:pt x="794561" y="185674"/>
                    <a:pt x="578410" y="94250"/>
                  </a:cubicBezTo>
                  <a:lnTo>
                    <a:pt x="577481" y="93961"/>
                  </a:lnTo>
                  <a:close/>
                </a:path>
              </a:pathLst>
            </a:custGeom>
            <a:solidFill>
              <a:srgbClr val="FFFFFF">
                <a:lumMod val="6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891" indent="-342891"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Wingdings 3" panose="05040102010807070707" pitchFamily="18" charset="2"/>
                <a:buChar char="Æ"/>
                <a:defRPr/>
              </a:pPr>
              <a:endParaRPr lang="en-IN" sz="2000" b="1"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745527A6-9D02-403F-9F39-051CAD35DA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9812" y="4086900"/>
              <a:ext cx="624392" cy="170675"/>
            </a:xfrm>
            <a:custGeom>
              <a:avLst/>
              <a:gdLst>
                <a:gd name="connsiteX0" fmla="*/ 87395 w 624392"/>
                <a:gd name="connsiteY0" fmla="*/ 41 h 170675"/>
                <a:gd name="connsiteX1" fmla="*/ 146987 w 624392"/>
                <a:gd name="connsiteY1" fmla="*/ 25995 h 170675"/>
                <a:gd name="connsiteX2" fmla="*/ 590585 w 624392"/>
                <a:gd name="connsiteY2" fmla="*/ 34373 h 170675"/>
                <a:gd name="connsiteX3" fmla="*/ 624362 w 624392"/>
                <a:gd name="connsiteY3" fmla="*/ 92614 h 170675"/>
                <a:gd name="connsiteX4" fmla="*/ 561973 w 624392"/>
                <a:gd name="connsiteY4" fmla="*/ 151199 h 170675"/>
                <a:gd name="connsiteX5" fmla="*/ 142992 w 624392"/>
                <a:gd name="connsiteY5" fmla="*/ 146765 h 170675"/>
                <a:gd name="connsiteX6" fmla="*/ 22209 w 624392"/>
                <a:gd name="connsiteY6" fmla="*/ 143164 h 170675"/>
                <a:gd name="connsiteX7" fmla="*/ 26205 w 624392"/>
                <a:gd name="connsiteY7" fmla="*/ 22394 h 170675"/>
                <a:gd name="connsiteX8" fmla="*/ 87395 w 624392"/>
                <a:gd name="connsiteY8" fmla="*/ 41 h 170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392" h="170675">
                  <a:moveTo>
                    <a:pt x="87395" y="41"/>
                  </a:moveTo>
                  <a:cubicBezTo>
                    <a:pt x="109539" y="700"/>
                    <a:pt x="131415" y="9412"/>
                    <a:pt x="146987" y="25995"/>
                  </a:cubicBezTo>
                  <a:lnTo>
                    <a:pt x="590585" y="34373"/>
                  </a:lnTo>
                  <a:cubicBezTo>
                    <a:pt x="610032" y="46097"/>
                    <a:pt x="625161" y="68460"/>
                    <a:pt x="624362" y="92614"/>
                  </a:cubicBezTo>
                  <a:cubicBezTo>
                    <a:pt x="623296" y="124820"/>
                    <a:pt x="594181" y="152159"/>
                    <a:pt x="561973" y="151199"/>
                  </a:cubicBezTo>
                  <a:lnTo>
                    <a:pt x="142992" y="146765"/>
                  </a:lnTo>
                  <a:cubicBezTo>
                    <a:pt x="109718" y="178011"/>
                    <a:pt x="57246" y="180476"/>
                    <a:pt x="22209" y="143164"/>
                  </a:cubicBezTo>
                  <a:cubicBezTo>
                    <a:pt x="-8934" y="109999"/>
                    <a:pt x="-7070" y="53639"/>
                    <a:pt x="26205" y="22394"/>
                  </a:cubicBezTo>
                  <a:cubicBezTo>
                    <a:pt x="42841" y="6771"/>
                    <a:pt x="65251" y="-620"/>
                    <a:pt x="87395" y="41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25DE1CB9-1739-45CD-93D4-02418A2D13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86195" y="3695702"/>
              <a:ext cx="290637" cy="267449"/>
            </a:xfrm>
            <a:custGeom>
              <a:avLst/>
              <a:gdLst>
                <a:gd name="connsiteX0" fmla="*/ 290637 w 290637"/>
                <a:gd name="connsiteY0" fmla="*/ 0 h 267449"/>
                <a:gd name="connsiteX1" fmla="*/ 290637 w 290637"/>
                <a:gd name="connsiteY1" fmla="*/ 210967 h 267449"/>
                <a:gd name="connsiteX2" fmla="*/ 258366 w 290637"/>
                <a:gd name="connsiteY2" fmla="*/ 215609 h 267449"/>
                <a:gd name="connsiteX3" fmla="*/ 216275 w 290637"/>
                <a:gd name="connsiteY3" fmla="*/ 228809 h 267449"/>
                <a:gd name="connsiteX4" fmla="*/ 150830 w 290637"/>
                <a:gd name="connsiteY4" fmla="*/ 267449 h 267449"/>
                <a:gd name="connsiteX5" fmla="*/ 17811 w 290637"/>
                <a:gd name="connsiteY5" fmla="*/ 134430 h 267449"/>
                <a:gd name="connsiteX6" fmla="*/ 0 w 290637"/>
                <a:gd name="connsiteY6" fmla="*/ 114611 h 267449"/>
                <a:gd name="connsiteX7" fmla="*/ 213477 w 290637"/>
                <a:gd name="connsiteY7" fmla="*/ 9475 h 267449"/>
                <a:gd name="connsiteX8" fmla="*/ 290637 w 290637"/>
                <a:gd name="connsiteY8" fmla="*/ 0 h 267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0637" h="267449">
                  <a:moveTo>
                    <a:pt x="290637" y="0"/>
                  </a:moveTo>
                  <a:lnTo>
                    <a:pt x="290637" y="210967"/>
                  </a:lnTo>
                  <a:lnTo>
                    <a:pt x="258366" y="215609"/>
                  </a:lnTo>
                  <a:cubicBezTo>
                    <a:pt x="243909" y="218915"/>
                    <a:pt x="229837" y="223357"/>
                    <a:pt x="216275" y="228809"/>
                  </a:cubicBezTo>
                  <a:lnTo>
                    <a:pt x="150830" y="267449"/>
                  </a:lnTo>
                  <a:lnTo>
                    <a:pt x="17811" y="134430"/>
                  </a:lnTo>
                  <a:lnTo>
                    <a:pt x="0" y="114611"/>
                  </a:lnTo>
                  <a:cubicBezTo>
                    <a:pt x="63125" y="63651"/>
                    <a:pt x="135403" y="26346"/>
                    <a:pt x="213477" y="9475"/>
                  </a:cubicBezTo>
                  <a:lnTo>
                    <a:pt x="290637" y="0"/>
                  </a:lnTo>
                  <a:close/>
                </a:path>
              </a:pathLst>
            </a:custGeom>
            <a:solidFill>
              <a:srgbClr val="BBDA7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56B97908-AB1B-43EF-87BB-B770AD6E1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2307" y="3696054"/>
              <a:ext cx="287959" cy="266888"/>
            </a:xfrm>
            <a:custGeom>
              <a:avLst/>
              <a:gdLst>
                <a:gd name="connsiteX0" fmla="*/ 0 w 287959"/>
                <a:gd name="connsiteY0" fmla="*/ 0 h 266888"/>
                <a:gd name="connsiteX1" fmla="*/ 74803 w 287959"/>
                <a:gd name="connsiteY1" fmla="*/ 9477 h 266888"/>
                <a:gd name="connsiteX2" fmla="*/ 223047 w 287959"/>
                <a:gd name="connsiteY2" fmla="*/ 69275 h 266888"/>
                <a:gd name="connsiteX3" fmla="*/ 287959 w 287959"/>
                <a:gd name="connsiteY3" fmla="*/ 114767 h 266888"/>
                <a:gd name="connsiteX4" fmla="*/ 135839 w 287959"/>
                <a:gd name="connsiteY4" fmla="*/ 266888 h 266888"/>
                <a:gd name="connsiteX5" fmla="*/ 70848 w 287959"/>
                <a:gd name="connsiteY5" fmla="*/ 227653 h 266888"/>
                <a:gd name="connsiteX6" fmla="*/ 27150 w 287959"/>
                <a:gd name="connsiteY6" fmla="*/ 212846 h 266888"/>
                <a:gd name="connsiteX7" fmla="*/ 0 w 287959"/>
                <a:gd name="connsiteY7" fmla="*/ 208513 h 266888"/>
                <a:gd name="connsiteX8" fmla="*/ 0 w 287959"/>
                <a:gd name="connsiteY8" fmla="*/ 0 h 266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7959" h="266888">
                  <a:moveTo>
                    <a:pt x="0" y="0"/>
                  </a:moveTo>
                  <a:lnTo>
                    <a:pt x="74803" y="9477"/>
                  </a:lnTo>
                  <a:cubicBezTo>
                    <a:pt x="127104" y="20976"/>
                    <a:pt x="176854" y="41582"/>
                    <a:pt x="223047" y="69275"/>
                  </a:cubicBezTo>
                  <a:lnTo>
                    <a:pt x="287959" y="114767"/>
                  </a:lnTo>
                  <a:lnTo>
                    <a:pt x="135839" y="266888"/>
                  </a:lnTo>
                  <a:lnTo>
                    <a:pt x="70848" y="227653"/>
                  </a:lnTo>
                  <a:cubicBezTo>
                    <a:pt x="56706" y="221621"/>
                    <a:pt x="42056" y="216602"/>
                    <a:pt x="27150" y="212846"/>
                  </a:cubicBezTo>
                  <a:lnTo>
                    <a:pt x="0" y="208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5CA5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1026EDA-83C0-45DB-B12F-167DB2F6FD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2399" y="3857990"/>
              <a:ext cx="269161" cy="277918"/>
            </a:xfrm>
            <a:custGeom>
              <a:avLst/>
              <a:gdLst>
                <a:gd name="connsiteX0" fmla="*/ 116870 w 269161"/>
                <a:gd name="connsiteY0" fmla="*/ 0 h 277918"/>
                <a:gd name="connsiteX1" fmla="*/ 269161 w 269161"/>
                <a:gd name="connsiteY1" fmla="*/ 152291 h 277918"/>
                <a:gd name="connsiteX2" fmla="*/ 230871 w 269161"/>
                <a:gd name="connsiteY2" fmla="*/ 215717 h 277918"/>
                <a:gd name="connsiteX3" fmla="*/ 216064 w 269161"/>
                <a:gd name="connsiteY3" fmla="*/ 259415 h 277918"/>
                <a:gd name="connsiteX4" fmla="*/ 213111 w 269161"/>
                <a:gd name="connsiteY4" fmla="*/ 277918 h 277918"/>
                <a:gd name="connsiteX5" fmla="*/ 0 w 269161"/>
                <a:gd name="connsiteY5" fmla="*/ 277918 h 277918"/>
                <a:gd name="connsiteX6" fmla="*/ 10414 w 269161"/>
                <a:gd name="connsiteY6" fmla="*/ 209482 h 277918"/>
                <a:gd name="connsiteX7" fmla="*/ 70719 w 269161"/>
                <a:gd name="connsiteY7" fmla="*/ 61744 h 277918"/>
                <a:gd name="connsiteX8" fmla="*/ 116870 w 269161"/>
                <a:gd name="connsiteY8" fmla="*/ 0 h 277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9161" h="277918">
                  <a:moveTo>
                    <a:pt x="116870" y="0"/>
                  </a:moveTo>
                  <a:lnTo>
                    <a:pt x="269161" y="152291"/>
                  </a:lnTo>
                  <a:lnTo>
                    <a:pt x="230871" y="215717"/>
                  </a:lnTo>
                  <a:cubicBezTo>
                    <a:pt x="224839" y="229859"/>
                    <a:pt x="219819" y="244509"/>
                    <a:pt x="216064" y="259415"/>
                  </a:cubicBezTo>
                  <a:lnTo>
                    <a:pt x="213111" y="277918"/>
                  </a:lnTo>
                  <a:lnTo>
                    <a:pt x="0" y="277918"/>
                  </a:lnTo>
                  <a:lnTo>
                    <a:pt x="10414" y="209482"/>
                  </a:lnTo>
                  <a:cubicBezTo>
                    <a:pt x="22420" y="157688"/>
                    <a:pt x="42519" y="107430"/>
                    <a:pt x="70719" y="61744"/>
                  </a:cubicBezTo>
                  <a:lnTo>
                    <a:pt x="116870" y="0"/>
                  </a:lnTo>
                  <a:close/>
                </a:path>
              </a:pathLst>
            </a:custGeom>
            <a:solidFill>
              <a:srgbClr val="D2E7A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66A39D9F-8DB6-4504-8214-A5EED0E4B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4046" y="3858113"/>
              <a:ext cx="259956" cy="228787"/>
            </a:xfrm>
            <a:custGeom>
              <a:avLst/>
              <a:gdLst>
                <a:gd name="connsiteX0" fmla="*/ 151525 w 259956"/>
                <a:gd name="connsiteY0" fmla="*/ 0 h 228787"/>
                <a:gd name="connsiteX1" fmla="*/ 187726 w 259956"/>
                <a:gd name="connsiteY1" fmla="*/ 47229 h 228787"/>
                <a:gd name="connsiteX2" fmla="*/ 249063 w 259956"/>
                <a:gd name="connsiteY2" fmla="*/ 177909 h 228787"/>
                <a:gd name="connsiteX3" fmla="*/ 259956 w 259956"/>
                <a:gd name="connsiteY3" fmla="*/ 228787 h 228787"/>
                <a:gd name="connsiteX4" fmla="*/ 41069 w 259956"/>
                <a:gd name="connsiteY4" fmla="*/ 228787 h 228787"/>
                <a:gd name="connsiteX5" fmla="*/ 24304 w 259956"/>
                <a:gd name="connsiteY5" fmla="*/ 188030 h 228787"/>
                <a:gd name="connsiteX6" fmla="*/ 0 w 259956"/>
                <a:gd name="connsiteY6" fmla="*/ 151525 h 228787"/>
                <a:gd name="connsiteX7" fmla="*/ 151525 w 259956"/>
                <a:gd name="connsiteY7" fmla="*/ 0 h 228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9956" h="228787">
                  <a:moveTo>
                    <a:pt x="151525" y="0"/>
                  </a:moveTo>
                  <a:lnTo>
                    <a:pt x="187726" y="47229"/>
                  </a:lnTo>
                  <a:cubicBezTo>
                    <a:pt x="214470" y="87842"/>
                    <a:pt x="235418" y="132240"/>
                    <a:pt x="249063" y="177909"/>
                  </a:cubicBezTo>
                  <a:lnTo>
                    <a:pt x="259956" y="228787"/>
                  </a:lnTo>
                  <a:lnTo>
                    <a:pt x="41069" y="228787"/>
                  </a:lnTo>
                  <a:lnTo>
                    <a:pt x="24304" y="188030"/>
                  </a:lnTo>
                  <a:lnTo>
                    <a:pt x="0" y="151525"/>
                  </a:lnTo>
                  <a:lnTo>
                    <a:pt x="151525" y="0"/>
                  </a:lnTo>
                  <a:close/>
                </a:path>
              </a:pathLst>
            </a:custGeom>
            <a:solidFill>
              <a:srgbClr val="7F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B0217FB6-14ED-4522-8F33-445521ACBDB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5713" y="4217639"/>
              <a:ext cx="277662" cy="286335"/>
            </a:xfrm>
            <a:custGeom>
              <a:avLst/>
              <a:gdLst>
                <a:gd name="connsiteX0" fmla="*/ 0 w 277662"/>
                <a:gd name="connsiteY0" fmla="*/ 0 h 286335"/>
                <a:gd name="connsiteX1" fmla="*/ 211901 w 277662"/>
                <a:gd name="connsiteY1" fmla="*/ 0 h 286335"/>
                <a:gd name="connsiteX2" fmla="*/ 215712 w 277662"/>
                <a:gd name="connsiteY2" fmla="*/ 24896 h 286335"/>
                <a:gd name="connsiteX3" fmla="*/ 277662 w 277662"/>
                <a:gd name="connsiteY3" fmla="*/ 145645 h 286335"/>
                <a:gd name="connsiteX4" fmla="*/ 120833 w 277662"/>
                <a:gd name="connsiteY4" fmla="*/ 286335 h 286335"/>
                <a:gd name="connsiteX5" fmla="*/ 10016 w 277662"/>
                <a:gd name="connsiteY5" fmla="*/ 76009 h 286335"/>
                <a:gd name="connsiteX6" fmla="*/ 0 w 277662"/>
                <a:gd name="connsiteY6" fmla="*/ 0 h 286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7662" h="286335">
                  <a:moveTo>
                    <a:pt x="0" y="0"/>
                  </a:moveTo>
                  <a:lnTo>
                    <a:pt x="211901" y="0"/>
                  </a:lnTo>
                  <a:lnTo>
                    <a:pt x="215712" y="24896"/>
                  </a:lnTo>
                  <a:cubicBezTo>
                    <a:pt x="226173" y="68526"/>
                    <a:pt x="247391" y="109343"/>
                    <a:pt x="277662" y="145645"/>
                  </a:cubicBezTo>
                  <a:cubicBezTo>
                    <a:pt x="277662" y="145645"/>
                    <a:pt x="277662" y="145645"/>
                    <a:pt x="120833" y="286335"/>
                  </a:cubicBezTo>
                  <a:cubicBezTo>
                    <a:pt x="66353" y="225824"/>
                    <a:pt x="27712" y="154013"/>
                    <a:pt x="10016" y="76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1EFC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DA4A4DB6-A96E-48CE-891C-3210261EB065}"/>
                </a:ext>
              </a:extLst>
            </p:cNvPr>
            <p:cNvSpPr/>
            <p:nvPr/>
          </p:nvSpPr>
          <p:spPr bwMode="auto">
            <a:xfrm>
              <a:off x="10519812" y="4168631"/>
              <a:ext cx="624362" cy="88944"/>
            </a:xfrm>
            <a:custGeom>
              <a:avLst/>
              <a:gdLst>
                <a:gd name="connsiteX0" fmla="*/ 123 w 624362"/>
                <a:gd name="connsiteY0" fmla="*/ 0 h 88944"/>
                <a:gd name="connsiteX1" fmla="*/ 621367 w 624362"/>
                <a:gd name="connsiteY1" fmla="*/ 0 h 88944"/>
                <a:gd name="connsiteX2" fmla="*/ 624362 w 624362"/>
                <a:gd name="connsiteY2" fmla="*/ 10883 h 88944"/>
                <a:gd name="connsiteX3" fmla="*/ 561973 w 624362"/>
                <a:gd name="connsiteY3" fmla="*/ 69468 h 88944"/>
                <a:gd name="connsiteX4" fmla="*/ 142992 w 624362"/>
                <a:gd name="connsiteY4" fmla="*/ 65034 h 88944"/>
                <a:gd name="connsiteX5" fmla="*/ 22209 w 624362"/>
                <a:gd name="connsiteY5" fmla="*/ 61433 h 88944"/>
                <a:gd name="connsiteX6" fmla="*/ 50 w 624362"/>
                <a:gd name="connsiteY6" fmla="*/ 328 h 88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362" h="88944">
                  <a:moveTo>
                    <a:pt x="123" y="0"/>
                  </a:moveTo>
                  <a:lnTo>
                    <a:pt x="621367" y="0"/>
                  </a:lnTo>
                  <a:lnTo>
                    <a:pt x="624362" y="10883"/>
                  </a:lnTo>
                  <a:cubicBezTo>
                    <a:pt x="623296" y="43089"/>
                    <a:pt x="594181" y="70428"/>
                    <a:pt x="561973" y="69468"/>
                  </a:cubicBezTo>
                  <a:lnTo>
                    <a:pt x="142992" y="65034"/>
                  </a:lnTo>
                  <a:cubicBezTo>
                    <a:pt x="109718" y="96280"/>
                    <a:pt x="57246" y="98745"/>
                    <a:pt x="22209" y="61433"/>
                  </a:cubicBezTo>
                  <a:cubicBezTo>
                    <a:pt x="6638" y="44851"/>
                    <a:pt x="-682" y="22469"/>
                    <a:pt x="50" y="328"/>
                  </a:cubicBezTo>
                  <a:close/>
                </a:path>
              </a:pathLst>
            </a:custGeom>
            <a:solidFill>
              <a:srgbClr val="D83B0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4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>
                <a:solidFill>
                  <a:schemeClr val="tx1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pic>
        <p:nvPicPr>
          <p:cNvPr id="80" name="Graphic 79" descr="Checkmark">
            <a:extLst>
              <a:ext uri="{FF2B5EF4-FFF2-40B4-BE49-F238E27FC236}">
                <a16:creationId xmlns:a16="http://schemas.microsoft.com/office/drawing/2014/main" id="{FC5957CE-B797-4B2F-86B7-68F137AC5B9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61729" y="6031261"/>
            <a:ext cx="587425" cy="587425"/>
          </a:xfrm>
          <a:prstGeom prst="rect">
            <a:avLst/>
          </a:prstGeom>
        </p:spPr>
      </p:pic>
      <p:pic>
        <p:nvPicPr>
          <p:cNvPr id="81" name="Graphic 80" descr="Checkmark">
            <a:extLst>
              <a:ext uri="{FF2B5EF4-FFF2-40B4-BE49-F238E27FC236}">
                <a16:creationId xmlns:a16="http://schemas.microsoft.com/office/drawing/2014/main" id="{B939106D-C7FD-484C-B177-CD6198FB502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511493" y="6031261"/>
            <a:ext cx="587425" cy="587425"/>
          </a:xfrm>
          <a:prstGeom prst="rect">
            <a:avLst/>
          </a:prstGeom>
        </p:spPr>
      </p:pic>
      <p:pic>
        <p:nvPicPr>
          <p:cNvPr id="101" name="Graphic 100" descr="Checkmark">
            <a:extLst>
              <a:ext uri="{FF2B5EF4-FFF2-40B4-BE49-F238E27FC236}">
                <a16:creationId xmlns:a16="http://schemas.microsoft.com/office/drawing/2014/main" id="{AB42FAB0-77B0-46A0-A97A-C1AC5827FC2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210189" y="6031261"/>
            <a:ext cx="587425" cy="587425"/>
          </a:xfrm>
          <a:prstGeom prst="rect">
            <a:avLst/>
          </a:prstGeom>
        </p:spPr>
      </p:pic>
      <p:pic>
        <p:nvPicPr>
          <p:cNvPr id="102" name="Graphic 101" descr="Checkmark">
            <a:extLst>
              <a:ext uri="{FF2B5EF4-FFF2-40B4-BE49-F238E27FC236}">
                <a16:creationId xmlns:a16="http://schemas.microsoft.com/office/drawing/2014/main" id="{3A22FF21-1060-4A8F-9B18-A25046CEFCB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213472" y="6031261"/>
            <a:ext cx="587425" cy="587425"/>
          </a:xfrm>
          <a:prstGeom prst="rect">
            <a:avLst/>
          </a:prstGeom>
        </p:spPr>
      </p:pic>
      <p:pic>
        <p:nvPicPr>
          <p:cNvPr id="5122" name="Picture 2" descr="Great Job GIF">
            <a:extLst>
              <a:ext uri="{FF2B5EF4-FFF2-40B4-BE49-F238E27FC236}">
                <a16:creationId xmlns:a16="http://schemas.microsoft.com/office/drawing/2014/main" id="{58A95C24-FE91-44CB-9930-9E8BBEDA614D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5427" y="3815348"/>
            <a:ext cx="4064000" cy="30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5736874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1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-US" sz="5400" dirty="0" err="1"/>
              <a:t>MLOps</a:t>
            </a:r>
            <a:r>
              <a:rPr lang="en-US" sz="5400" dirty="0"/>
              <a:t> on Azure</a:t>
            </a:r>
            <a:endParaRPr sz="5400" dirty="0"/>
          </a:p>
        </p:txBody>
      </p:sp>
    </p:spTree>
    <p:extLst>
      <p:ext uri="{BB962C8B-B14F-4D97-AF65-F5344CB8AC3E}">
        <p14:creationId xmlns:p14="http://schemas.microsoft.com/office/powerpoint/2010/main" val="10489055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28D9A12-71BC-4CBB-A872-E706804636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pc="-98" dirty="0"/>
              <a:t>Azure Services Supporting </a:t>
            </a:r>
            <a:r>
              <a:rPr lang="en-US" spc="-98" dirty="0" err="1"/>
              <a:t>MLOps</a:t>
            </a:r>
            <a:endParaRPr lang="en-US" spc="-98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886026-BC46-40CF-ACF8-38590E5071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7037" y="1221240"/>
            <a:ext cx="11335425" cy="276999"/>
          </a:xfrm>
        </p:spPr>
        <p:txBody>
          <a:bodyPr/>
          <a:lstStyle/>
          <a:p>
            <a:pPr marL="0" indent="0">
              <a:buNone/>
            </a:pPr>
            <a:r>
              <a:rPr lang="en-US" sz="1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Fast, easy to use, well-controlled </a:t>
            </a:r>
            <a:r>
              <a:rPr lang="en-US" sz="18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LOps</a:t>
            </a:r>
            <a:r>
              <a:rPr lang="en-US" sz="1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lifecycle</a:t>
            </a:r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11721A64-EB58-4A51-A01B-9C5254D63741}"/>
              </a:ext>
            </a:extLst>
          </p:cNvPr>
          <p:cNvSpPr txBox="1">
            <a:spLocks/>
          </p:cNvSpPr>
          <p:nvPr/>
        </p:nvSpPr>
        <p:spPr>
          <a:xfrm>
            <a:off x="426424" y="2891094"/>
            <a:ext cx="3630521" cy="260212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b="1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n-US" sz="1372">
                <a:solidFill>
                  <a:srgbClr val="0078D7"/>
                </a:solidFill>
              </a:rPr>
              <a:t>Infrastructure as Code</a:t>
            </a:r>
            <a:endParaRPr lang="en-US" sz="1372">
              <a:solidFill>
                <a:srgbClr val="0078D7"/>
              </a:solidFill>
              <a:latin typeface="Segoe UI"/>
            </a:endParaRPr>
          </a:p>
          <a:p>
            <a:pPr algn="ctr" defTabSz="914367">
              <a:spcAft>
                <a:spcPts val="686"/>
              </a:spcAft>
              <a:defRPr/>
            </a:pPr>
            <a:endParaRPr lang="en-US" sz="1372">
              <a:solidFill>
                <a:srgbClr val="0078D7"/>
              </a:solidFill>
              <a:latin typeface="Segoe UI"/>
            </a:endParaRP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F1C35E32-940D-40CE-8C2E-BBC71307A151}"/>
              </a:ext>
            </a:extLst>
          </p:cNvPr>
          <p:cNvSpPr txBox="1">
            <a:spLocks/>
          </p:cNvSpPr>
          <p:nvPr/>
        </p:nvSpPr>
        <p:spPr>
          <a:xfrm>
            <a:off x="4281360" y="2891094"/>
            <a:ext cx="3623050" cy="370300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b="1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n-US" sz="1372">
                <a:solidFill>
                  <a:srgbClr val="0078D7"/>
                </a:solidFill>
              </a:rPr>
              <a:t>CI/CD</a:t>
            </a:r>
            <a:endParaRPr lang="en-US" sz="1372">
              <a:solidFill>
                <a:srgbClr val="0078D7"/>
              </a:solidFill>
              <a:latin typeface="Segoe UI"/>
            </a:endParaRPr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29EC3879-3609-4EAE-B6CC-7B2845183069}"/>
              </a:ext>
            </a:extLst>
          </p:cNvPr>
          <p:cNvSpPr txBox="1">
            <a:spLocks/>
          </p:cNvSpPr>
          <p:nvPr/>
        </p:nvSpPr>
        <p:spPr>
          <a:xfrm>
            <a:off x="8124751" y="2891094"/>
            <a:ext cx="3630521" cy="21114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b="1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n-US" sz="1372">
                <a:solidFill>
                  <a:srgbClr val="0078D7"/>
                </a:solidFill>
              </a:rPr>
              <a:t>Testing / Release / Monitoring</a:t>
            </a:r>
            <a:endParaRPr lang="en-US" sz="1372">
              <a:solidFill>
                <a:srgbClr val="0078D7"/>
              </a:solidFill>
              <a:latin typeface="Segoe UI"/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4C140035-1896-4524-A80C-179F5BF53BF8}"/>
              </a:ext>
            </a:extLst>
          </p:cNvPr>
          <p:cNvCxnSpPr>
            <a:cxnSpLocks/>
          </p:cNvCxnSpPr>
          <p:nvPr/>
        </p:nvCxnSpPr>
        <p:spPr>
          <a:xfrm flipV="1">
            <a:off x="535373" y="3251613"/>
            <a:ext cx="3473647" cy="0"/>
          </a:xfrm>
          <a:prstGeom prst="line">
            <a:avLst/>
          </a:prstGeom>
          <a:noFill/>
          <a:ln w="12700" cap="flat" cmpd="sng" algn="ctr">
            <a:solidFill>
              <a:srgbClr val="4DB0FF"/>
            </a:solidFill>
            <a:prstDash val="solid"/>
            <a:miter lim="800000"/>
          </a:ln>
          <a:effectLst/>
        </p:spPr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DB22F80D-2854-47E7-88C4-21E39D7362DD}"/>
              </a:ext>
            </a:extLst>
          </p:cNvPr>
          <p:cNvCxnSpPr>
            <a:cxnSpLocks/>
          </p:cNvCxnSpPr>
          <p:nvPr/>
        </p:nvCxnSpPr>
        <p:spPr>
          <a:xfrm flipV="1">
            <a:off x="4356061" y="3251613"/>
            <a:ext cx="3473647" cy="0"/>
          </a:xfrm>
          <a:prstGeom prst="line">
            <a:avLst/>
          </a:prstGeom>
          <a:noFill/>
          <a:ln w="12700" cap="flat" cmpd="sng" algn="ctr">
            <a:solidFill>
              <a:srgbClr val="4DB0FF"/>
            </a:solidFill>
            <a:prstDash val="solid"/>
            <a:miter lim="800000"/>
          </a:ln>
          <a:effectLst/>
        </p:spPr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C2E6A6CA-F0B5-4311-8F06-EAC2AA557A85}"/>
              </a:ext>
            </a:extLst>
          </p:cNvPr>
          <p:cNvCxnSpPr>
            <a:cxnSpLocks/>
          </p:cNvCxnSpPr>
          <p:nvPr/>
        </p:nvCxnSpPr>
        <p:spPr>
          <a:xfrm>
            <a:off x="8124751" y="3251613"/>
            <a:ext cx="3449238" cy="0"/>
          </a:xfrm>
          <a:prstGeom prst="line">
            <a:avLst/>
          </a:prstGeom>
          <a:noFill/>
          <a:ln w="12700" cap="flat" cmpd="sng" algn="ctr">
            <a:solidFill>
              <a:srgbClr val="4DB0FF"/>
            </a:solidFill>
            <a:prstDash val="solid"/>
            <a:miter lim="800000"/>
          </a:ln>
          <a:effectLst/>
        </p:spPr>
      </p:cxnSp>
      <p:grpSp>
        <p:nvGrpSpPr>
          <p:cNvPr id="41" name="Group 40">
            <a:extLst>
              <a:ext uri="{FF2B5EF4-FFF2-40B4-BE49-F238E27FC236}">
                <a16:creationId xmlns:a16="http://schemas.microsoft.com/office/drawing/2014/main" id="{87714D26-1F3E-4635-B8BE-8ECD796C0AD1}"/>
              </a:ext>
            </a:extLst>
          </p:cNvPr>
          <p:cNvGrpSpPr/>
          <p:nvPr/>
        </p:nvGrpSpPr>
        <p:grpSpPr>
          <a:xfrm>
            <a:off x="1868851" y="2138165"/>
            <a:ext cx="745666" cy="606176"/>
            <a:chOff x="1228673" y="2642918"/>
            <a:chExt cx="985201" cy="800902"/>
          </a:xfrm>
          <a:solidFill>
            <a:schemeClr val="bg1"/>
          </a:solidFill>
        </p:grpSpPr>
        <p:sp>
          <p:nvSpPr>
            <p:cNvPr id="42" name="browser_3">
              <a:extLst>
                <a:ext uri="{FF2B5EF4-FFF2-40B4-BE49-F238E27FC236}">
                  <a16:creationId xmlns:a16="http://schemas.microsoft.com/office/drawing/2014/main" id="{4B6189EB-2AFA-4DA3-8A06-0569D7C9473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228673" y="2642918"/>
              <a:ext cx="770794" cy="733164"/>
            </a:xfrm>
            <a:custGeom>
              <a:avLst/>
              <a:gdLst>
                <a:gd name="T0" fmla="*/ 130 w 335"/>
                <a:gd name="T1" fmla="*/ 33 h 318"/>
                <a:gd name="T2" fmla="*/ 335 w 335"/>
                <a:gd name="T3" fmla="*/ 33 h 318"/>
                <a:gd name="T4" fmla="*/ 335 w 335"/>
                <a:gd name="T5" fmla="*/ 318 h 318"/>
                <a:gd name="T6" fmla="*/ 0 w 335"/>
                <a:gd name="T7" fmla="*/ 318 h 318"/>
                <a:gd name="T8" fmla="*/ 0 w 335"/>
                <a:gd name="T9" fmla="*/ 33 h 318"/>
                <a:gd name="T10" fmla="*/ 0 w 335"/>
                <a:gd name="T11" fmla="*/ 33 h 318"/>
                <a:gd name="T12" fmla="*/ 71 w 335"/>
                <a:gd name="T13" fmla="*/ 33 h 318"/>
                <a:gd name="T14" fmla="*/ 130 w 335"/>
                <a:gd name="T15" fmla="*/ 97 h 318"/>
                <a:gd name="T16" fmla="*/ 335 w 335"/>
                <a:gd name="T17" fmla="*/ 97 h 318"/>
                <a:gd name="T18" fmla="*/ 0 w 335"/>
                <a:gd name="T19" fmla="*/ 97 h 318"/>
                <a:gd name="T20" fmla="*/ 67 w 335"/>
                <a:gd name="T21" fmla="*/ 97 h 318"/>
                <a:gd name="T22" fmla="*/ 293 w 335"/>
                <a:gd name="T23" fmla="*/ 69 h 318"/>
                <a:gd name="T24" fmla="*/ 298 w 335"/>
                <a:gd name="T25" fmla="*/ 64 h 318"/>
                <a:gd name="T26" fmla="*/ 293 w 335"/>
                <a:gd name="T27" fmla="*/ 60 h 318"/>
                <a:gd name="T28" fmla="*/ 289 w 335"/>
                <a:gd name="T29" fmla="*/ 64 h 318"/>
                <a:gd name="T30" fmla="*/ 293 w 335"/>
                <a:gd name="T31" fmla="*/ 69 h 318"/>
                <a:gd name="T32" fmla="*/ 240 w 335"/>
                <a:gd name="T33" fmla="*/ 69 h 318"/>
                <a:gd name="T34" fmla="*/ 245 w 335"/>
                <a:gd name="T35" fmla="*/ 64 h 318"/>
                <a:gd name="T36" fmla="*/ 240 w 335"/>
                <a:gd name="T37" fmla="*/ 60 h 318"/>
                <a:gd name="T38" fmla="*/ 235 w 335"/>
                <a:gd name="T39" fmla="*/ 64 h 318"/>
                <a:gd name="T40" fmla="*/ 240 w 335"/>
                <a:gd name="T41" fmla="*/ 69 h 318"/>
                <a:gd name="T42" fmla="*/ 187 w 335"/>
                <a:gd name="T43" fmla="*/ 69 h 318"/>
                <a:gd name="T44" fmla="*/ 192 w 335"/>
                <a:gd name="T45" fmla="*/ 64 h 318"/>
                <a:gd name="T46" fmla="*/ 187 w 335"/>
                <a:gd name="T47" fmla="*/ 60 h 318"/>
                <a:gd name="T48" fmla="*/ 182 w 335"/>
                <a:gd name="T49" fmla="*/ 64 h 318"/>
                <a:gd name="T50" fmla="*/ 187 w 335"/>
                <a:gd name="T51" fmla="*/ 69 h 318"/>
                <a:gd name="T52" fmla="*/ 49 w 335"/>
                <a:gd name="T53" fmla="*/ 190 h 318"/>
                <a:gd name="T54" fmla="*/ 100 w 335"/>
                <a:gd name="T55" fmla="*/ 240 h 318"/>
                <a:gd name="T56" fmla="*/ 151 w 335"/>
                <a:gd name="T57" fmla="*/ 190 h 318"/>
                <a:gd name="T58" fmla="*/ 100 w 335"/>
                <a:gd name="T59" fmla="*/ 0 h 318"/>
                <a:gd name="T60" fmla="*/ 100 w 335"/>
                <a:gd name="T61" fmla="*/ 24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35" h="318">
                  <a:moveTo>
                    <a:pt x="130" y="33"/>
                  </a:moveTo>
                  <a:cubicBezTo>
                    <a:pt x="335" y="33"/>
                    <a:pt x="335" y="33"/>
                    <a:pt x="335" y="33"/>
                  </a:cubicBezTo>
                  <a:cubicBezTo>
                    <a:pt x="335" y="318"/>
                    <a:pt x="335" y="318"/>
                    <a:pt x="335" y="318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71" y="33"/>
                    <a:pt x="71" y="33"/>
                    <a:pt x="71" y="33"/>
                  </a:cubicBezTo>
                  <a:moveTo>
                    <a:pt x="130" y="97"/>
                  </a:moveTo>
                  <a:cubicBezTo>
                    <a:pt x="335" y="97"/>
                    <a:pt x="335" y="97"/>
                    <a:pt x="335" y="97"/>
                  </a:cubicBezTo>
                  <a:moveTo>
                    <a:pt x="0" y="97"/>
                  </a:moveTo>
                  <a:cubicBezTo>
                    <a:pt x="67" y="97"/>
                    <a:pt x="67" y="97"/>
                    <a:pt x="67" y="97"/>
                  </a:cubicBezTo>
                  <a:moveTo>
                    <a:pt x="293" y="69"/>
                  </a:moveTo>
                  <a:cubicBezTo>
                    <a:pt x="296" y="69"/>
                    <a:pt x="298" y="67"/>
                    <a:pt x="298" y="64"/>
                  </a:cubicBezTo>
                  <a:cubicBezTo>
                    <a:pt x="298" y="62"/>
                    <a:pt x="296" y="60"/>
                    <a:pt x="293" y="60"/>
                  </a:cubicBezTo>
                  <a:cubicBezTo>
                    <a:pt x="291" y="60"/>
                    <a:pt x="289" y="62"/>
                    <a:pt x="289" y="64"/>
                  </a:cubicBezTo>
                  <a:cubicBezTo>
                    <a:pt x="289" y="67"/>
                    <a:pt x="291" y="69"/>
                    <a:pt x="293" y="69"/>
                  </a:cubicBezTo>
                  <a:close/>
                  <a:moveTo>
                    <a:pt x="240" y="69"/>
                  </a:moveTo>
                  <a:cubicBezTo>
                    <a:pt x="243" y="69"/>
                    <a:pt x="245" y="67"/>
                    <a:pt x="245" y="64"/>
                  </a:cubicBezTo>
                  <a:cubicBezTo>
                    <a:pt x="245" y="62"/>
                    <a:pt x="243" y="60"/>
                    <a:pt x="240" y="60"/>
                  </a:cubicBezTo>
                  <a:cubicBezTo>
                    <a:pt x="238" y="60"/>
                    <a:pt x="235" y="62"/>
                    <a:pt x="235" y="64"/>
                  </a:cubicBezTo>
                  <a:cubicBezTo>
                    <a:pt x="235" y="67"/>
                    <a:pt x="238" y="69"/>
                    <a:pt x="240" y="69"/>
                  </a:cubicBezTo>
                  <a:close/>
                  <a:moveTo>
                    <a:pt x="187" y="69"/>
                  </a:moveTo>
                  <a:cubicBezTo>
                    <a:pt x="189" y="69"/>
                    <a:pt x="192" y="67"/>
                    <a:pt x="192" y="64"/>
                  </a:cubicBezTo>
                  <a:cubicBezTo>
                    <a:pt x="192" y="62"/>
                    <a:pt x="189" y="60"/>
                    <a:pt x="187" y="60"/>
                  </a:cubicBezTo>
                  <a:cubicBezTo>
                    <a:pt x="184" y="60"/>
                    <a:pt x="182" y="62"/>
                    <a:pt x="182" y="64"/>
                  </a:cubicBezTo>
                  <a:cubicBezTo>
                    <a:pt x="182" y="67"/>
                    <a:pt x="184" y="69"/>
                    <a:pt x="187" y="69"/>
                  </a:cubicBezTo>
                  <a:close/>
                  <a:moveTo>
                    <a:pt x="49" y="190"/>
                  </a:moveTo>
                  <a:cubicBezTo>
                    <a:pt x="100" y="240"/>
                    <a:pt x="100" y="240"/>
                    <a:pt x="100" y="240"/>
                  </a:cubicBezTo>
                  <a:cubicBezTo>
                    <a:pt x="151" y="190"/>
                    <a:pt x="151" y="190"/>
                    <a:pt x="151" y="190"/>
                  </a:cubicBezTo>
                  <a:moveTo>
                    <a:pt x="100" y="0"/>
                  </a:moveTo>
                  <a:cubicBezTo>
                    <a:pt x="100" y="240"/>
                    <a:pt x="100" y="240"/>
                    <a:pt x="100" y="240"/>
                  </a:cubicBezTo>
                </a:path>
              </a:pathLst>
            </a:custGeom>
            <a:grp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43" name="History_E81C">
              <a:extLst>
                <a:ext uri="{FF2B5EF4-FFF2-40B4-BE49-F238E27FC236}">
                  <a16:creationId xmlns:a16="http://schemas.microsoft.com/office/drawing/2014/main" id="{23A1257E-CC1F-4630-B834-C2665E15E1F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820682" y="3050532"/>
              <a:ext cx="393192" cy="393288"/>
            </a:xfrm>
            <a:custGeom>
              <a:avLst/>
              <a:gdLst>
                <a:gd name="T0" fmla="*/ 2500 w 3750"/>
                <a:gd name="T1" fmla="*/ 2750 h 3750"/>
                <a:gd name="T2" fmla="*/ 1750 w 3750"/>
                <a:gd name="T3" fmla="*/ 2000 h 3750"/>
                <a:gd name="T4" fmla="*/ 1750 w 3750"/>
                <a:gd name="T5" fmla="*/ 875 h 3750"/>
                <a:gd name="T6" fmla="*/ 0 w 3750"/>
                <a:gd name="T7" fmla="*/ 375 h 3750"/>
                <a:gd name="T8" fmla="*/ 0 w 3750"/>
                <a:gd name="T9" fmla="*/ 1250 h 3750"/>
                <a:gd name="T10" fmla="*/ 875 w 3750"/>
                <a:gd name="T11" fmla="*/ 1250 h 3750"/>
                <a:gd name="T12" fmla="*/ 69 w 3750"/>
                <a:gd name="T13" fmla="*/ 2375 h 3750"/>
                <a:gd name="T14" fmla="*/ 1875 w 3750"/>
                <a:gd name="T15" fmla="*/ 3750 h 3750"/>
                <a:gd name="T16" fmla="*/ 3750 w 3750"/>
                <a:gd name="T17" fmla="*/ 1875 h 3750"/>
                <a:gd name="T18" fmla="*/ 1875 w 3750"/>
                <a:gd name="T19" fmla="*/ 0 h 3750"/>
                <a:gd name="T20" fmla="*/ 109 w 3750"/>
                <a:gd name="T21" fmla="*/ 1250 h 3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50" h="3750">
                  <a:moveTo>
                    <a:pt x="2500" y="2750"/>
                  </a:moveTo>
                  <a:cubicBezTo>
                    <a:pt x="1750" y="2000"/>
                    <a:pt x="1750" y="2000"/>
                    <a:pt x="1750" y="2000"/>
                  </a:cubicBezTo>
                  <a:cubicBezTo>
                    <a:pt x="1750" y="875"/>
                    <a:pt x="1750" y="875"/>
                    <a:pt x="1750" y="875"/>
                  </a:cubicBezTo>
                  <a:moveTo>
                    <a:pt x="0" y="375"/>
                  </a:moveTo>
                  <a:cubicBezTo>
                    <a:pt x="0" y="1250"/>
                    <a:pt x="0" y="1250"/>
                    <a:pt x="0" y="1250"/>
                  </a:cubicBezTo>
                  <a:cubicBezTo>
                    <a:pt x="875" y="1250"/>
                    <a:pt x="875" y="1250"/>
                    <a:pt x="875" y="1250"/>
                  </a:cubicBezTo>
                  <a:moveTo>
                    <a:pt x="69" y="2375"/>
                  </a:moveTo>
                  <a:cubicBezTo>
                    <a:pt x="289" y="3167"/>
                    <a:pt x="1013" y="3750"/>
                    <a:pt x="1875" y="3750"/>
                  </a:cubicBezTo>
                  <a:cubicBezTo>
                    <a:pt x="2911" y="3750"/>
                    <a:pt x="3750" y="2911"/>
                    <a:pt x="3750" y="1875"/>
                  </a:cubicBezTo>
                  <a:cubicBezTo>
                    <a:pt x="3750" y="839"/>
                    <a:pt x="2911" y="0"/>
                    <a:pt x="1875" y="0"/>
                  </a:cubicBezTo>
                  <a:cubicBezTo>
                    <a:pt x="1059" y="0"/>
                    <a:pt x="367" y="522"/>
                    <a:pt x="109" y="1250"/>
                  </a:cubicBezTo>
                </a:path>
              </a:pathLst>
            </a:custGeom>
            <a:grpFill/>
            <a:ln w="19050" cap="sq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</p:grpSp>
      <p:sp>
        <p:nvSpPr>
          <p:cNvPr id="45" name="binary">
            <a:extLst>
              <a:ext uri="{FF2B5EF4-FFF2-40B4-BE49-F238E27FC236}">
                <a16:creationId xmlns:a16="http://schemas.microsoft.com/office/drawing/2014/main" id="{8BD7D297-992D-4C6C-8658-96ECC54DDF7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820669" y="2159964"/>
            <a:ext cx="600561" cy="518583"/>
          </a:xfrm>
          <a:custGeom>
            <a:avLst/>
            <a:gdLst>
              <a:gd name="T0" fmla="*/ 0 w 245"/>
              <a:gd name="T1" fmla="*/ 48 h 212"/>
              <a:gd name="T2" fmla="*/ 92 w 245"/>
              <a:gd name="T3" fmla="*/ 48 h 212"/>
              <a:gd name="T4" fmla="*/ 183 w 245"/>
              <a:gd name="T5" fmla="*/ 48 h 212"/>
              <a:gd name="T6" fmla="*/ 62 w 245"/>
              <a:gd name="T7" fmla="*/ 15 h 212"/>
              <a:gd name="T8" fmla="*/ 46 w 245"/>
              <a:gd name="T9" fmla="*/ 0 h 212"/>
              <a:gd name="T10" fmla="*/ 30 w 245"/>
              <a:gd name="T11" fmla="*/ 33 h 212"/>
              <a:gd name="T12" fmla="*/ 46 w 245"/>
              <a:gd name="T13" fmla="*/ 49 h 212"/>
              <a:gd name="T14" fmla="*/ 153 w 245"/>
              <a:gd name="T15" fmla="*/ 33 h 212"/>
              <a:gd name="T16" fmla="*/ 137 w 245"/>
              <a:gd name="T17" fmla="*/ 0 h 212"/>
              <a:gd name="T18" fmla="*/ 122 w 245"/>
              <a:gd name="T19" fmla="*/ 15 h 212"/>
              <a:gd name="T20" fmla="*/ 137 w 245"/>
              <a:gd name="T21" fmla="*/ 49 h 212"/>
              <a:gd name="T22" fmla="*/ 153 w 245"/>
              <a:gd name="T23" fmla="*/ 33 h 212"/>
              <a:gd name="T24" fmla="*/ 245 w 245"/>
              <a:gd name="T25" fmla="*/ 15 h 212"/>
              <a:gd name="T26" fmla="*/ 229 w 245"/>
              <a:gd name="T27" fmla="*/ 0 h 212"/>
              <a:gd name="T28" fmla="*/ 213 w 245"/>
              <a:gd name="T29" fmla="*/ 33 h 212"/>
              <a:gd name="T30" fmla="*/ 229 w 245"/>
              <a:gd name="T31" fmla="*/ 49 h 212"/>
              <a:gd name="T32" fmla="*/ 0 w 245"/>
              <a:gd name="T33" fmla="*/ 163 h 212"/>
              <a:gd name="T34" fmla="*/ 92 w 245"/>
              <a:gd name="T35" fmla="*/ 163 h 212"/>
              <a:gd name="T36" fmla="*/ 183 w 245"/>
              <a:gd name="T37" fmla="*/ 163 h 212"/>
              <a:gd name="T38" fmla="*/ 62 w 245"/>
              <a:gd name="T39" fmla="*/ 196 h 212"/>
              <a:gd name="T40" fmla="*/ 46 w 245"/>
              <a:gd name="T41" fmla="*/ 163 h 212"/>
              <a:gd name="T42" fmla="*/ 30 w 245"/>
              <a:gd name="T43" fmla="*/ 179 h 212"/>
              <a:gd name="T44" fmla="*/ 46 w 245"/>
              <a:gd name="T45" fmla="*/ 212 h 212"/>
              <a:gd name="T46" fmla="*/ 62 w 245"/>
              <a:gd name="T47" fmla="*/ 196 h 212"/>
              <a:gd name="T48" fmla="*/ 153 w 245"/>
              <a:gd name="T49" fmla="*/ 179 h 212"/>
              <a:gd name="T50" fmla="*/ 137 w 245"/>
              <a:gd name="T51" fmla="*/ 163 h 212"/>
              <a:gd name="T52" fmla="*/ 122 w 245"/>
              <a:gd name="T53" fmla="*/ 196 h 212"/>
              <a:gd name="T54" fmla="*/ 137 w 245"/>
              <a:gd name="T55" fmla="*/ 212 h 212"/>
              <a:gd name="T56" fmla="*/ 245 w 245"/>
              <a:gd name="T57" fmla="*/ 196 h 212"/>
              <a:gd name="T58" fmla="*/ 229 w 245"/>
              <a:gd name="T59" fmla="*/ 163 h 212"/>
              <a:gd name="T60" fmla="*/ 213 w 245"/>
              <a:gd name="T61" fmla="*/ 179 h 212"/>
              <a:gd name="T62" fmla="*/ 229 w 245"/>
              <a:gd name="T63" fmla="*/ 212 h 212"/>
              <a:gd name="T64" fmla="*/ 245 w 245"/>
              <a:gd name="T65" fmla="*/ 196 h 212"/>
              <a:gd name="T66" fmla="*/ 62 w 245"/>
              <a:gd name="T67" fmla="*/ 131 h 212"/>
              <a:gd name="T68" fmla="*/ 153 w 245"/>
              <a:gd name="T69" fmla="*/ 131 h 212"/>
              <a:gd name="T70" fmla="*/ 32 w 245"/>
              <a:gd name="T71" fmla="*/ 98 h 212"/>
              <a:gd name="T72" fmla="*/ 16 w 245"/>
              <a:gd name="T73" fmla="*/ 83 h 212"/>
              <a:gd name="T74" fmla="*/ 0 w 245"/>
              <a:gd name="T75" fmla="*/ 116 h 212"/>
              <a:gd name="T76" fmla="*/ 16 w 245"/>
              <a:gd name="T77" fmla="*/ 132 h 212"/>
              <a:gd name="T78" fmla="*/ 123 w 245"/>
              <a:gd name="T79" fmla="*/ 116 h 212"/>
              <a:gd name="T80" fmla="*/ 107 w 245"/>
              <a:gd name="T81" fmla="*/ 83 h 212"/>
              <a:gd name="T82" fmla="*/ 92 w 245"/>
              <a:gd name="T83" fmla="*/ 98 h 212"/>
              <a:gd name="T84" fmla="*/ 107 w 245"/>
              <a:gd name="T85" fmla="*/ 132 h 212"/>
              <a:gd name="T86" fmla="*/ 123 w 245"/>
              <a:gd name="T87" fmla="*/ 116 h 212"/>
              <a:gd name="T88" fmla="*/ 215 w 245"/>
              <a:gd name="T89" fmla="*/ 98 h 212"/>
              <a:gd name="T90" fmla="*/ 199 w 245"/>
              <a:gd name="T91" fmla="*/ 83 h 212"/>
              <a:gd name="T92" fmla="*/ 183 w 245"/>
              <a:gd name="T93" fmla="*/ 116 h 212"/>
              <a:gd name="T94" fmla="*/ 199 w 245"/>
              <a:gd name="T95" fmla="*/ 132 h 212"/>
              <a:gd name="T96" fmla="*/ 245 w 245"/>
              <a:gd name="T97" fmla="*/ 83 h 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45" h="212">
                <a:moveTo>
                  <a:pt x="0" y="0"/>
                </a:moveTo>
                <a:cubicBezTo>
                  <a:pt x="0" y="48"/>
                  <a:pt x="0" y="48"/>
                  <a:pt x="0" y="48"/>
                </a:cubicBezTo>
                <a:moveTo>
                  <a:pt x="92" y="0"/>
                </a:moveTo>
                <a:cubicBezTo>
                  <a:pt x="92" y="48"/>
                  <a:pt x="92" y="48"/>
                  <a:pt x="92" y="48"/>
                </a:cubicBezTo>
                <a:moveTo>
                  <a:pt x="183" y="0"/>
                </a:moveTo>
                <a:cubicBezTo>
                  <a:pt x="183" y="48"/>
                  <a:pt x="183" y="48"/>
                  <a:pt x="183" y="48"/>
                </a:cubicBezTo>
                <a:moveTo>
                  <a:pt x="62" y="33"/>
                </a:moveTo>
                <a:cubicBezTo>
                  <a:pt x="62" y="15"/>
                  <a:pt x="62" y="15"/>
                  <a:pt x="62" y="15"/>
                </a:cubicBezTo>
                <a:cubicBezTo>
                  <a:pt x="62" y="7"/>
                  <a:pt x="55" y="0"/>
                  <a:pt x="46" y="0"/>
                </a:cubicBezTo>
                <a:cubicBezTo>
                  <a:pt x="46" y="0"/>
                  <a:pt x="46" y="0"/>
                  <a:pt x="46" y="0"/>
                </a:cubicBezTo>
                <a:cubicBezTo>
                  <a:pt x="37" y="0"/>
                  <a:pt x="30" y="7"/>
                  <a:pt x="30" y="15"/>
                </a:cubicBezTo>
                <a:cubicBezTo>
                  <a:pt x="30" y="33"/>
                  <a:pt x="30" y="33"/>
                  <a:pt x="30" y="33"/>
                </a:cubicBezTo>
                <a:cubicBezTo>
                  <a:pt x="30" y="41"/>
                  <a:pt x="37" y="49"/>
                  <a:pt x="46" y="49"/>
                </a:cubicBezTo>
                <a:cubicBezTo>
                  <a:pt x="46" y="49"/>
                  <a:pt x="46" y="49"/>
                  <a:pt x="46" y="49"/>
                </a:cubicBezTo>
                <a:cubicBezTo>
                  <a:pt x="55" y="49"/>
                  <a:pt x="62" y="41"/>
                  <a:pt x="62" y="33"/>
                </a:cubicBezTo>
                <a:close/>
                <a:moveTo>
                  <a:pt x="153" y="33"/>
                </a:moveTo>
                <a:cubicBezTo>
                  <a:pt x="153" y="15"/>
                  <a:pt x="153" y="15"/>
                  <a:pt x="153" y="15"/>
                </a:cubicBezTo>
                <a:cubicBezTo>
                  <a:pt x="153" y="7"/>
                  <a:pt x="146" y="0"/>
                  <a:pt x="137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9" y="0"/>
                  <a:pt x="122" y="7"/>
                  <a:pt x="122" y="15"/>
                </a:cubicBezTo>
                <a:cubicBezTo>
                  <a:pt x="122" y="33"/>
                  <a:pt x="122" y="33"/>
                  <a:pt x="122" y="33"/>
                </a:cubicBezTo>
                <a:cubicBezTo>
                  <a:pt x="122" y="41"/>
                  <a:pt x="129" y="49"/>
                  <a:pt x="137" y="49"/>
                </a:cubicBezTo>
                <a:cubicBezTo>
                  <a:pt x="137" y="49"/>
                  <a:pt x="137" y="49"/>
                  <a:pt x="137" y="49"/>
                </a:cubicBezTo>
                <a:cubicBezTo>
                  <a:pt x="146" y="49"/>
                  <a:pt x="153" y="41"/>
                  <a:pt x="153" y="33"/>
                </a:cubicBezTo>
                <a:close/>
                <a:moveTo>
                  <a:pt x="245" y="33"/>
                </a:moveTo>
                <a:cubicBezTo>
                  <a:pt x="245" y="15"/>
                  <a:pt x="245" y="15"/>
                  <a:pt x="245" y="15"/>
                </a:cubicBezTo>
                <a:cubicBezTo>
                  <a:pt x="245" y="7"/>
                  <a:pt x="237" y="0"/>
                  <a:pt x="229" y="0"/>
                </a:cubicBezTo>
                <a:cubicBezTo>
                  <a:pt x="229" y="0"/>
                  <a:pt x="229" y="0"/>
                  <a:pt x="229" y="0"/>
                </a:cubicBezTo>
                <a:cubicBezTo>
                  <a:pt x="220" y="0"/>
                  <a:pt x="213" y="7"/>
                  <a:pt x="213" y="15"/>
                </a:cubicBezTo>
                <a:cubicBezTo>
                  <a:pt x="213" y="33"/>
                  <a:pt x="213" y="33"/>
                  <a:pt x="213" y="33"/>
                </a:cubicBezTo>
                <a:cubicBezTo>
                  <a:pt x="213" y="41"/>
                  <a:pt x="220" y="49"/>
                  <a:pt x="229" y="49"/>
                </a:cubicBezTo>
                <a:cubicBezTo>
                  <a:pt x="229" y="49"/>
                  <a:pt x="229" y="49"/>
                  <a:pt x="229" y="49"/>
                </a:cubicBezTo>
                <a:cubicBezTo>
                  <a:pt x="237" y="49"/>
                  <a:pt x="245" y="41"/>
                  <a:pt x="245" y="33"/>
                </a:cubicBezTo>
                <a:close/>
                <a:moveTo>
                  <a:pt x="0" y="163"/>
                </a:moveTo>
                <a:cubicBezTo>
                  <a:pt x="0" y="212"/>
                  <a:pt x="0" y="212"/>
                  <a:pt x="0" y="212"/>
                </a:cubicBezTo>
                <a:moveTo>
                  <a:pt x="92" y="163"/>
                </a:moveTo>
                <a:cubicBezTo>
                  <a:pt x="92" y="212"/>
                  <a:pt x="92" y="212"/>
                  <a:pt x="92" y="212"/>
                </a:cubicBezTo>
                <a:moveTo>
                  <a:pt x="183" y="163"/>
                </a:moveTo>
                <a:cubicBezTo>
                  <a:pt x="183" y="212"/>
                  <a:pt x="183" y="212"/>
                  <a:pt x="183" y="212"/>
                </a:cubicBezTo>
                <a:moveTo>
                  <a:pt x="62" y="196"/>
                </a:moveTo>
                <a:cubicBezTo>
                  <a:pt x="62" y="179"/>
                  <a:pt x="62" y="179"/>
                  <a:pt x="62" y="179"/>
                </a:cubicBezTo>
                <a:cubicBezTo>
                  <a:pt x="62" y="170"/>
                  <a:pt x="55" y="163"/>
                  <a:pt x="46" y="163"/>
                </a:cubicBezTo>
                <a:cubicBezTo>
                  <a:pt x="46" y="163"/>
                  <a:pt x="46" y="163"/>
                  <a:pt x="46" y="163"/>
                </a:cubicBezTo>
                <a:cubicBezTo>
                  <a:pt x="37" y="163"/>
                  <a:pt x="30" y="170"/>
                  <a:pt x="30" y="179"/>
                </a:cubicBezTo>
                <a:cubicBezTo>
                  <a:pt x="30" y="196"/>
                  <a:pt x="30" y="196"/>
                  <a:pt x="30" y="196"/>
                </a:cubicBezTo>
                <a:cubicBezTo>
                  <a:pt x="30" y="205"/>
                  <a:pt x="37" y="212"/>
                  <a:pt x="46" y="212"/>
                </a:cubicBezTo>
                <a:cubicBezTo>
                  <a:pt x="46" y="212"/>
                  <a:pt x="46" y="212"/>
                  <a:pt x="46" y="212"/>
                </a:cubicBezTo>
                <a:cubicBezTo>
                  <a:pt x="55" y="212"/>
                  <a:pt x="62" y="205"/>
                  <a:pt x="62" y="196"/>
                </a:cubicBezTo>
                <a:close/>
                <a:moveTo>
                  <a:pt x="153" y="196"/>
                </a:moveTo>
                <a:cubicBezTo>
                  <a:pt x="153" y="179"/>
                  <a:pt x="153" y="179"/>
                  <a:pt x="153" y="179"/>
                </a:cubicBezTo>
                <a:cubicBezTo>
                  <a:pt x="153" y="170"/>
                  <a:pt x="146" y="163"/>
                  <a:pt x="137" y="163"/>
                </a:cubicBezTo>
                <a:cubicBezTo>
                  <a:pt x="137" y="163"/>
                  <a:pt x="137" y="163"/>
                  <a:pt x="137" y="163"/>
                </a:cubicBezTo>
                <a:cubicBezTo>
                  <a:pt x="129" y="163"/>
                  <a:pt x="122" y="170"/>
                  <a:pt x="122" y="179"/>
                </a:cubicBezTo>
                <a:cubicBezTo>
                  <a:pt x="122" y="196"/>
                  <a:pt x="122" y="196"/>
                  <a:pt x="122" y="196"/>
                </a:cubicBezTo>
                <a:cubicBezTo>
                  <a:pt x="122" y="205"/>
                  <a:pt x="129" y="212"/>
                  <a:pt x="137" y="212"/>
                </a:cubicBezTo>
                <a:cubicBezTo>
                  <a:pt x="137" y="212"/>
                  <a:pt x="137" y="212"/>
                  <a:pt x="137" y="212"/>
                </a:cubicBezTo>
                <a:cubicBezTo>
                  <a:pt x="146" y="212"/>
                  <a:pt x="153" y="205"/>
                  <a:pt x="153" y="196"/>
                </a:cubicBezTo>
                <a:close/>
                <a:moveTo>
                  <a:pt x="245" y="196"/>
                </a:moveTo>
                <a:cubicBezTo>
                  <a:pt x="245" y="179"/>
                  <a:pt x="245" y="179"/>
                  <a:pt x="245" y="179"/>
                </a:cubicBezTo>
                <a:cubicBezTo>
                  <a:pt x="245" y="170"/>
                  <a:pt x="237" y="163"/>
                  <a:pt x="229" y="163"/>
                </a:cubicBezTo>
                <a:cubicBezTo>
                  <a:pt x="229" y="163"/>
                  <a:pt x="229" y="163"/>
                  <a:pt x="229" y="163"/>
                </a:cubicBezTo>
                <a:cubicBezTo>
                  <a:pt x="220" y="163"/>
                  <a:pt x="213" y="170"/>
                  <a:pt x="213" y="179"/>
                </a:cubicBezTo>
                <a:cubicBezTo>
                  <a:pt x="213" y="196"/>
                  <a:pt x="213" y="196"/>
                  <a:pt x="213" y="196"/>
                </a:cubicBezTo>
                <a:cubicBezTo>
                  <a:pt x="213" y="205"/>
                  <a:pt x="220" y="212"/>
                  <a:pt x="229" y="212"/>
                </a:cubicBezTo>
                <a:cubicBezTo>
                  <a:pt x="229" y="212"/>
                  <a:pt x="229" y="212"/>
                  <a:pt x="229" y="212"/>
                </a:cubicBezTo>
                <a:cubicBezTo>
                  <a:pt x="237" y="212"/>
                  <a:pt x="245" y="205"/>
                  <a:pt x="245" y="196"/>
                </a:cubicBezTo>
                <a:close/>
                <a:moveTo>
                  <a:pt x="62" y="83"/>
                </a:moveTo>
                <a:cubicBezTo>
                  <a:pt x="62" y="131"/>
                  <a:pt x="62" y="131"/>
                  <a:pt x="62" y="131"/>
                </a:cubicBezTo>
                <a:moveTo>
                  <a:pt x="153" y="83"/>
                </a:moveTo>
                <a:cubicBezTo>
                  <a:pt x="153" y="131"/>
                  <a:pt x="153" y="131"/>
                  <a:pt x="153" y="131"/>
                </a:cubicBezTo>
                <a:moveTo>
                  <a:pt x="32" y="116"/>
                </a:moveTo>
                <a:cubicBezTo>
                  <a:pt x="32" y="98"/>
                  <a:pt x="32" y="98"/>
                  <a:pt x="32" y="98"/>
                </a:cubicBezTo>
                <a:cubicBezTo>
                  <a:pt x="32" y="90"/>
                  <a:pt x="25" y="83"/>
                  <a:pt x="16" y="83"/>
                </a:cubicBezTo>
                <a:cubicBezTo>
                  <a:pt x="16" y="83"/>
                  <a:pt x="16" y="83"/>
                  <a:pt x="16" y="83"/>
                </a:cubicBezTo>
                <a:cubicBezTo>
                  <a:pt x="7" y="83"/>
                  <a:pt x="0" y="90"/>
                  <a:pt x="0" y="98"/>
                </a:cubicBezTo>
                <a:cubicBezTo>
                  <a:pt x="0" y="116"/>
                  <a:pt x="0" y="116"/>
                  <a:pt x="0" y="116"/>
                </a:cubicBezTo>
                <a:cubicBezTo>
                  <a:pt x="0" y="124"/>
                  <a:pt x="7" y="132"/>
                  <a:pt x="16" y="132"/>
                </a:cubicBezTo>
                <a:cubicBezTo>
                  <a:pt x="16" y="132"/>
                  <a:pt x="16" y="132"/>
                  <a:pt x="16" y="132"/>
                </a:cubicBezTo>
                <a:cubicBezTo>
                  <a:pt x="25" y="132"/>
                  <a:pt x="32" y="124"/>
                  <a:pt x="32" y="116"/>
                </a:cubicBezTo>
                <a:close/>
                <a:moveTo>
                  <a:pt x="123" y="116"/>
                </a:moveTo>
                <a:cubicBezTo>
                  <a:pt x="123" y="98"/>
                  <a:pt x="123" y="98"/>
                  <a:pt x="123" y="98"/>
                </a:cubicBezTo>
                <a:cubicBezTo>
                  <a:pt x="123" y="90"/>
                  <a:pt x="116" y="83"/>
                  <a:pt x="107" y="83"/>
                </a:cubicBezTo>
                <a:cubicBezTo>
                  <a:pt x="107" y="83"/>
                  <a:pt x="107" y="83"/>
                  <a:pt x="107" y="83"/>
                </a:cubicBezTo>
                <a:cubicBezTo>
                  <a:pt x="99" y="83"/>
                  <a:pt x="92" y="90"/>
                  <a:pt x="92" y="98"/>
                </a:cubicBezTo>
                <a:cubicBezTo>
                  <a:pt x="92" y="116"/>
                  <a:pt x="92" y="116"/>
                  <a:pt x="92" y="116"/>
                </a:cubicBezTo>
                <a:cubicBezTo>
                  <a:pt x="92" y="124"/>
                  <a:pt x="99" y="132"/>
                  <a:pt x="107" y="132"/>
                </a:cubicBezTo>
                <a:cubicBezTo>
                  <a:pt x="107" y="132"/>
                  <a:pt x="107" y="132"/>
                  <a:pt x="107" y="132"/>
                </a:cubicBezTo>
                <a:cubicBezTo>
                  <a:pt x="116" y="132"/>
                  <a:pt x="123" y="124"/>
                  <a:pt x="123" y="116"/>
                </a:cubicBezTo>
                <a:close/>
                <a:moveTo>
                  <a:pt x="215" y="116"/>
                </a:moveTo>
                <a:cubicBezTo>
                  <a:pt x="215" y="98"/>
                  <a:pt x="215" y="98"/>
                  <a:pt x="215" y="98"/>
                </a:cubicBezTo>
                <a:cubicBezTo>
                  <a:pt x="215" y="90"/>
                  <a:pt x="207" y="83"/>
                  <a:pt x="199" y="83"/>
                </a:cubicBezTo>
                <a:cubicBezTo>
                  <a:pt x="199" y="83"/>
                  <a:pt x="199" y="83"/>
                  <a:pt x="199" y="83"/>
                </a:cubicBezTo>
                <a:cubicBezTo>
                  <a:pt x="190" y="83"/>
                  <a:pt x="183" y="90"/>
                  <a:pt x="183" y="98"/>
                </a:cubicBezTo>
                <a:cubicBezTo>
                  <a:pt x="183" y="116"/>
                  <a:pt x="183" y="116"/>
                  <a:pt x="183" y="116"/>
                </a:cubicBezTo>
                <a:cubicBezTo>
                  <a:pt x="183" y="124"/>
                  <a:pt x="190" y="132"/>
                  <a:pt x="199" y="132"/>
                </a:cubicBezTo>
                <a:cubicBezTo>
                  <a:pt x="199" y="132"/>
                  <a:pt x="199" y="132"/>
                  <a:pt x="199" y="132"/>
                </a:cubicBezTo>
                <a:cubicBezTo>
                  <a:pt x="207" y="132"/>
                  <a:pt x="215" y="124"/>
                  <a:pt x="215" y="116"/>
                </a:cubicBezTo>
                <a:close/>
                <a:moveTo>
                  <a:pt x="245" y="83"/>
                </a:moveTo>
                <a:cubicBezTo>
                  <a:pt x="245" y="131"/>
                  <a:pt x="245" y="131"/>
                  <a:pt x="245" y="131"/>
                </a:cubicBezTo>
              </a:path>
            </a:pathLst>
          </a:custGeom>
          <a:noFill/>
          <a:ln w="1905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1730">
              <a:solidFill>
                <a:srgbClr val="353535"/>
              </a:solidFill>
              <a:latin typeface="Segoe UI Semilight"/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BE7F2A29-F1A4-42E3-B154-B75E25D152BF}"/>
              </a:ext>
            </a:extLst>
          </p:cNvPr>
          <p:cNvGrpSpPr/>
          <p:nvPr/>
        </p:nvGrpSpPr>
        <p:grpSpPr>
          <a:xfrm>
            <a:off x="9536959" y="2180521"/>
            <a:ext cx="789659" cy="503089"/>
            <a:chOff x="7086600" y="2836618"/>
            <a:chExt cx="1066800" cy="679655"/>
          </a:xfrm>
        </p:grpSpPr>
        <p:sp>
          <p:nvSpPr>
            <p:cNvPr id="50" name="cloud">
              <a:extLst>
                <a:ext uri="{FF2B5EF4-FFF2-40B4-BE49-F238E27FC236}">
                  <a16:creationId xmlns:a16="http://schemas.microsoft.com/office/drawing/2014/main" id="{14FFA684-B748-4514-AB7E-CB931D2948F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086600" y="2836618"/>
              <a:ext cx="1066800" cy="679655"/>
            </a:xfrm>
            <a:custGeom>
              <a:avLst/>
              <a:gdLst>
                <a:gd name="T0" fmla="*/ 281 w 344"/>
                <a:gd name="T1" fmla="*/ 216 h 217"/>
                <a:gd name="T2" fmla="*/ 281 w 344"/>
                <a:gd name="T3" fmla="*/ 217 h 217"/>
                <a:gd name="T4" fmla="*/ 88 w 344"/>
                <a:gd name="T5" fmla="*/ 217 h 217"/>
                <a:gd name="T6" fmla="*/ 88 w 344"/>
                <a:gd name="T7" fmla="*/ 217 h 217"/>
                <a:gd name="T8" fmla="*/ 86 w 344"/>
                <a:gd name="T9" fmla="*/ 217 h 217"/>
                <a:gd name="T10" fmla="*/ 0 w 344"/>
                <a:gd name="T11" fmla="*/ 130 h 217"/>
                <a:gd name="T12" fmla="*/ 86 w 344"/>
                <a:gd name="T13" fmla="*/ 44 h 217"/>
                <a:gd name="T14" fmla="*/ 104 w 344"/>
                <a:gd name="T15" fmla="*/ 45 h 217"/>
                <a:gd name="T16" fmla="*/ 184 w 344"/>
                <a:gd name="T17" fmla="*/ 0 h 217"/>
                <a:gd name="T18" fmla="*/ 278 w 344"/>
                <a:gd name="T19" fmla="*/ 85 h 217"/>
                <a:gd name="T20" fmla="*/ 278 w 344"/>
                <a:gd name="T21" fmla="*/ 85 h 217"/>
                <a:gd name="T22" fmla="*/ 344 w 344"/>
                <a:gd name="T23" fmla="*/ 151 h 217"/>
                <a:gd name="T24" fmla="*/ 281 w 344"/>
                <a:gd name="T25" fmla="*/ 216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4" h="217">
                  <a:moveTo>
                    <a:pt x="281" y="216"/>
                  </a:moveTo>
                  <a:cubicBezTo>
                    <a:pt x="281" y="217"/>
                    <a:pt x="281" y="217"/>
                    <a:pt x="281" y="217"/>
                  </a:cubicBezTo>
                  <a:cubicBezTo>
                    <a:pt x="88" y="217"/>
                    <a:pt x="88" y="217"/>
                    <a:pt x="88" y="217"/>
                  </a:cubicBezTo>
                  <a:cubicBezTo>
                    <a:pt x="88" y="217"/>
                    <a:pt x="88" y="217"/>
                    <a:pt x="88" y="217"/>
                  </a:cubicBezTo>
                  <a:cubicBezTo>
                    <a:pt x="87" y="217"/>
                    <a:pt x="87" y="217"/>
                    <a:pt x="86" y="217"/>
                  </a:cubicBezTo>
                  <a:cubicBezTo>
                    <a:pt x="39" y="217"/>
                    <a:pt x="0" y="178"/>
                    <a:pt x="0" y="130"/>
                  </a:cubicBezTo>
                  <a:cubicBezTo>
                    <a:pt x="0" y="82"/>
                    <a:pt x="39" y="44"/>
                    <a:pt x="86" y="44"/>
                  </a:cubicBezTo>
                  <a:cubicBezTo>
                    <a:pt x="92" y="44"/>
                    <a:pt x="98" y="44"/>
                    <a:pt x="104" y="45"/>
                  </a:cubicBezTo>
                  <a:cubicBezTo>
                    <a:pt x="121" y="18"/>
                    <a:pt x="150" y="0"/>
                    <a:pt x="184" y="0"/>
                  </a:cubicBezTo>
                  <a:cubicBezTo>
                    <a:pt x="233" y="0"/>
                    <a:pt x="273" y="37"/>
                    <a:pt x="278" y="85"/>
                  </a:cubicBezTo>
                  <a:cubicBezTo>
                    <a:pt x="278" y="85"/>
                    <a:pt x="278" y="85"/>
                    <a:pt x="278" y="85"/>
                  </a:cubicBezTo>
                  <a:cubicBezTo>
                    <a:pt x="315" y="85"/>
                    <a:pt x="344" y="114"/>
                    <a:pt x="344" y="151"/>
                  </a:cubicBezTo>
                  <a:cubicBezTo>
                    <a:pt x="344" y="186"/>
                    <a:pt x="316" y="215"/>
                    <a:pt x="281" y="216"/>
                  </a:cubicBezTo>
                  <a:close/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 Semilight"/>
              </a:endParaRPr>
            </a:p>
          </p:txBody>
        </p:sp>
        <p:sp>
          <p:nvSpPr>
            <p:cNvPr id="51" name="Diagnostic_E9D9">
              <a:extLst>
                <a:ext uri="{FF2B5EF4-FFF2-40B4-BE49-F238E27FC236}">
                  <a16:creationId xmlns:a16="http://schemas.microsoft.com/office/drawing/2014/main" id="{924A3957-513E-477A-B472-E4B66353206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452793" y="3055842"/>
              <a:ext cx="334414" cy="334578"/>
            </a:xfrm>
            <a:custGeom>
              <a:avLst/>
              <a:gdLst>
                <a:gd name="T0" fmla="*/ 0 w 3250"/>
                <a:gd name="T1" fmla="*/ 3250 h 3250"/>
                <a:gd name="T2" fmla="*/ 0 w 3250"/>
                <a:gd name="T3" fmla="*/ 0 h 3250"/>
                <a:gd name="T4" fmla="*/ 3250 w 3250"/>
                <a:gd name="T5" fmla="*/ 0 h 3250"/>
                <a:gd name="T6" fmla="*/ 3250 w 3250"/>
                <a:gd name="T7" fmla="*/ 3250 h 3250"/>
                <a:gd name="T8" fmla="*/ 0 w 3250"/>
                <a:gd name="T9" fmla="*/ 3250 h 3250"/>
                <a:gd name="T10" fmla="*/ 3250 w 3250"/>
                <a:gd name="T11" fmla="*/ 2000 h 3250"/>
                <a:gd name="T12" fmla="*/ 2553 w 3250"/>
                <a:gd name="T13" fmla="*/ 2000 h 3250"/>
                <a:gd name="T14" fmla="*/ 2535 w 3250"/>
                <a:gd name="T15" fmla="*/ 1985 h 3250"/>
                <a:gd name="T16" fmla="*/ 2379 w 3250"/>
                <a:gd name="T17" fmla="*/ 1362 h 3250"/>
                <a:gd name="T18" fmla="*/ 2360 w 3250"/>
                <a:gd name="T19" fmla="*/ 1347 h 3250"/>
                <a:gd name="T20" fmla="*/ 1987 w 3250"/>
                <a:gd name="T21" fmla="*/ 1347 h 3250"/>
                <a:gd name="T22" fmla="*/ 1969 w 3250"/>
                <a:gd name="T23" fmla="*/ 1332 h 3250"/>
                <a:gd name="T24" fmla="*/ 1768 w 3250"/>
                <a:gd name="T25" fmla="*/ 512 h 3250"/>
                <a:gd name="T26" fmla="*/ 1731 w 3250"/>
                <a:gd name="T27" fmla="*/ 512 h 3250"/>
                <a:gd name="T28" fmla="*/ 1227 w 3250"/>
                <a:gd name="T29" fmla="*/ 2467 h 3250"/>
                <a:gd name="T30" fmla="*/ 1195 w 3250"/>
                <a:gd name="T31" fmla="*/ 2476 h 3250"/>
                <a:gd name="T32" fmla="*/ 732 w 3250"/>
                <a:gd name="T33" fmla="*/ 2014 h 3250"/>
                <a:gd name="T34" fmla="*/ 705 w 3250"/>
                <a:gd name="T35" fmla="*/ 2014 h 3250"/>
                <a:gd name="T36" fmla="*/ 474 w 3250"/>
                <a:gd name="T37" fmla="*/ 2244 h 3250"/>
                <a:gd name="T38" fmla="*/ 461 w 3250"/>
                <a:gd name="T39" fmla="*/ 2250 h 3250"/>
                <a:gd name="T40" fmla="*/ 0 w 3250"/>
                <a:gd name="T41" fmla="*/ 2250 h 3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50" h="3250">
                  <a:moveTo>
                    <a:pt x="0" y="325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250" y="0"/>
                    <a:pt x="3250" y="0"/>
                    <a:pt x="3250" y="0"/>
                  </a:cubicBezTo>
                  <a:cubicBezTo>
                    <a:pt x="3250" y="3250"/>
                    <a:pt x="3250" y="3250"/>
                    <a:pt x="3250" y="3250"/>
                  </a:cubicBezTo>
                  <a:lnTo>
                    <a:pt x="0" y="3250"/>
                  </a:lnTo>
                  <a:close/>
                  <a:moveTo>
                    <a:pt x="3250" y="2000"/>
                  </a:moveTo>
                  <a:cubicBezTo>
                    <a:pt x="2553" y="2000"/>
                    <a:pt x="2553" y="2000"/>
                    <a:pt x="2553" y="2000"/>
                  </a:cubicBezTo>
                  <a:cubicBezTo>
                    <a:pt x="2544" y="2000"/>
                    <a:pt x="2537" y="1994"/>
                    <a:pt x="2535" y="1985"/>
                  </a:cubicBezTo>
                  <a:cubicBezTo>
                    <a:pt x="2379" y="1362"/>
                    <a:pt x="2379" y="1362"/>
                    <a:pt x="2379" y="1362"/>
                  </a:cubicBezTo>
                  <a:cubicBezTo>
                    <a:pt x="2377" y="1353"/>
                    <a:pt x="2369" y="1347"/>
                    <a:pt x="2360" y="1347"/>
                  </a:cubicBezTo>
                  <a:cubicBezTo>
                    <a:pt x="1987" y="1347"/>
                    <a:pt x="1987" y="1347"/>
                    <a:pt x="1987" y="1347"/>
                  </a:cubicBezTo>
                  <a:cubicBezTo>
                    <a:pt x="1978" y="1347"/>
                    <a:pt x="1971" y="1341"/>
                    <a:pt x="1969" y="1332"/>
                  </a:cubicBezTo>
                  <a:cubicBezTo>
                    <a:pt x="1768" y="512"/>
                    <a:pt x="1768" y="512"/>
                    <a:pt x="1768" y="512"/>
                  </a:cubicBezTo>
                  <a:cubicBezTo>
                    <a:pt x="1764" y="493"/>
                    <a:pt x="1736" y="493"/>
                    <a:pt x="1731" y="512"/>
                  </a:cubicBezTo>
                  <a:cubicBezTo>
                    <a:pt x="1227" y="2467"/>
                    <a:pt x="1227" y="2467"/>
                    <a:pt x="1227" y="2467"/>
                  </a:cubicBezTo>
                  <a:cubicBezTo>
                    <a:pt x="1223" y="2482"/>
                    <a:pt x="1205" y="2487"/>
                    <a:pt x="1195" y="2476"/>
                  </a:cubicBezTo>
                  <a:cubicBezTo>
                    <a:pt x="732" y="2014"/>
                    <a:pt x="732" y="2014"/>
                    <a:pt x="732" y="2014"/>
                  </a:cubicBezTo>
                  <a:cubicBezTo>
                    <a:pt x="725" y="2006"/>
                    <a:pt x="713" y="2006"/>
                    <a:pt x="705" y="2014"/>
                  </a:cubicBezTo>
                  <a:cubicBezTo>
                    <a:pt x="474" y="2244"/>
                    <a:pt x="474" y="2244"/>
                    <a:pt x="474" y="2244"/>
                  </a:cubicBezTo>
                  <a:cubicBezTo>
                    <a:pt x="471" y="2248"/>
                    <a:pt x="466" y="2250"/>
                    <a:pt x="461" y="2250"/>
                  </a:cubicBezTo>
                  <a:cubicBezTo>
                    <a:pt x="0" y="2250"/>
                    <a:pt x="0" y="2250"/>
                    <a:pt x="0" y="2250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srgbClr val="353535"/>
                </a:solidFill>
                <a:latin typeface="Segoe UI Semilight"/>
              </a:endParaRPr>
            </a:p>
          </p:txBody>
        </p:sp>
      </p:grp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C5255CED-1605-4A72-A43B-E9D55208EA67}"/>
              </a:ext>
            </a:extLst>
          </p:cNvPr>
          <p:cNvSpPr txBox="1">
            <a:spLocks/>
          </p:cNvSpPr>
          <p:nvPr/>
        </p:nvSpPr>
        <p:spPr>
          <a:xfrm>
            <a:off x="578824" y="3043494"/>
            <a:ext cx="3630521" cy="260212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b="1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67">
              <a:spcAft>
                <a:spcPts val="686"/>
              </a:spcAft>
              <a:defRPr/>
            </a:pPr>
            <a:endParaRPr lang="en-US" sz="1372">
              <a:solidFill>
                <a:srgbClr val="0078D7"/>
              </a:solidFill>
              <a:latin typeface="Segoe UI"/>
            </a:endParaRPr>
          </a:p>
          <a:p>
            <a:pPr marL="280121" indent="-280121">
              <a:buFont typeface="Arial" panose="020B0604020202020204" pitchFamily="34" charset="0"/>
              <a:buChar char="•"/>
              <a:defRPr/>
            </a:pPr>
            <a:r>
              <a:rPr lang="en-US" sz="1372">
                <a:solidFill>
                  <a:srgbClr val="000000"/>
                </a:solidFill>
              </a:rPr>
              <a:t>Azure Resource Manager</a:t>
            </a:r>
            <a:r>
              <a:rPr lang="en-US" sz="1372" b="0">
                <a:solidFill>
                  <a:srgbClr val="000000"/>
                </a:solidFill>
              </a:rPr>
              <a:t> Templates</a:t>
            </a:r>
          </a:p>
          <a:p>
            <a:pPr marL="280121" indent="-280121">
              <a:buFont typeface="Arial" panose="020B0604020202020204" pitchFamily="34" charset="0"/>
              <a:buChar char="•"/>
              <a:defRPr/>
            </a:pPr>
            <a:r>
              <a:rPr lang="en-US" sz="1372">
                <a:solidFill>
                  <a:srgbClr val="000000"/>
                </a:solidFill>
                <a:latin typeface="Segoe UI"/>
              </a:rPr>
              <a:t>Azure ML Python SDK &amp; CLI</a:t>
            </a:r>
            <a:endParaRPr lang="en-US" sz="1372" b="0">
              <a:solidFill>
                <a:srgbClr val="000000"/>
              </a:solidFill>
              <a:latin typeface="Segoe UI"/>
            </a:endParaRPr>
          </a:p>
          <a:p>
            <a:pPr marL="280121" indent="-280121">
              <a:buFont typeface="Arial" panose="020B0604020202020204" pitchFamily="34" charset="0"/>
              <a:buChar char="•"/>
              <a:defRPr/>
            </a:pPr>
            <a:r>
              <a:rPr lang="en-US" sz="1372" b="0">
                <a:solidFill>
                  <a:srgbClr val="000000"/>
                </a:solidFill>
                <a:latin typeface="Segoe UI"/>
              </a:rPr>
              <a:t>Azure SDK’s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A5D057BD-A928-4F6E-946A-90A462CD64D1}"/>
              </a:ext>
            </a:extLst>
          </p:cNvPr>
          <p:cNvSpPr txBox="1">
            <a:spLocks/>
          </p:cNvSpPr>
          <p:nvPr/>
        </p:nvSpPr>
        <p:spPr>
          <a:xfrm>
            <a:off x="4419195" y="3034638"/>
            <a:ext cx="3630521" cy="260212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b="1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67">
              <a:spcAft>
                <a:spcPts val="686"/>
              </a:spcAft>
              <a:defRPr/>
            </a:pPr>
            <a:endParaRPr lang="en-US" sz="1372">
              <a:solidFill>
                <a:srgbClr val="0078D7"/>
              </a:solidFill>
              <a:latin typeface="Segoe UI"/>
            </a:endParaRPr>
          </a:p>
          <a:p>
            <a:pPr marL="280121" indent="-280121">
              <a:buFont typeface="Arial" panose="020B0604020202020204" pitchFamily="34" charset="0"/>
              <a:buChar char="•"/>
              <a:defRPr/>
            </a:pPr>
            <a:r>
              <a:rPr lang="en-US" sz="1372">
                <a:solidFill>
                  <a:srgbClr val="000000"/>
                </a:solidFill>
              </a:rPr>
              <a:t>Azure DevOps Pipelines</a:t>
            </a:r>
          </a:p>
          <a:p>
            <a:pPr marL="280121" indent="-280121">
              <a:buFont typeface="Arial" panose="020B0604020202020204" pitchFamily="34" charset="0"/>
              <a:buChar char="•"/>
              <a:defRPr/>
            </a:pPr>
            <a:r>
              <a:rPr lang="en-US" sz="1372">
                <a:solidFill>
                  <a:srgbClr val="000000"/>
                </a:solidFill>
                <a:latin typeface="Segoe UI"/>
              </a:rPr>
              <a:t>Azure ML Training Services</a:t>
            </a:r>
          </a:p>
          <a:p>
            <a:pPr marL="280121" indent="-280121">
              <a:buFont typeface="Arial" panose="020B0604020202020204" pitchFamily="34" charset="0"/>
              <a:buChar char="•"/>
              <a:defRPr/>
            </a:pPr>
            <a:r>
              <a:rPr lang="en-US" sz="1372" b="0">
                <a:solidFill>
                  <a:srgbClr val="000000"/>
                </a:solidFill>
                <a:latin typeface="Segoe UI"/>
              </a:rPr>
              <a:t>Azure Repos / GitHub</a:t>
            </a:r>
          </a:p>
          <a:p>
            <a:pPr marL="280121" indent="-280121">
              <a:buFont typeface="Arial" panose="020B0604020202020204" pitchFamily="34" charset="0"/>
              <a:buChar char="•"/>
              <a:defRPr/>
            </a:pPr>
            <a:r>
              <a:rPr lang="en-US" sz="1372" b="0">
                <a:solidFill>
                  <a:srgbClr val="000000"/>
                </a:solidFill>
                <a:latin typeface="Segoe UI"/>
              </a:rPr>
              <a:t>Azure Boards</a:t>
            </a:r>
          </a:p>
          <a:p>
            <a:pPr>
              <a:defRPr/>
            </a:pPr>
            <a:endParaRPr lang="en-US" sz="1372" b="0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A6861B41-2FE8-410B-B18E-FF7777AFF57A}"/>
              </a:ext>
            </a:extLst>
          </p:cNvPr>
          <p:cNvSpPr txBox="1">
            <a:spLocks/>
          </p:cNvSpPr>
          <p:nvPr/>
        </p:nvSpPr>
        <p:spPr>
          <a:xfrm>
            <a:off x="8187551" y="3334354"/>
            <a:ext cx="3919140" cy="281648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b="1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GB" sz="1372">
                <a:solidFill>
                  <a:srgbClr val="000000"/>
                </a:solidFill>
              </a:rPr>
              <a:t>Azure DevOps</a:t>
            </a:r>
            <a:r>
              <a:rPr lang="en-GB" sz="1372" b="0">
                <a:solidFill>
                  <a:srgbClr val="000000"/>
                </a:solidFill>
              </a:rPr>
              <a:t> for automated testing</a:t>
            </a:r>
          </a:p>
          <a:p>
            <a:pPr marL="280121" lvl="1" indent="-280121">
              <a:buFont typeface="Arial" panose="020B0604020202020204" pitchFamily="34" charset="0"/>
              <a:buChar char="•"/>
              <a:defRPr/>
            </a:pPr>
            <a:r>
              <a:rPr lang="en-GB" sz="1372" b="1">
                <a:solidFill>
                  <a:srgbClr val="000000"/>
                </a:solidFill>
              </a:rPr>
              <a:t>R</a:t>
            </a:r>
            <a:r>
              <a:rPr lang="en-GB" sz="1372" b="0">
                <a:solidFill>
                  <a:srgbClr val="000000"/>
                </a:solidFill>
              </a:rPr>
              <a:t> - </a:t>
            </a:r>
            <a:r>
              <a:rPr lang="en-GB" sz="1372" b="0" err="1">
                <a:solidFill>
                  <a:srgbClr val="000000"/>
                </a:solidFill>
              </a:rPr>
              <a:t>Runit</a:t>
            </a:r>
            <a:r>
              <a:rPr lang="en-GB" sz="1372" b="0">
                <a:solidFill>
                  <a:srgbClr val="000000"/>
                </a:solidFill>
              </a:rPr>
              <a:t> and </a:t>
            </a:r>
            <a:r>
              <a:rPr lang="en-GB" sz="1372" b="0" err="1">
                <a:solidFill>
                  <a:srgbClr val="000000"/>
                </a:solidFill>
              </a:rPr>
              <a:t>testthat</a:t>
            </a:r>
            <a:endParaRPr lang="en-GB" sz="1372" b="0">
              <a:solidFill>
                <a:srgbClr val="000000"/>
              </a:solidFill>
            </a:endParaRPr>
          </a:p>
          <a:p>
            <a:pPr marL="280121" indent="-280121">
              <a:buFont typeface="Arial" panose="020B0604020202020204" pitchFamily="34" charset="0"/>
              <a:buChar char="•"/>
              <a:defRPr/>
            </a:pPr>
            <a:r>
              <a:rPr lang="en-GB" sz="1372">
                <a:solidFill>
                  <a:srgbClr val="000000"/>
                </a:solidFill>
              </a:rPr>
              <a:t>Python</a:t>
            </a:r>
            <a:r>
              <a:rPr lang="en-GB" sz="1372" b="0">
                <a:solidFill>
                  <a:srgbClr val="000000"/>
                </a:solidFill>
              </a:rPr>
              <a:t> - </a:t>
            </a:r>
            <a:r>
              <a:rPr lang="en-GB" sz="1372" b="0" err="1">
                <a:solidFill>
                  <a:srgbClr val="000000"/>
                </a:solidFill>
              </a:rPr>
              <a:t>PyUnit</a:t>
            </a:r>
            <a:r>
              <a:rPr lang="en-GB" sz="1372" b="0">
                <a:solidFill>
                  <a:srgbClr val="000000"/>
                </a:solidFill>
              </a:rPr>
              <a:t>, </a:t>
            </a:r>
            <a:r>
              <a:rPr lang="en-GB" sz="1372" b="0" err="1">
                <a:solidFill>
                  <a:srgbClr val="000000"/>
                </a:solidFill>
              </a:rPr>
              <a:t>pytest</a:t>
            </a:r>
            <a:r>
              <a:rPr lang="en-GB" sz="1372" b="0">
                <a:solidFill>
                  <a:srgbClr val="000000"/>
                </a:solidFill>
              </a:rPr>
              <a:t>, nose, …</a:t>
            </a:r>
          </a:p>
          <a:p>
            <a:pPr marL="280121" indent="-280121">
              <a:buFont typeface="Arial" panose="020B0604020202020204" pitchFamily="34" charset="0"/>
              <a:buChar char="•"/>
              <a:defRPr/>
            </a:pPr>
            <a:r>
              <a:rPr lang="en-GB" sz="1372">
                <a:solidFill>
                  <a:srgbClr val="000000"/>
                </a:solidFill>
              </a:rPr>
              <a:t>Azure ML &amp; </a:t>
            </a:r>
            <a:r>
              <a:rPr lang="en-GB" sz="1372" err="1">
                <a:solidFill>
                  <a:srgbClr val="000000"/>
                </a:solidFill>
              </a:rPr>
              <a:t>MLFlow</a:t>
            </a:r>
            <a:r>
              <a:rPr lang="en-GB" sz="1372">
                <a:solidFill>
                  <a:srgbClr val="000000"/>
                </a:solidFill>
              </a:rPr>
              <a:t> Tracking</a:t>
            </a:r>
            <a:endParaRPr lang="en-GB" sz="1372" b="0">
              <a:solidFill>
                <a:srgbClr val="000000"/>
              </a:solidFill>
            </a:endParaRPr>
          </a:p>
          <a:p>
            <a:pPr marL="280121" indent="-280121">
              <a:buFont typeface="Arial" panose="020B0604020202020204" pitchFamily="34" charset="0"/>
              <a:buChar char="•"/>
              <a:defRPr/>
            </a:pPr>
            <a:r>
              <a:rPr lang="en-GB" sz="1372">
                <a:solidFill>
                  <a:srgbClr val="000000"/>
                </a:solidFill>
              </a:rPr>
              <a:t>Azure Data Prep SDK </a:t>
            </a:r>
            <a:r>
              <a:rPr lang="en-GB" sz="1372" b="0">
                <a:solidFill>
                  <a:srgbClr val="000000"/>
                </a:solidFill>
              </a:rPr>
              <a:t>(analyse/profile)</a:t>
            </a:r>
          </a:p>
          <a:p>
            <a:pPr marL="280121" indent="-280121">
              <a:buFont typeface="Arial" panose="020B0604020202020204" pitchFamily="34" charset="0"/>
              <a:buChar char="•"/>
              <a:defRPr/>
            </a:pPr>
            <a:r>
              <a:rPr lang="en-GB" sz="1372">
                <a:solidFill>
                  <a:srgbClr val="000000"/>
                </a:solidFill>
              </a:rPr>
              <a:t>Azure ML Model Management </a:t>
            </a:r>
            <a:r>
              <a:rPr lang="en-GB" sz="1372" b="0">
                <a:solidFill>
                  <a:srgbClr val="000000"/>
                </a:solidFill>
              </a:rPr>
              <a:t>(Instrumentation</a:t>
            </a:r>
            <a:r>
              <a:rPr lang="en-GB" sz="1372" b="0">
                <a:solidFill>
                  <a:srgbClr val="000000"/>
                </a:solidFill>
                <a:latin typeface="Segoe UI"/>
              </a:rPr>
              <a:t>, Telemetry)</a:t>
            </a:r>
          </a:p>
          <a:p>
            <a:pPr marL="280121" indent="-280121">
              <a:buFont typeface="Arial" panose="020B0604020202020204" pitchFamily="34" charset="0"/>
              <a:buChar char="•"/>
              <a:defRPr/>
            </a:pPr>
            <a:r>
              <a:rPr lang="en-GB" sz="1372">
                <a:solidFill>
                  <a:srgbClr val="000000"/>
                </a:solidFill>
                <a:latin typeface="Segoe UI"/>
              </a:rPr>
              <a:t>Azure Monitor </a:t>
            </a:r>
            <a:r>
              <a:rPr lang="en-GB" sz="1372" b="0">
                <a:solidFill>
                  <a:srgbClr val="000000"/>
                </a:solidFill>
                <a:latin typeface="Segoe UI"/>
              </a:rPr>
              <a:t>for app telemetry</a:t>
            </a:r>
            <a:endParaRPr lang="en-GB" sz="1372" b="0">
              <a:solidFill>
                <a:srgbClr val="000000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0489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1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-US" sz="5400" dirty="0"/>
              <a:t>New </a:t>
            </a:r>
            <a:r>
              <a:rPr lang="en-US" sz="5400" dirty="0" err="1"/>
              <a:t>MLOps</a:t>
            </a:r>
            <a:br>
              <a:rPr lang="en-US" sz="5400" dirty="0"/>
            </a:br>
            <a:r>
              <a:rPr lang="en-US" sz="5400" dirty="0"/>
              <a:t>Services from Azure Machine Learning</a:t>
            </a:r>
            <a:endParaRPr sz="5400" dirty="0"/>
          </a:p>
        </p:txBody>
      </p:sp>
    </p:spTree>
    <p:extLst>
      <p:ext uri="{BB962C8B-B14F-4D97-AF65-F5344CB8AC3E}">
        <p14:creationId xmlns:p14="http://schemas.microsoft.com/office/powerpoint/2010/main" val="30370507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6AE659-D294-4CF4-B2DA-6C4E13F34B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Model Versioning &amp; Storag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6103D2-A342-49C7-A5D9-7E12A1F607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7037" y="1221240"/>
            <a:ext cx="6010339" cy="5360083"/>
          </a:xfrm>
        </p:spPr>
        <p:txBody>
          <a:bodyPr vert="horz" lIns="91440" tIns="45720" rIns="91440" bIns="45720" rtlCol="0">
            <a:normAutofit lnSpcReduction="10000"/>
          </a:bodyPr>
          <a:lstStyle/>
          <a:p>
            <a:pPr marL="0" indent="0" defTabSz="914400">
              <a:spcBef>
                <a:spcPts val="0"/>
              </a:spcBef>
              <a:spcAft>
                <a:spcPts val="600"/>
              </a:spcAft>
              <a:buSzTx/>
              <a:buNone/>
              <a:defRPr/>
            </a:pPr>
            <a:r>
              <a:rPr lang="en-US" sz="2200" b="1" dirty="0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latin typeface="Segoe UI"/>
                <a:cs typeface="+mn-cs"/>
              </a:rPr>
              <a:t>Provide a consistent way to discover, store, track &amp; share models</a:t>
            </a:r>
          </a:p>
          <a:p>
            <a:pPr marL="0" indent="0" defTabSz="914400">
              <a:spcBef>
                <a:spcPts val="0"/>
              </a:spcBef>
              <a:spcAft>
                <a:spcPts val="600"/>
              </a:spcAft>
              <a:buSzTx/>
              <a:buNone/>
              <a:defRPr/>
            </a:pPr>
            <a:endParaRPr lang="en-US" sz="1100" b="1" dirty="0"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latin typeface="Segoe UI"/>
              <a:cs typeface="+mn-cs"/>
            </a:endParaRPr>
          </a:p>
          <a:p>
            <a:pPr marL="0" indent="0" defTabSz="914400">
              <a:spcBef>
                <a:spcPts val="0"/>
              </a:spcBef>
              <a:spcAft>
                <a:spcPts val="600"/>
              </a:spcAft>
              <a:buSzTx/>
              <a:buNone/>
              <a:defRPr/>
            </a:pPr>
            <a:r>
              <a:rPr lang="en-US" sz="2200" b="1" dirty="0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latin typeface="Segoe UI"/>
                <a:cs typeface="+mn-cs"/>
              </a:rPr>
              <a:t>Provide a consistent model metadata format</a:t>
            </a:r>
          </a:p>
          <a:p>
            <a:pPr marL="0" indent="0" defTabSz="914400">
              <a:spcBef>
                <a:spcPts val="0"/>
              </a:spcBef>
              <a:spcAft>
                <a:spcPts val="600"/>
              </a:spcAft>
              <a:buSzTx/>
              <a:buNone/>
              <a:defRPr/>
            </a:pPr>
            <a:endParaRPr lang="en-US" sz="1100" b="1" dirty="0"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latin typeface="Segoe UI"/>
              <a:cs typeface="+mn-cs"/>
            </a:endParaRPr>
          </a:p>
          <a:p>
            <a:pPr marL="0" lvl="0" indent="0">
              <a:buNone/>
            </a:pPr>
            <a:r>
              <a:rPr lang="en-US" sz="2200" b="1" dirty="0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latin typeface="Segoe UI"/>
                <a:cs typeface="+mn-cs"/>
              </a:rPr>
              <a:t>Track where a model came from</a:t>
            </a:r>
            <a:r>
              <a:rPr lang="en-US" sz="2400" dirty="0"/>
              <a:t>  </a:t>
            </a:r>
          </a:p>
          <a:p>
            <a:pPr marL="285750" lvl="1" indent="-285750" defTabSz="914400">
              <a:lnSpc>
                <a:spcPct val="110000"/>
              </a:lnSpc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which data, </a:t>
            </a:r>
          </a:p>
          <a:p>
            <a:pPr marL="285750" lvl="1" indent="-285750" defTabSz="914400">
              <a:lnSpc>
                <a:spcPct val="110000"/>
              </a:lnSpc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which experiment / previous model(s), </a:t>
            </a:r>
          </a:p>
          <a:p>
            <a:pPr marL="285750" lvl="1" indent="-285750" defTabSz="914400">
              <a:lnSpc>
                <a:spcPct val="110000"/>
              </a:lnSpc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where’s the code / notebook)</a:t>
            </a:r>
          </a:p>
          <a:p>
            <a:pPr marL="285750" lvl="1" indent="-285750" defTabSz="914400">
              <a:lnSpc>
                <a:spcPct val="110000"/>
              </a:lnSpc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Was it converted / quantized?</a:t>
            </a:r>
          </a:p>
          <a:p>
            <a:pPr marL="0" lvl="0" indent="0" defTabSz="914400">
              <a:spcBef>
                <a:spcPts val="0"/>
              </a:spcBef>
              <a:spcAft>
                <a:spcPts val="600"/>
              </a:spcAft>
              <a:buSzTx/>
              <a:buNone/>
              <a:defRPr/>
            </a:pPr>
            <a:endParaRPr lang="en-US" sz="1100" b="1" dirty="0"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latin typeface="Segoe UI"/>
              <a:cs typeface="+mn-cs"/>
            </a:endParaRPr>
          </a:p>
          <a:p>
            <a:pPr marL="0" lvl="0" indent="0" defTabSz="914400">
              <a:spcBef>
                <a:spcPts val="0"/>
              </a:spcBef>
              <a:spcAft>
                <a:spcPts val="600"/>
              </a:spcAft>
              <a:buSzTx/>
              <a:buNone/>
              <a:defRPr/>
            </a:pPr>
            <a:r>
              <a:rPr lang="en-US" sz="2200" b="1" dirty="0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latin typeface="Segoe UI"/>
                <a:cs typeface="+mn-cs"/>
              </a:rPr>
              <a:t>Track where model is running &amp; model health</a:t>
            </a:r>
          </a:p>
          <a:p>
            <a:pPr marL="0" lvl="0" indent="0" defTabSz="914400">
              <a:spcBef>
                <a:spcPts val="0"/>
              </a:spcBef>
              <a:spcAft>
                <a:spcPts val="600"/>
              </a:spcAft>
              <a:buSzTx/>
              <a:buNone/>
              <a:defRPr/>
            </a:pPr>
            <a:endParaRPr lang="en-US" sz="1100" b="1" dirty="0"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latin typeface="Segoe UI"/>
              <a:cs typeface="+mn-cs"/>
            </a:endParaRPr>
          </a:p>
          <a:p>
            <a:pPr marL="0" lvl="0" indent="0" defTabSz="914400">
              <a:spcBef>
                <a:spcPts val="0"/>
              </a:spcBef>
              <a:spcAft>
                <a:spcPts val="600"/>
              </a:spcAft>
              <a:buSzTx/>
              <a:buNone/>
              <a:defRPr/>
            </a:pPr>
            <a:r>
              <a:rPr lang="en-US" sz="2200" b="1" dirty="0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latin typeface="Segoe UI"/>
                <a:cs typeface="+mn-cs"/>
              </a:rPr>
              <a:t>Control who has access to what models</a:t>
            </a:r>
          </a:p>
          <a:p>
            <a:pPr marL="285750" lvl="1" indent="-285750" defTabSz="914400">
              <a:lnSpc>
                <a:spcPct val="110000"/>
              </a:lnSpc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rivate / compliant data</a:t>
            </a:r>
          </a:p>
          <a:p>
            <a:endParaRPr lang="en-US" sz="24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4179131-F908-4525-88E3-2A9DC06DE1E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7748" t="6678"/>
          <a:stretch/>
        </p:blipFill>
        <p:spPr>
          <a:xfrm>
            <a:off x="6562529" y="1555925"/>
            <a:ext cx="5206513" cy="376453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16884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2A1871E-D360-4EC9-90DA-F71F634CE9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18653" y="570733"/>
            <a:ext cx="3208326" cy="26249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227D936-A5F4-46F6-A98D-C0A4460291F7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6641488" y="2369079"/>
            <a:ext cx="3370981" cy="33623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7FA1FEC-4BEB-4088-A2EF-1A39A779BA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17006" y="4525682"/>
            <a:ext cx="4190925" cy="207450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A17BC74-9D0A-46F0-B2C5-A12FEFD115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Model Valid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991C72-72C5-41AC-A7ED-CFA31AC37A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7038" y="1221240"/>
            <a:ext cx="4691616" cy="5360083"/>
          </a:xfrm>
        </p:spPr>
        <p:txBody>
          <a:bodyPr>
            <a:normAutofit/>
          </a:bodyPr>
          <a:lstStyle/>
          <a:p>
            <a:pPr marL="0" indent="0" defTabSz="914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Tx/>
              <a:buNone/>
              <a:defRPr/>
            </a:pPr>
            <a:r>
              <a:rPr lang="en-US" sz="2000" b="1" dirty="0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latin typeface="Segoe UI"/>
                <a:cs typeface="+mn-cs"/>
              </a:rPr>
              <a:t>Profile and validate</a:t>
            </a:r>
          </a:p>
          <a:p>
            <a:pPr marL="285750" indent="-285750" defTabSz="914400"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sz="1800" dirty="0">
                <a:solidFill>
                  <a:prstClr val="black"/>
                </a:solidFill>
              </a:rPr>
              <a:t>Data (changes to shape / profile)</a:t>
            </a:r>
          </a:p>
          <a:p>
            <a:pPr marL="285750" indent="-285750" defTabSz="914400"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sz="1800" dirty="0">
                <a:solidFill>
                  <a:prstClr val="black"/>
                </a:solidFill>
              </a:rPr>
              <a:t>Model in isolation (offline A/B)</a:t>
            </a:r>
          </a:p>
          <a:p>
            <a:pPr marL="285750" indent="-285750" defTabSz="914400"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sz="1800" dirty="0">
                <a:solidFill>
                  <a:prstClr val="black"/>
                </a:solidFill>
              </a:rPr>
              <a:t>Model + app (functional testing)</a:t>
            </a:r>
          </a:p>
          <a:p>
            <a:pPr marL="0" indent="0" defTabSz="914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Tx/>
              <a:buNone/>
              <a:defRPr/>
            </a:pPr>
            <a:endParaRPr lang="en-US" sz="2000" b="1" dirty="0"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latin typeface="Segoe UI"/>
              <a:cs typeface="+mn-cs"/>
            </a:endParaRPr>
          </a:p>
          <a:p>
            <a:pPr marL="0" indent="0" defTabSz="914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Tx/>
              <a:buNone/>
              <a:defRPr/>
            </a:pPr>
            <a:r>
              <a:rPr lang="en-US" sz="2000" b="1" dirty="0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latin typeface="Segoe UI"/>
                <a:cs typeface="+mn-cs"/>
              </a:rPr>
              <a:t>Control model rollout on validation</a:t>
            </a:r>
          </a:p>
          <a:p>
            <a:pPr marL="285750" indent="-285750" defTabSz="914400"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sz="1800" dirty="0">
                <a:solidFill>
                  <a:prstClr val="black"/>
                </a:solidFill>
              </a:rPr>
              <a:t>Only deploy after initial validation passes</a:t>
            </a:r>
          </a:p>
          <a:p>
            <a:pPr marL="285750" indent="-285750" defTabSz="914400"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sz="1800" dirty="0">
                <a:solidFill>
                  <a:prstClr val="black"/>
                </a:solidFill>
              </a:rPr>
              <a:t>Ramp up traffic to new model using A/B experimentations</a:t>
            </a:r>
          </a:p>
          <a:p>
            <a:pPr marL="0" indent="0" defTabSz="914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Tx/>
              <a:buNone/>
              <a:defRPr/>
            </a:pPr>
            <a:endParaRPr lang="en-US" sz="2000" b="1" dirty="0"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latin typeface="Segoe UI"/>
              <a:cs typeface="+mn-cs"/>
            </a:endParaRPr>
          </a:p>
          <a:p>
            <a:pPr marL="0" indent="0" defTabSz="914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Tx/>
              <a:buNone/>
              <a:defRPr/>
            </a:pPr>
            <a:r>
              <a:rPr lang="en-US" sz="2000" b="1" dirty="0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latin typeface="Segoe UI"/>
                <a:cs typeface="+mn-cs"/>
              </a:rPr>
              <a:t>Assess performance</a:t>
            </a:r>
          </a:p>
          <a:p>
            <a:pPr marL="285750" lvl="1" indent="-285750" defTabSz="914400"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sz="1800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Functional behavior</a:t>
            </a:r>
          </a:p>
          <a:p>
            <a:pPr marL="285750" lvl="1" indent="-285750" defTabSz="914400"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sz="1800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rformance characteristics</a:t>
            </a:r>
          </a:p>
        </p:txBody>
      </p:sp>
    </p:spTree>
    <p:extLst>
      <p:ext uri="{BB962C8B-B14F-4D97-AF65-F5344CB8AC3E}">
        <p14:creationId xmlns:p14="http://schemas.microsoft.com/office/powerpoint/2010/main" val="86250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screenshot of a social media post&#10;&#10;Description generated with very high confidence">
            <a:extLst>
              <a:ext uri="{FF2B5EF4-FFF2-40B4-BE49-F238E27FC236}">
                <a16:creationId xmlns:a16="http://schemas.microsoft.com/office/drawing/2014/main" id="{94EA4B8B-EA08-4AAE-A82B-436FD5419AD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1296" t="9213"/>
          <a:stretch/>
        </p:blipFill>
        <p:spPr>
          <a:xfrm>
            <a:off x="6148753" y="1584480"/>
            <a:ext cx="5087104" cy="264064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5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B6506FE1-1C7F-416C-97CF-ED541A8B307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0012" b="20015"/>
          <a:stretch/>
        </p:blipFill>
        <p:spPr>
          <a:xfrm>
            <a:off x="7722751" y="3670059"/>
            <a:ext cx="4298298" cy="201512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B9EAFF2-422E-46C9-81A1-ACB2384D57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/>
              <a:t>Model Deploy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6EDB07-BF11-4400-B6E2-3DE8A5D6A47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7038" y="1221240"/>
            <a:ext cx="5721716" cy="5360083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en-US" sz="2200" b="1" dirty="0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latin typeface="Segoe UI"/>
                <a:cs typeface="+mn-cs"/>
              </a:rPr>
              <a:t>Provide safe &amp; efficient process to deploy models</a:t>
            </a:r>
          </a:p>
          <a:p>
            <a:pPr marL="285750" lvl="1" indent="-285750" defTabSz="914400">
              <a:lnSpc>
                <a:spcPct val="130000"/>
              </a:lnSpc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sz="2200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Focus on ML, not DevOps</a:t>
            </a:r>
          </a:p>
          <a:p>
            <a:pPr marL="285750" lvl="1" indent="-285750" defTabSz="914400">
              <a:lnSpc>
                <a:spcPct val="130000"/>
              </a:lnSpc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sz="2200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Get telemetry for service health and model behavior</a:t>
            </a:r>
          </a:p>
          <a:p>
            <a:pPr marL="0" lvl="1" indent="0" defTabSz="914400">
              <a:lnSpc>
                <a:spcPct val="130000"/>
              </a:lnSpc>
              <a:spcBef>
                <a:spcPts val="0"/>
              </a:spcBef>
              <a:buSzTx/>
              <a:buNone/>
              <a:defRPr/>
            </a:pPr>
            <a:endParaRPr lang="en-US" sz="2200" dirty="0">
              <a:solidFill>
                <a:prstClr val="black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marL="0" lvl="0" indent="0">
              <a:buNone/>
            </a:pPr>
            <a:r>
              <a:rPr lang="en-US" sz="2200" b="1" dirty="0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latin typeface="Segoe UI"/>
                <a:cs typeface="+mn-cs"/>
              </a:rPr>
              <a:t>Simplify process to interact with the model </a:t>
            </a:r>
          </a:p>
          <a:p>
            <a:pPr marL="285750" lvl="1" indent="-285750" defTabSz="914400">
              <a:lnSpc>
                <a:spcPct val="130000"/>
              </a:lnSpc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sz="2200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de-generation</a:t>
            </a:r>
          </a:p>
          <a:p>
            <a:pPr marL="285750" lvl="1" indent="-285750" defTabSz="914400">
              <a:lnSpc>
                <a:spcPct val="130000"/>
              </a:lnSpc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sz="2200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PI specifications / interfaces</a:t>
            </a:r>
          </a:p>
          <a:p>
            <a:pPr marL="0" indent="0">
              <a:buNone/>
            </a:pPr>
            <a:endParaRPr lang="en-US" sz="2200" b="1" dirty="0"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latin typeface="Segoe UI"/>
              <a:cs typeface="+mn-cs"/>
            </a:endParaRPr>
          </a:p>
          <a:p>
            <a:pPr marL="0" indent="0">
              <a:buNone/>
            </a:pPr>
            <a:r>
              <a:rPr lang="en-US" sz="2200" b="1" dirty="0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latin typeface="Segoe UI"/>
                <a:cs typeface="+mn-cs"/>
              </a:rPr>
              <a:t>Support a variety of inferencing targets </a:t>
            </a:r>
          </a:p>
          <a:p>
            <a:pPr marL="285750" lvl="1" indent="-285750" defTabSz="914400">
              <a:lnSpc>
                <a:spcPct val="130000"/>
              </a:lnSpc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sz="2200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loud Services</a:t>
            </a:r>
          </a:p>
          <a:p>
            <a:pPr marL="285750" lvl="1" indent="-285750" defTabSz="914400">
              <a:lnSpc>
                <a:spcPct val="130000"/>
              </a:lnSpc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sz="2200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Mobile / Embedded Applications</a:t>
            </a:r>
          </a:p>
          <a:p>
            <a:pPr marL="285750" lvl="1" indent="-285750" defTabSz="914400">
              <a:lnSpc>
                <a:spcPct val="130000"/>
              </a:lnSpc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sz="2200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Edge Devices</a:t>
            </a:r>
          </a:p>
          <a:p>
            <a:pPr marL="285750" lvl="1" indent="-285750" defTabSz="914400">
              <a:lnSpc>
                <a:spcPct val="130000"/>
              </a:lnSpc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sz="2200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Quantize / optimize models for target platform</a:t>
            </a:r>
          </a:p>
          <a:p>
            <a:pPr marL="0" lvl="1" indent="0" defTabSz="914400">
              <a:lnSpc>
                <a:spcPct val="130000"/>
              </a:lnSpc>
              <a:spcBef>
                <a:spcPts val="0"/>
              </a:spcBef>
              <a:buSzTx/>
              <a:buNone/>
              <a:defRPr/>
            </a:pPr>
            <a:endParaRPr lang="en-US" sz="2200" dirty="0">
              <a:solidFill>
                <a:prstClr val="black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marL="0" indent="0">
              <a:buNone/>
            </a:pPr>
            <a:r>
              <a:rPr lang="en-US" sz="2200" b="1" dirty="0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latin typeface="Segoe UI"/>
                <a:cs typeface="+mn-cs"/>
              </a:rPr>
              <a:t>Control the rollout of your models (with A/B)</a:t>
            </a:r>
          </a:p>
          <a:p>
            <a:pPr marL="285750" lvl="1" indent="-285750" defTabSz="914400">
              <a:lnSpc>
                <a:spcPct val="130000"/>
              </a:lnSpc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sz="2200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mpliant + Safe</a:t>
            </a:r>
          </a:p>
          <a:p>
            <a:pPr marL="0" indent="0">
              <a:buNone/>
            </a:pPr>
            <a:endParaRPr lang="en-US" sz="2200" b="1" dirty="0"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latin typeface="Segoe UI"/>
              <a:cs typeface="+mn-cs"/>
            </a:endParaRPr>
          </a:p>
          <a:p>
            <a:pPr marL="0" indent="0">
              <a:buNone/>
            </a:pPr>
            <a:endParaRPr lang="en-US" sz="2200" b="1" dirty="0"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latin typeface="Segoe U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4574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1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-US" sz="5400" dirty="0"/>
              <a:t>Azure DevOps Pipelines</a:t>
            </a:r>
            <a:endParaRPr sz="5400" dirty="0"/>
          </a:p>
        </p:txBody>
      </p:sp>
    </p:spTree>
    <p:extLst>
      <p:ext uri="{BB962C8B-B14F-4D97-AF65-F5344CB8AC3E}">
        <p14:creationId xmlns:p14="http://schemas.microsoft.com/office/powerpoint/2010/main" val="21714737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Online Image Placeholder 6" descr="A picture containing screenshot&#10;&#10;Description generated with very high confidence">
            <a:extLst>
              <a:ext uri="{FF2B5EF4-FFF2-40B4-BE49-F238E27FC236}">
                <a16:creationId xmlns:a16="http://schemas.microsoft.com/office/drawing/2014/main" id="{A3D64055-A09B-46D7-B9A9-6B087799FCB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1795" y="668869"/>
            <a:ext cx="7320206" cy="6077153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A6A65AD-43AA-423E-8D08-19A36B5745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Azure DevOps Pipelin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95D34CA-2892-4FF4-9588-C6A35829635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wrap="square" lIns="0" tIns="0" rIns="0" bIns="0" rtlCol="0" anchor="t">
            <a:no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en-GB" sz="1568" dirty="0">
                <a:solidFill>
                  <a:schemeClr val="tx1"/>
                </a:solidFill>
              </a:rPr>
              <a:t>Cloud-hosted pipelines for Linux, Windows and macOS.</a:t>
            </a:r>
            <a:endParaRPr lang="en-US" sz="1568" dirty="0">
              <a:solidFill>
                <a:schemeClr val="tx1"/>
              </a:solidFill>
              <a:cs typeface="Segoe UI"/>
            </a:endParaRPr>
          </a:p>
        </p:txBody>
      </p:sp>
      <p:pic>
        <p:nvPicPr>
          <p:cNvPr id="16" name="Online Image Placeholder 15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ABB99AEE-D0DA-4872-AD88-E593AF1F70C9}"/>
              </a:ext>
            </a:extLst>
          </p:cNvPr>
          <p:cNvPicPr>
            <a:picLocks noGrp="1" noChangeAspect="1"/>
          </p:cNvPicPr>
          <p:nvPr>
            <p:ph type="clipArt" sz="quarter" idx="4294967295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6152113" y="1506373"/>
            <a:ext cx="7010626" cy="4382363"/>
          </a:xfr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7C232096-55FE-485C-9396-51DF7060CD86}"/>
              </a:ext>
            </a:extLst>
          </p:cNvPr>
          <p:cNvGrpSpPr/>
          <p:nvPr/>
        </p:nvGrpSpPr>
        <p:grpSpPr>
          <a:xfrm>
            <a:off x="436378" y="1825285"/>
            <a:ext cx="5025781" cy="1325042"/>
            <a:chOff x="445128" y="1690638"/>
            <a:chExt cx="5126558" cy="1351612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3303B4F4-BD54-418F-ABEC-9DA56768EB4B}"/>
                </a:ext>
              </a:extLst>
            </p:cNvPr>
            <p:cNvSpPr/>
            <p:nvPr/>
          </p:nvSpPr>
          <p:spPr bwMode="auto">
            <a:xfrm>
              <a:off x="445128" y="1731691"/>
              <a:ext cx="555298" cy="555298"/>
            </a:xfrm>
            <a:prstGeom prst="ellipse">
              <a:avLst/>
            </a:prstGeom>
            <a:solidFill>
              <a:srgbClr val="EAEAEA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2C90A02D-FA22-4D75-8262-E67026C3F459}"/>
                </a:ext>
              </a:extLst>
            </p:cNvPr>
            <p:cNvSpPr txBox="1"/>
            <p:nvPr/>
          </p:nvSpPr>
          <p:spPr>
            <a:xfrm>
              <a:off x="1065722" y="1690638"/>
              <a:ext cx="4505964" cy="544765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/>
                <a:t>Any language, any platform, any cloud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967D699B-D6CA-484D-9DCC-8760B5AE64AE}"/>
                </a:ext>
              </a:extLst>
            </p:cNvPr>
            <p:cNvSpPr txBox="1"/>
            <p:nvPr/>
          </p:nvSpPr>
          <p:spPr>
            <a:xfrm>
              <a:off x="1065722" y="2008121"/>
              <a:ext cx="3975020" cy="1034129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176" dirty="0"/>
                <a:t>Build, test, and deploy Node.js, Python,  Java, PHP, Ruby, C/C++, .NET, Android, and iOS apps. Run in parallel on Linux, macOS, and Windows.  Deploy to Azure, AWS, GCP or on-premises</a:t>
              </a:r>
            </a:p>
          </p:txBody>
        </p:sp>
        <p:pic>
          <p:nvPicPr>
            <p:cNvPr id="26" name="Graphic 25">
              <a:extLst>
                <a:ext uri="{FF2B5EF4-FFF2-40B4-BE49-F238E27FC236}">
                  <a16:creationId xmlns:a16="http://schemas.microsoft.com/office/drawing/2014/main" id="{00E8F52D-C4CC-4645-A09C-A5C2D2D471F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51328" y="1836754"/>
              <a:ext cx="342900" cy="325755"/>
            </a:xfrm>
            <a:prstGeom prst="rect">
              <a:avLst/>
            </a:prstGeom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7E1109A4-FFA7-4A22-A9BA-27D765A83C78}"/>
              </a:ext>
            </a:extLst>
          </p:cNvPr>
          <p:cNvGrpSpPr/>
          <p:nvPr/>
        </p:nvGrpSpPr>
        <p:grpSpPr>
          <a:xfrm>
            <a:off x="436378" y="3322554"/>
            <a:ext cx="4505274" cy="1311235"/>
            <a:chOff x="445128" y="2867778"/>
            <a:chExt cx="4595614" cy="1337528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FFDB50A0-8DD6-48CA-80CD-8F55978146FF}"/>
                </a:ext>
              </a:extLst>
            </p:cNvPr>
            <p:cNvSpPr/>
            <p:nvPr/>
          </p:nvSpPr>
          <p:spPr bwMode="auto">
            <a:xfrm>
              <a:off x="445128" y="2867778"/>
              <a:ext cx="555298" cy="555298"/>
            </a:xfrm>
            <a:prstGeom prst="ellipse">
              <a:avLst/>
            </a:prstGeom>
            <a:solidFill>
              <a:srgbClr val="EAEAEA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306CDB6-E465-4A41-B520-9DC0AC0600BC}"/>
                </a:ext>
              </a:extLst>
            </p:cNvPr>
            <p:cNvSpPr txBox="1"/>
            <p:nvPr/>
          </p:nvSpPr>
          <p:spPr>
            <a:xfrm>
              <a:off x="1065722" y="2874960"/>
              <a:ext cx="3656707" cy="544765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/>
                <a:t>Extensible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8F696DB-EE80-40C9-9008-6142F73C1492}"/>
                </a:ext>
              </a:extLst>
            </p:cNvPr>
            <p:cNvSpPr txBox="1"/>
            <p:nvPr/>
          </p:nvSpPr>
          <p:spPr>
            <a:xfrm>
              <a:off x="1065722" y="3171177"/>
              <a:ext cx="3975020" cy="1034129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GB" sz="1176">
                  <a:solidFill>
                    <a:srgbClr val="595959"/>
                  </a:solidFill>
                </a:rPr>
                <a:t>Explore and implement a wide range of community-built build, test, and deployment tasks, along with hundreds of extensions from Slack to </a:t>
              </a:r>
              <a:r>
                <a:rPr lang="en-GB" sz="1176" err="1">
                  <a:solidFill>
                    <a:srgbClr val="595959"/>
                  </a:solidFill>
                </a:rPr>
                <a:t>SonarCloud</a:t>
              </a:r>
              <a:r>
                <a:rPr lang="en-GB" sz="1176">
                  <a:solidFill>
                    <a:srgbClr val="595959"/>
                  </a:solidFill>
                </a:rPr>
                <a:t>. Support for YAML, reporting and more</a:t>
              </a:r>
            </a:p>
          </p:txBody>
        </p:sp>
        <p:pic>
          <p:nvPicPr>
            <p:cNvPr id="36" name="Graphic 35">
              <a:extLst>
                <a:ext uri="{FF2B5EF4-FFF2-40B4-BE49-F238E27FC236}">
                  <a16:creationId xmlns:a16="http://schemas.microsoft.com/office/drawing/2014/main" id="{0BDC9036-025D-43F9-AA73-A887588652A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58636" y="2973977"/>
              <a:ext cx="285750" cy="3429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AA46A84B-B8E4-4BA1-AC7D-E897B15A1499}"/>
              </a:ext>
            </a:extLst>
          </p:cNvPr>
          <p:cNvGrpSpPr/>
          <p:nvPr/>
        </p:nvGrpSpPr>
        <p:grpSpPr>
          <a:xfrm>
            <a:off x="436380" y="4662259"/>
            <a:ext cx="4505273" cy="1112468"/>
            <a:chOff x="445129" y="4755247"/>
            <a:chExt cx="4595613" cy="1134775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28969C80-65DA-4231-83DC-5638E0C213C6}"/>
                </a:ext>
              </a:extLst>
            </p:cNvPr>
            <p:cNvSpPr/>
            <p:nvPr/>
          </p:nvSpPr>
          <p:spPr bwMode="auto">
            <a:xfrm>
              <a:off x="445129" y="4791277"/>
              <a:ext cx="555298" cy="555298"/>
            </a:xfrm>
            <a:prstGeom prst="ellipse">
              <a:avLst/>
            </a:prstGeom>
            <a:solidFill>
              <a:srgbClr val="EAEAEA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8446C7CC-67CB-4D25-A20A-694A6E1F21D8}"/>
                </a:ext>
              </a:extLst>
            </p:cNvPr>
            <p:cNvSpPr txBox="1"/>
            <p:nvPr/>
          </p:nvSpPr>
          <p:spPr>
            <a:xfrm>
              <a:off x="1065722" y="4755247"/>
              <a:ext cx="3656707" cy="544765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/>
                <a:t>Containers and Kubernetes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C7FD4636-4259-4145-9391-F318DE7B8336}"/>
                </a:ext>
              </a:extLst>
            </p:cNvPr>
            <p:cNvSpPr txBox="1"/>
            <p:nvPr/>
          </p:nvSpPr>
          <p:spPr>
            <a:xfrm>
              <a:off x="1065722" y="5040831"/>
              <a:ext cx="3975020" cy="849191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GB" sz="1176" dirty="0">
                  <a:solidFill>
                    <a:srgbClr val="595959"/>
                  </a:solidFill>
                </a:rPr>
                <a:t>Easily build and push images to container registries like Docker Hub and Azure Container Registry. Deploy containers to individual hosts or Kubernetes.</a:t>
              </a:r>
              <a:endParaRPr lang="en-US" sz="1176" dirty="0">
                <a:solidFill>
                  <a:srgbClr val="595959"/>
                </a:solidFill>
              </a:endParaRPr>
            </a:p>
          </p:txBody>
        </p: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ABF23BC7-1AA2-4459-BE12-18A85FDCC87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51328" y="4890781"/>
              <a:ext cx="342900" cy="3429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4905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0DADFA8C-24AF-3540-80D8-FFEAB44EB08A}"/>
              </a:ext>
            </a:extLst>
          </p:cNvPr>
          <p:cNvSpPr txBox="1"/>
          <p:nvPr/>
        </p:nvSpPr>
        <p:spPr>
          <a:xfrm>
            <a:off x="478054" y="284058"/>
            <a:ext cx="9374176" cy="113877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21883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Collaboration</a:t>
            </a:r>
          </a:p>
          <a:p>
            <a:pPr marL="0" marR="0" lvl="0" indent="0" algn="l" defTabSz="121883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r>
              <a:rPr lang="en-US" sz="2800" dirty="0">
                <a:solidFill>
                  <a:schemeClr val="accent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ep 1: Join the Team!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3792855-AD33-EF44-A2F6-EF13F39F7B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37252" y="190707"/>
            <a:ext cx="1376694" cy="137669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BC13FC4-F211-4E04-BCBD-85118BA1405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2905" y="2613805"/>
            <a:ext cx="9657619" cy="3700874"/>
          </a:xfrm>
          <a:prstGeom prst="rect">
            <a:avLst/>
          </a:prstGeom>
        </p:spPr>
      </p:pic>
      <p:sp>
        <p:nvSpPr>
          <p:cNvPr id="11" name="Arrow: Down 10">
            <a:extLst>
              <a:ext uri="{FF2B5EF4-FFF2-40B4-BE49-F238E27FC236}">
                <a16:creationId xmlns:a16="http://schemas.microsoft.com/office/drawing/2014/main" id="{AD306C8E-FCA3-40E4-B512-17357649601D}"/>
              </a:ext>
            </a:extLst>
          </p:cNvPr>
          <p:cNvSpPr/>
          <p:nvPr/>
        </p:nvSpPr>
        <p:spPr bwMode="auto">
          <a:xfrm rot="3323220">
            <a:off x="3710865" y="5167700"/>
            <a:ext cx="639192" cy="1127464"/>
          </a:xfrm>
          <a:prstGeom prst="downArrow">
            <a:avLst/>
          </a:prstGeom>
          <a:solidFill>
            <a:srgbClr val="FF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Arrow: Down 11">
            <a:extLst>
              <a:ext uri="{FF2B5EF4-FFF2-40B4-BE49-F238E27FC236}">
                <a16:creationId xmlns:a16="http://schemas.microsoft.com/office/drawing/2014/main" id="{29C22143-EC51-4DCE-9024-AA3ACCC02B4B}"/>
              </a:ext>
            </a:extLst>
          </p:cNvPr>
          <p:cNvSpPr/>
          <p:nvPr/>
        </p:nvSpPr>
        <p:spPr bwMode="auto">
          <a:xfrm rot="3323220">
            <a:off x="10326209" y="4254780"/>
            <a:ext cx="639192" cy="1127464"/>
          </a:xfrm>
          <a:prstGeom prst="downArrow">
            <a:avLst/>
          </a:prstGeom>
          <a:solidFill>
            <a:srgbClr val="FF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824CB6E-974D-4EB2-AB38-BE5D83286969}"/>
              </a:ext>
            </a:extLst>
          </p:cNvPr>
          <p:cNvSpPr txBox="1"/>
          <p:nvPr/>
        </p:nvSpPr>
        <p:spPr>
          <a:xfrm>
            <a:off x="4284185" y="4651168"/>
            <a:ext cx="1171853" cy="84946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4000" b="1" dirty="0">
                <a:solidFill>
                  <a:srgbClr val="FF0000"/>
                </a:solidFill>
                <a:latin typeface="Arial Black" panose="020B0A04020102020204" pitchFamily="34" charset="0"/>
              </a:rPr>
              <a:t>#1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962F866-B4F3-44D6-913C-B31DB2D78A67}"/>
              </a:ext>
            </a:extLst>
          </p:cNvPr>
          <p:cNvSpPr txBox="1"/>
          <p:nvPr/>
        </p:nvSpPr>
        <p:spPr>
          <a:xfrm>
            <a:off x="10947656" y="3801705"/>
            <a:ext cx="1171853" cy="84946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4000" b="1" dirty="0">
                <a:solidFill>
                  <a:srgbClr val="FF0000"/>
                </a:solidFill>
                <a:latin typeface="Arial Black" panose="020B0A04020102020204" pitchFamily="34" charset="0"/>
              </a:rPr>
              <a:t>#2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5EAC767-931B-443C-A971-9C9564EA0831}"/>
              </a:ext>
            </a:extLst>
          </p:cNvPr>
          <p:cNvSpPr txBox="1"/>
          <p:nvPr/>
        </p:nvSpPr>
        <p:spPr>
          <a:xfrm>
            <a:off x="8580532" y="5115527"/>
            <a:ext cx="2083249" cy="5724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b="1" dirty="0">
                <a:solidFill>
                  <a:srgbClr val="FF0000"/>
                </a:solidFill>
              </a:rPr>
              <a:t>-- join code --</a:t>
            </a:r>
          </a:p>
        </p:txBody>
      </p:sp>
    </p:spTree>
    <p:extLst>
      <p:ext uri="{BB962C8B-B14F-4D97-AF65-F5344CB8AC3E}">
        <p14:creationId xmlns:p14="http://schemas.microsoft.com/office/powerpoint/2010/main" val="3857020850"/>
      </p:ext>
    </p:extLst>
  </p:cSld>
  <p:clrMapOvr>
    <a:masterClrMapping/>
  </p:clrMapOvr>
  <p:transition>
    <p:fade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07C570C-6843-471D-995E-47FFCBC4ED2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12800" y="2708277"/>
            <a:ext cx="10566400" cy="1441449"/>
          </a:xfrm>
        </p:spPr>
        <p:txBody>
          <a:bodyPr anchor="ctr"/>
          <a:lstStyle/>
          <a:p>
            <a:r>
              <a:rPr lang="en-US" dirty="0">
                <a:solidFill>
                  <a:schemeClr val="tx1"/>
                </a:solidFill>
              </a:rPr>
              <a:t>But I Don’t Work at a 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Big Company With</a:t>
            </a:r>
          </a:p>
          <a:p>
            <a:r>
              <a:rPr lang="en-US" dirty="0">
                <a:solidFill>
                  <a:schemeClr val="tx1"/>
                </a:solidFill>
              </a:rPr>
              <a:t>Thousands of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ML Engineers!</a:t>
            </a:r>
          </a:p>
        </p:txBody>
      </p:sp>
    </p:spTree>
    <p:extLst>
      <p:ext uri="{BB962C8B-B14F-4D97-AF65-F5344CB8AC3E}">
        <p14:creationId xmlns:p14="http://schemas.microsoft.com/office/powerpoint/2010/main" val="4495036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34642A7-D484-4026-96A5-B9E8BA0275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Build Your Own </a:t>
            </a:r>
            <a:r>
              <a:rPr lang="en-US" err="1"/>
              <a:t>MLOps</a:t>
            </a:r>
            <a:r>
              <a:rPr lang="en-US"/>
              <a:t> Platform</a:t>
            </a:r>
          </a:p>
        </p:txBody>
      </p:sp>
      <p:pic>
        <p:nvPicPr>
          <p:cNvPr id="2050" name="Picture 2" descr="https://user-images.githubusercontent.com/5319646/37641015-10cb00f6-2c53-11e8-9195-65f2dbc60955.jpg">
            <a:extLst>
              <a:ext uri="{FF2B5EF4-FFF2-40B4-BE49-F238E27FC236}">
                <a16:creationId xmlns:a16="http://schemas.microsoft.com/office/drawing/2014/main" id="{20FD429F-5D61-4F93-A186-976BB1607D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154" y="1877117"/>
            <a:ext cx="1802772" cy="18027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4BC072AC-BBDC-4B52-8DF3-61430AB633A4}"/>
              </a:ext>
            </a:extLst>
          </p:cNvPr>
          <p:cNvSpPr txBox="1"/>
          <p:nvPr/>
        </p:nvSpPr>
        <p:spPr>
          <a:xfrm>
            <a:off x="7727047" y="6113298"/>
            <a:ext cx="4388871" cy="502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And many </a:t>
            </a:r>
            <a:r>
              <a:rPr lang="en-US" sz="2667" b="1" err="1">
                <a:latin typeface="Segoe UI" panose="020B0502040204020203" pitchFamily="34" charset="0"/>
                <a:cs typeface="Segoe UI" panose="020B0502040204020203" pitchFamily="34" charset="0"/>
              </a:rPr>
              <a:t>MANY</a:t>
            </a: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 more…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3A11645-5413-432D-94D7-B05C9AEC91BA}"/>
              </a:ext>
            </a:extLst>
          </p:cNvPr>
          <p:cNvGrpSpPr/>
          <p:nvPr/>
        </p:nvGrpSpPr>
        <p:grpSpPr>
          <a:xfrm>
            <a:off x="3787403" y="1243811"/>
            <a:ext cx="3068095" cy="4282319"/>
            <a:chOff x="2840552" y="932858"/>
            <a:chExt cx="2301071" cy="3211739"/>
          </a:xfrm>
        </p:grpSpPr>
        <p:sp>
          <p:nvSpPr>
            <p:cNvPr id="7" name="Title 3074">
              <a:extLst>
                <a:ext uri="{FF2B5EF4-FFF2-40B4-BE49-F238E27FC236}">
                  <a16:creationId xmlns:a16="http://schemas.microsoft.com/office/drawing/2014/main" id="{45230E4F-670F-4919-9935-757F0BB76DB5}"/>
                </a:ext>
              </a:extLst>
            </p:cNvPr>
            <p:cNvSpPr txBox="1">
              <a:spLocks/>
            </p:cNvSpPr>
            <p:nvPr/>
          </p:nvSpPr>
          <p:spPr>
            <a:xfrm>
              <a:off x="2840552" y="2057465"/>
              <a:ext cx="473712" cy="45195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2800" b="1" i="0" u="none" strike="noStrike" cap="none">
                  <a:solidFill>
                    <a:srgbClr val="000000"/>
                  </a:solidFill>
                  <a:latin typeface="Segoe UI" panose="020B0502040204020203" pitchFamily="34" charset="0"/>
                  <a:ea typeface="Lato"/>
                  <a:cs typeface="Segoe UI" panose="020B0502040204020203" pitchFamily="34" charset="0"/>
                  <a:sym typeface="Lato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en-US" sz="6400"/>
                <a:t>+</a:t>
              </a:r>
            </a:p>
          </p:txBody>
        </p:sp>
        <p:pic>
          <p:nvPicPr>
            <p:cNvPr id="11" name="Picture 2" descr="Image result for github logo">
              <a:extLst>
                <a:ext uri="{FF2B5EF4-FFF2-40B4-BE49-F238E27FC236}">
                  <a16:creationId xmlns:a16="http://schemas.microsoft.com/office/drawing/2014/main" id="{51F7EAA6-361B-46F5-848C-3478E05989C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17149" y="932858"/>
              <a:ext cx="975568" cy="9755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4" descr="Image result for github logo">
              <a:extLst>
                <a:ext uri="{FF2B5EF4-FFF2-40B4-BE49-F238E27FC236}">
                  <a16:creationId xmlns:a16="http://schemas.microsoft.com/office/drawing/2014/main" id="{DBD7B942-FF51-4D85-A87F-D7C2D18CC0D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50351" y="1880086"/>
              <a:ext cx="1042366" cy="2723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66" name="Picture 18" descr="https://about.gitlab.com/images/press/logo/png/gitlab-logo-gray-stacked-rgb.png">
              <a:extLst>
                <a:ext uri="{FF2B5EF4-FFF2-40B4-BE49-F238E27FC236}">
                  <a16:creationId xmlns:a16="http://schemas.microsoft.com/office/drawing/2014/main" id="{0DC06067-AF04-41FE-A23F-31AE485C8A0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61339" y="2211960"/>
              <a:ext cx="1620390" cy="14685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5" descr="A sign in the dark&#10;&#10;Description automatically generated">
              <a:extLst>
                <a:ext uri="{FF2B5EF4-FFF2-40B4-BE49-F238E27FC236}">
                  <a16:creationId xmlns:a16="http://schemas.microsoft.com/office/drawing/2014/main" id="{DBA528EB-4A77-48C1-9540-177246CF9B0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201444" y="3864931"/>
              <a:ext cx="1940179" cy="279666"/>
            </a:xfrm>
            <a:prstGeom prst="rect">
              <a:avLst/>
            </a:prstGeom>
          </p:spPr>
        </p:pic>
        <p:sp>
          <p:nvSpPr>
            <p:cNvPr id="20" name="AutoShape 30" descr="Bamboo logo">
              <a:extLst>
                <a:ext uri="{FF2B5EF4-FFF2-40B4-BE49-F238E27FC236}">
                  <a16:creationId xmlns:a16="http://schemas.microsoft.com/office/drawing/2014/main" id="{585C8BD6-4429-40E0-B50C-F0A2F884710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419600" y="2419350"/>
              <a:ext cx="304800" cy="304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478CF50-A23A-47A7-BD18-26698F2FE3D0}"/>
              </a:ext>
            </a:extLst>
          </p:cNvPr>
          <p:cNvGrpSpPr/>
          <p:nvPr/>
        </p:nvGrpSpPr>
        <p:grpSpPr>
          <a:xfrm>
            <a:off x="6741978" y="1210255"/>
            <a:ext cx="5009775" cy="4750843"/>
            <a:chOff x="5056483" y="907691"/>
            <a:chExt cx="3757331" cy="3563132"/>
          </a:xfrm>
        </p:grpSpPr>
        <p:pic>
          <p:nvPicPr>
            <p:cNvPr id="2070" name="Picture 22" descr="Image result for gocd logo">
              <a:extLst>
                <a:ext uri="{FF2B5EF4-FFF2-40B4-BE49-F238E27FC236}">
                  <a16:creationId xmlns:a16="http://schemas.microsoft.com/office/drawing/2014/main" id="{BD226167-A686-412B-AB69-035A8F59315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09657" y="2054637"/>
              <a:ext cx="1425247" cy="14252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itle 3074">
              <a:extLst>
                <a:ext uri="{FF2B5EF4-FFF2-40B4-BE49-F238E27FC236}">
                  <a16:creationId xmlns:a16="http://schemas.microsoft.com/office/drawing/2014/main" id="{53223281-5B07-4C0B-A4F8-97A0AF032594}"/>
                </a:ext>
              </a:extLst>
            </p:cNvPr>
            <p:cNvSpPr txBox="1">
              <a:spLocks/>
            </p:cNvSpPr>
            <p:nvPr/>
          </p:nvSpPr>
          <p:spPr>
            <a:xfrm>
              <a:off x="5056483" y="2057465"/>
              <a:ext cx="473712" cy="45195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2800" b="1" i="0" u="none" strike="noStrike" cap="none">
                  <a:solidFill>
                    <a:srgbClr val="000000"/>
                  </a:solidFill>
                  <a:latin typeface="Segoe UI" panose="020B0502040204020203" pitchFamily="34" charset="0"/>
                  <a:ea typeface="Lato"/>
                  <a:cs typeface="Segoe UI" panose="020B0502040204020203" pitchFamily="34" charset="0"/>
                  <a:sym typeface="Lato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en-US" sz="6400"/>
                <a:t>+</a:t>
              </a:r>
            </a:p>
          </p:txBody>
        </p:sp>
        <p:pic>
          <p:nvPicPr>
            <p:cNvPr id="2056" name="Picture 8" descr="https://wiki.jenkins.io/download/attachments/2916393/logo-title.png?version=1&amp;modificationDate=1302753947000&amp;api=v2">
              <a:extLst>
                <a:ext uri="{FF2B5EF4-FFF2-40B4-BE49-F238E27FC236}">
                  <a16:creationId xmlns:a16="http://schemas.microsoft.com/office/drawing/2014/main" id="{9A6A0FEF-13E9-4CF1-AC07-4C4E439C836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95285" y="907691"/>
              <a:ext cx="2628744" cy="8454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8" name="Picture 10" descr="Image result for azure devops logo">
              <a:extLst>
                <a:ext uri="{FF2B5EF4-FFF2-40B4-BE49-F238E27FC236}">
                  <a16:creationId xmlns:a16="http://schemas.microsoft.com/office/drawing/2014/main" id="{97868976-6CA5-4BF2-B4F8-367F7381BAA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72355" y="1800025"/>
              <a:ext cx="2474605" cy="4519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60" name="Picture 12" descr="Image result for circle CI logo">
              <a:extLst>
                <a:ext uri="{FF2B5EF4-FFF2-40B4-BE49-F238E27FC236}">
                  <a16:creationId xmlns:a16="http://schemas.microsoft.com/office/drawing/2014/main" id="{24015182-B6BC-433E-90B8-C2288AC12C2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72355" y="3156111"/>
              <a:ext cx="2589434" cy="7336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68" name="Picture 20" descr="Image result for team city logo">
              <a:extLst>
                <a:ext uri="{FF2B5EF4-FFF2-40B4-BE49-F238E27FC236}">
                  <a16:creationId xmlns:a16="http://schemas.microsoft.com/office/drawing/2014/main" id="{4029F54A-CD18-47D0-AD22-4EC5DB1C50B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80168" y="2302534"/>
              <a:ext cx="865338" cy="8653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82" name="Picture 34" descr="Image result for bamboo logo ci cd">
              <a:extLst>
                <a:ext uri="{FF2B5EF4-FFF2-40B4-BE49-F238E27FC236}">
                  <a16:creationId xmlns:a16="http://schemas.microsoft.com/office/drawing/2014/main" id="{7AA7974C-4C3C-4736-9EA1-80C6B41BE3B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17958" y="3948793"/>
              <a:ext cx="2895856" cy="5220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26" name="Picture 2" descr="Image result for azure machine learning logo">
            <a:extLst>
              <a:ext uri="{FF2B5EF4-FFF2-40B4-BE49-F238E27FC236}">
                <a16:creationId xmlns:a16="http://schemas.microsoft.com/office/drawing/2014/main" id="{96720FB9-4CBD-4378-BC5F-26C90AF265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92" y="3902060"/>
            <a:ext cx="4376497" cy="1362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921522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428027-27DF-4C2B-97E0-864BEBCE74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zure DevOps + Azure ML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17944D-429E-4EF4-B481-9F2091EA04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6424" y="2245368"/>
            <a:ext cx="2962339" cy="1538883"/>
          </a:xfrm>
        </p:spPr>
        <p:txBody>
          <a:bodyPr/>
          <a:lstStyle/>
          <a:p>
            <a:pPr marL="0" lvl="0" indent="0" defTabSz="914400">
              <a:spcBef>
                <a:spcPts val="0"/>
              </a:spcBef>
              <a:buSzTx/>
              <a:buNone/>
            </a:pPr>
            <a:r>
              <a:rPr lang="en-US" sz="2000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  <a:cs typeface="+mn-cs"/>
              </a:rPr>
              <a:t>Trigger release pipelines on model registration</a:t>
            </a:r>
          </a:p>
          <a:p>
            <a:pPr marL="0" lvl="0" indent="0" defTabSz="914400">
              <a:spcBef>
                <a:spcPts val="0"/>
              </a:spcBef>
              <a:buSzTx/>
              <a:buNone/>
            </a:pPr>
            <a:endParaRPr lang="en-US" sz="2000" dirty="0"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latin typeface="Segoe UI"/>
              <a:cs typeface="+mn-cs"/>
            </a:endParaRPr>
          </a:p>
          <a:p>
            <a:pPr marL="0" lvl="0" indent="0" defTabSz="914400">
              <a:spcBef>
                <a:spcPts val="0"/>
              </a:spcBef>
              <a:buSzTx/>
              <a:buNone/>
            </a:pPr>
            <a:r>
              <a:rPr lang="en-US" sz="2000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  <a:cs typeface="+mn-cs"/>
              </a:rPr>
              <a:t>Use </a:t>
            </a:r>
            <a:r>
              <a:rPr lang="en-US" sz="2000" b="1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  <a:cs typeface="+mn-cs"/>
              </a:rPr>
              <a:t>Azure DevOps + Azure ML CLI </a:t>
            </a:r>
            <a:r>
              <a:rPr lang="en-US" sz="2000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  <a:cs typeface="+mn-cs"/>
              </a:rPr>
              <a:t>to manage E2E release flow</a:t>
            </a:r>
          </a:p>
          <a:p>
            <a:pPr marL="0" lvl="0" indent="0" defTabSz="914400">
              <a:spcBef>
                <a:spcPts val="0"/>
              </a:spcBef>
              <a:buSzTx/>
              <a:buNone/>
            </a:pPr>
            <a:endParaRPr lang="en-US" sz="2000" dirty="0"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latin typeface="Segoe UI"/>
              <a:cs typeface="+mn-cs"/>
            </a:endParaRPr>
          </a:p>
          <a:p>
            <a:pPr marL="0" lvl="0" indent="0" defTabSz="914400">
              <a:spcBef>
                <a:spcPts val="0"/>
              </a:spcBef>
              <a:buSzTx/>
              <a:buNone/>
            </a:pPr>
            <a:r>
              <a:rPr lang="en-US" sz="2000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  <a:cs typeface="+mn-cs"/>
              </a:rPr>
              <a:t>Leverage Azure DevOps approvals for controlling application rollou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64E50C2-D7DC-419B-B392-F7A7B54FB8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13762" y="1472640"/>
            <a:ext cx="8328338" cy="492816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048800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8BB116A-EA73-4305-8A45-6A4679C376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rst Class Model Training Task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7AFCCA-F4CA-49FF-AC58-6119E3C724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7037" y="1221240"/>
            <a:ext cx="6339523" cy="5360083"/>
          </a:xfrm>
        </p:spPr>
        <p:txBody>
          <a:bodyPr/>
          <a:lstStyle/>
          <a:p>
            <a:pPr marL="0" indent="0">
              <a:buNone/>
            </a:pPr>
            <a:r>
              <a:rPr lang="en-US" sz="3200" dirty="0"/>
              <a:t>CI pipeline captures: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400" dirty="0"/>
              <a:t>Create sandbox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400" dirty="0"/>
              <a:t>Run unit tests and code quality checks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400" dirty="0"/>
              <a:t>Attach to compute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400" dirty="0"/>
              <a:t>Run training pipeline 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400" dirty="0"/>
              <a:t>Evaluate model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400" dirty="0"/>
              <a:t>Register mode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4D703FD-1023-47A8-B6C9-D77DFB31CB8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52398"/>
          <a:stretch/>
        </p:blipFill>
        <p:spPr>
          <a:xfrm>
            <a:off x="7482910" y="399400"/>
            <a:ext cx="4442612" cy="6059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369471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8BB116A-EA73-4305-8A45-6A4679C376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ating and Provisioning on Validation &amp; Profiling</a:t>
            </a:r>
          </a:p>
        </p:txBody>
      </p:sp>
      <p:sp>
        <p:nvSpPr>
          <p:cNvPr id="6" name="AutoShape 2" descr="https://us-api.asm.skype.com/v1/objects/0-cus-d5-98ce071b3d9bd9cbd30f551f4f61aef1/views/imgo">
            <a:extLst>
              <a:ext uri="{FF2B5EF4-FFF2-40B4-BE49-F238E27FC236}">
                <a16:creationId xmlns:a16="http://schemas.microsoft.com/office/drawing/2014/main" id="{40AC90A7-6B33-478F-8CED-781C2265606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163692" y="1626226"/>
            <a:ext cx="7620000" cy="3943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6" descr="https://us-api.asm.skype.com/v1/objects/0-cus-d5-98ce071b3d9bd9cbd30f551f4f61aef1/views/imgpsh_mobile_save">
            <a:extLst>
              <a:ext uri="{FF2B5EF4-FFF2-40B4-BE49-F238E27FC236}">
                <a16:creationId xmlns:a16="http://schemas.microsoft.com/office/drawing/2014/main" id="{052ABFEE-F9B2-4C36-92BB-0B0B2101F47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95263" y="376238"/>
            <a:ext cx="11801475" cy="6105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" name="Picture 4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E4B9A767-FE7A-493A-90E5-2CE5F0FCB68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83"/>
          <a:stretch/>
        </p:blipFill>
        <p:spPr>
          <a:xfrm>
            <a:off x="704335" y="1288424"/>
            <a:ext cx="10826966" cy="495254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794419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8BB116A-EA73-4305-8A45-6A4679C376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mated Deploymen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7AFCCA-F4CA-49FF-AC58-6119E3C724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7038" y="1221240"/>
            <a:ext cx="5015064" cy="5360083"/>
          </a:xfrm>
        </p:spPr>
        <p:txBody>
          <a:bodyPr/>
          <a:lstStyle/>
          <a:p>
            <a:pPr marL="0" indent="0">
              <a:buNone/>
            </a:pPr>
            <a:r>
              <a:rPr lang="en-US" sz="3200" dirty="0"/>
              <a:t>CD pipeline captures: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400" dirty="0"/>
              <a:t>Package model into container image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400" dirty="0"/>
              <a:t>Validate and profile model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400" dirty="0"/>
              <a:t>Deploy model to DevTest (ACI)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400" dirty="0"/>
              <a:t>If all is well, proceed to rollout to AKS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Everything is done via the CLI</a:t>
            </a:r>
          </a:p>
          <a:p>
            <a:pPr marL="0" indent="0">
              <a:buNone/>
            </a:pPr>
            <a:endParaRPr lang="en-US" sz="24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9266361-9513-4E52-BB29-C7E26F673F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71930" y="720930"/>
            <a:ext cx="6188075" cy="206269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5B6A47D-2553-4B24-9037-FDB3D247F0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71930" y="3012661"/>
            <a:ext cx="3691186" cy="267473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DBA9DFB-1993-45BB-86F1-797EE95045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92945" y="3012661"/>
            <a:ext cx="2074488" cy="164230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392495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Title 16">
            <a:extLst>
              <a:ext uri="{FF2B5EF4-FFF2-40B4-BE49-F238E27FC236}">
                <a16:creationId xmlns:a16="http://schemas.microsoft.com/office/drawing/2014/main" id="{2CD05ED2-1071-4A65-9B8F-D083170C68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/>
              <a:t>MLOps</a:t>
            </a:r>
            <a:r>
              <a:rPr lang="en-US" dirty="0"/>
              <a:t> Framework on Azure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50EFE186-0EB4-4928-8EF6-F893238564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6424" y="1490079"/>
            <a:ext cx="11336039" cy="3954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7894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Rectangle 209">
            <a:extLst>
              <a:ext uri="{FF2B5EF4-FFF2-40B4-BE49-F238E27FC236}">
                <a16:creationId xmlns:a16="http://schemas.microsoft.com/office/drawing/2014/main" id="{78C91883-5A49-476D-B836-CFA4A1047D15}"/>
              </a:ext>
            </a:extLst>
          </p:cNvPr>
          <p:cNvSpPr/>
          <p:nvPr/>
        </p:nvSpPr>
        <p:spPr bwMode="auto">
          <a:xfrm>
            <a:off x="2040310" y="3323531"/>
            <a:ext cx="4413510" cy="3453700"/>
          </a:xfrm>
          <a:prstGeom prst="rect">
            <a:avLst/>
          </a:prstGeom>
          <a:solidFill>
            <a:srgbClr val="C6C6C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Experimentation</a:t>
            </a: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68186721-4D4C-4AFB-9BF6-FFFD4D25CB52}"/>
              </a:ext>
            </a:extLst>
          </p:cNvPr>
          <p:cNvSpPr/>
          <p:nvPr/>
        </p:nvSpPr>
        <p:spPr bwMode="auto">
          <a:xfrm>
            <a:off x="2040310" y="1160097"/>
            <a:ext cx="4586150" cy="1957639"/>
          </a:xfrm>
          <a:prstGeom prst="rect">
            <a:avLst/>
          </a:prstGeom>
          <a:solidFill>
            <a:srgbClr val="C3E5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Continuous Integration and Delivery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7844F174-F6E4-4903-9601-BB36AD72199F}"/>
              </a:ext>
            </a:extLst>
          </p:cNvPr>
          <p:cNvSpPr/>
          <p:nvPr/>
        </p:nvSpPr>
        <p:spPr bwMode="auto">
          <a:xfrm flipH="1">
            <a:off x="7045258" y="2685220"/>
            <a:ext cx="4043351" cy="2093054"/>
          </a:xfrm>
          <a:prstGeom prst="rect">
            <a:avLst/>
          </a:prstGeom>
          <a:solidFill>
            <a:srgbClr val="C6C6C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l-NL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303E59A-4510-439F-BD3A-E1B16ABEEE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l-NL"/>
              <a:t>Azure ML Ops</a:t>
            </a:r>
          </a:p>
        </p:txBody>
      </p:sp>
      <p:sp>
        <p:nvSpPr>
          <p:cNvPr id="8" name="boy" title="Icon of a man">
            <a:extLst>
              <a:ext uri="{FF2B5EF4-FFF2-40B4-BE49-F238E27FC236}">
                <a16:creationId xmlns:a16="http://schemas.microsoft.com/office/drawing/2014/main" id="{11CEDC7A-583F-492F-8728-F31ADFB689E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14489" y="4565113"/>
            <a:ext cx="451873" cy="588151"/>
          </a:xfrm>
          <a:custGeom>
            <a:avLst/>
            <a:gdLst>
              <a:gd name="T0" fmla="*/ 27 w 261"/>
              <a:gd name="T1" fmla="*/ 104 h 339"/>
              <a:gd name="T2" fmla="*/ 131 w 261"/>
              <a:gd name="T3" fmla="*/ 0 h 339"/>
              <a:gd name="T4" fmla="*/ 235 w 261"/>
              <a:gd name="T5" fmla="*/ 104 h 339"/>
              <a:gd name="T6" fmla="*/ 131 w 261"/>
              <a:gd name="T7" fmla="*/ 208 h 339"/>
              <a:gd name="T8" fmla="*/ 27 w 261"/>
              <a:gd name="T9" fmla="*/ 104 h 339"/>
              <a:gd name="T10" fmla="*/ 261 w 261"/>
              <a:gd name="T11" fmla="*/ 339 h 339"/>
              <a:gd name="T12" fmla="*/ 131 w 261"/>
              <a:gd name="T13" fmla="*/ 208 h 339"/>
              <a:gd name="T14" fmla="*/ 0 w 261"/>
              <a:gd name="T15" fmla="*/ 339 h 339"/>
              <a:gd name="T16" fmla="*/ 74 w 261"/>
              <a:gd name="T17" fmla="*/ 221 h 339"/>
              <a:gd name="T18" fmla="*/ 131 w 261"/>
              <a:gd name="T19" fmla="*/ 274 h 339"/>
              <a:gd name="T20" fmla="*/ 187 w 261"/>
              <a:gd name="T21" fmla="*/ 221 h 3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61" h="339">
                <a:moveTo>
                  <a:pt x="27" y="104"/>
                </a:moveTo>
                <a:cubicBezTo>
                  <a:pt x="27" y="47"/>
                  <a:pt x="73" y="0"/>
                  <a:pt x="131" y="0"/>
                </a:cubicBezTo>
                <a:cubicBezTo>
                  <a:pt x="188" y="0"/>
                  <a:pt x="235" y="47"/>
                  <a:pt x="235" y="104"/>
                </a:cubicBezTo>
                <a:cubicBezTo>
                  <a:pt x="235" y="162"/>
                  <a:pt x="188" y="208"/>
                  <a:pt x="131" y="208"/>
                </a:cubicBezTo>
                <a:cubicBezTo>
                  <a:pt x="73" y="208"/>
                  <a:pt x="27" y="162"/>
                  <a:pt x="27" y="104"/>
                </a:cubicBezTo>
                <a:close/>
                <a:moveTo>
                  <a:pt x="261" y="339"/>
                </a:moveTo>
                <a:cubicBezTo>
                  <a:pt x="261" y="267"/>
                  <a:pt x="203" y="208"/>
                  <a:pt x="131" y="208"/>
                </a:cubicBezTo>
                <a:cubicBezTo>
                  <a:pt x="59" y="208"/>
                  <a:pt x="0" y="267"/>
                  <a:pt x="0" y="339"/>
                </a:cubicBezTo>
                <a:moveTo>
                  <a:pt x="74" y="221"/>
                </a:moveTo>
                <a:cubicBezTo>
                  <a:pt x="131" y="274"/>
                  <a:pt x="131" y="274"/>
                  <a:pt x="131" y="274"/>
                </a:cubicBezTo>
                <a:cubicBezTo>
                  <a:pt x="187" y="221"/>
                  <a:pt x="187" y="221"/>
                  <a:pt x="187" y="221"/>
                </a:cubicBezTo>
              </a:path>
            </a:pathLst>
          </a:custGeom>
          <a:noFill/>
          <a:ln w="15875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9741EB7-04A3-48BE-B414-20666B2368FF}"/>
              </a:ext>
            </a:extLst>
          </p:cNvPr>
          <p:cNvSpPr txBox="1"/>
          <p:nvPr/>
        </p:nvSpPr>
        <p:spPr>
          <a:xfrm>
            <a:off x="309305" y="3896683"/>
            <a:ext cx="115014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Data Scientist</a:t>
            </a:r>
          </a:p>
        </p:txBody>
      </p:sp>
      <p:sp>
        <p:nvSpPr>
          <p:cNvPr id="213" name="Rectangle 212">
            <a:extLst>
              <a:ext uri="{FF2B5EF4-FFF2-40B4-BE49-F238E27FC236}">
                <a16:creationId xmlns:a16="http://schemas.microsoft.com/office/drawing/2014/main" id="{F076C380-E5BD-4423-8584-0CBD35127D5D}"/>
              </a:ext>
            </a:extLst>
          </p:cNvPr>
          <p:cNvSpPr/>
          <p:nvPr/>
        </p:nvSpPr>
        <p:spPr bwMode="auto">
          <a:xfrm>
            <a:off x="2152560" y="5760534"/>
            <a:ext cx="4211278" cy="911729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l-NL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26816B5-0C83-4009-8C4E-5CC677817CD3}"/>
              </a:ext>
            </a:extLst>
          </p:cNvPr>
          <p:cNvSpPr txBox="1"/>
          <p:nvPr/>
        </p:nvSpPr>
        <p:spPr>
          <a:xfrm>
            <a:off x="10951565" y="4158327"/>
            <a:ext cx="115014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Users</a:t>
            </a:r>
          </a:p>
        </p:txBody>
      </p:sp>
      <p:sp>
        <p:nvSpPr>
          <p:cNvPr id="12" name="people_12" title="Icon of three people">
            <a:extLst>
              <a:ext uri="{FF2B5EF4-FFF2-40B4-BE49-F238E27FC236}">
                <a16:creationId xmlns:a16="http://schemas.microsoft.com/office/drawing/2014/main" id="{AA66C831-39D4-4582-8A8A-E6B529C0984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1312285" y="3657579"/>
            <a:ext cx="428704" cy="365760"/>
          </a:xfrm>
          <a:custGeom>
            <a:avLst/>
            <a:gdLst>
              <a:gd name="T0" fmla="*/ 110 w 349"/>
              <a:gd name="T1" fmla="*/ 142 h 296"/>
              <a:gd name="T2" fmla="*/ 174 w 349"/>
              <a:gd name="T3" fmla="*/ 78 h 296"/>
              <a:gd name="T4" fmla="*/ 238 w 349"/>
              <a:gd name="T5" fmla="*/ 142 h 296"/>
              <a:gd name="T6" fmla="*/ 174 w 349"/>
              <a:gd name="T7" fmla="*/ 206 h 296"/>
              <a:gd name="T8" fmla="*/ 110 w 349"/>
              <a:gd name="T9" fmla="*/ 142 h 296"/>
              <a:gd name="T10" fmla="*/ 264 w 349"/>
              <a:gd name="T11" fmla="*/ 296 h 296"/>
              <a:gd name="T12" fmla="*/ 174 w 349"/>
              <a:gd name="T13" fmla="*/ 207 h 296"/>
              <a:gd name="T14" fmla="*/ 85 w 349"/>
              <a:gd name="T15" fmla="*/ 296 h 296"/>
              <a:gd name="T16" fmla="*/ 56 w 349"/>
              <a:gd name="T17" fmla="*/ 80 h 296"/>
              <a:gd name="T18" fmla="*/ 96 w 349"/>
              <a:gd name="T19" fmla="*/ 40 h 296"/>
              <a:gd name="T20" fmla="*/ 56 w 349"/>
              <a:gd name="T21" fmla="*/ 0 h 296"/>
              <a:gd name="T22" fmla="*/ 16 w 349"/>
              <a:gd name="T23" fmla="*/ 40 h 296"/>
              <a:gd name="T24" fmla="*/ 56 w 349"/>
              <a:gd name="T25" fmla="*/ 80 h 296"/>
              <a:gd name="T26" fmla="*/ 111 w 349"/>
              <a:gd name="T27" fmla="*/ 136 h 296"/>
              <a:gd name="T28" fmla="*/ 56 w 349"/>
              <a:gd name="T29" fmla="*/ 81 h 296"/>
              <a:gd name="T30" fmla="*/ 0 w 349"/>
              <a:gd name="T31" fmla="*/ 136 h 296"/>
              <a:gd name="T32" fmla="*/ 293 w 349"/>
              <a:gd name="T33" fmla="*/ 80 h 296"/>
              <a:gd name="T34" fmla="*/ 333 w 349"/>
              <a:gd name="T35" fmla="*/ 40 h 296"/>
              <a:gd name="T36" fmla="*/ 293 w 349"/>
              <a:gd name="T37" fmla="*/ 0 h 296"/>
              <a:gd name="T38" fmla="*/ 253 w 349"/>
              <a:gd name="T39" fmla="*/ 40 h 296"/>
              <a:gd name="T40" fmla="*/ 293 w 349"/>
              <a:gd name="T41" fmla="*/ 80 h 296"/>
              <a:gd name="T42" fmla="*/ 349 w 349"/>
              <a:gd name="T43" fmla="*/ 136 h 296"/>
              <a:gd name="T44" fmla="*/ 293 w 349"/>
              <a:gd name="T45" fmla="*/ 81 h 296"/>
              <a:gd name="T46" fmla="*/ 237 w 349"/>
              <a:gd name="T47" fmla="*/ 136 h 2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349" h="296">
                <a:moveTo>
                  <a:pt x="110" y="142"/>
                </a:moveTo>
                <a:cubicBezTo>
                  <a:pt x="110" y="107"/>
                  <a:pt x="139" y="78"/>
                  <a:pt x="174" y="78"/>
                </a:cubicBezTo>
                <a:cubicBezTo>
                  <a:pt x="210" y="78"/>
                  <a:pt x="238" y="107"/>
                  <a:pt x="238" y="142"/>
                </a:cubicBezTo>
                <a:cubicBezTo>
                  <a:pt x="238" y="177"/>
                  <a:pt x="210" y="206"/>
                  <a:pt x="174" y="206"/>
                </a:cubicBezTo>
                <a:cubicBezTo>
                  <a:pt x="139" y="206"/>
                  <a:pt x="110" y="177"/>
                  <a:pt x="110" y="142"/>
                </a:cubicBezTo>
                <a:close/>
                <a:moveTo>
                  <a:pt x="264" y="296"/>
                </a:moveTo>
                <a:cubicBezTo>
                  <a:pt x="264" y="247"/>
                  <a:pt x="224" y="207"/>
                  <a:pt x="174" y="207"/>
                </a:cubicBezTo>
                <a:cubicBezTo>
                  <a:pt x="125" y="207"/>
                  <a:pt x="85" y="247"/>
                  <a:pt x="85" y="296"/>
                </a:cubicBezTo>
                <a:moveTo>
                  <a:pt x="56" y="80"/>
                </a:moveTo>
                <a:cubicBezTo>
                  <a:pt x="78" y="80"/>
                  <a:pt x="96" y="62"/>
                  <a:pt x="96" y="40"/>
                </a:cubicBezTo>
                <a:cubicBezTo>
                  <a:pt x="96" y="18"/>
                  <a:pt x="78" y="0"/>
                  <a:pt x="56" y="0"/>
                </a:cubicBezTo>
                <a:cubicBezTo>
                  <a:pt x="34" y="0"/>
                  <a:pt x="16" y="18"/>
                  <a:pt x="16" y="40"/>
                </a:cubicBezTo>
                <a:cubicBezTo>
                  <a:pt x="16" y="62"/>
                  <a:pt x="34" y="80"/>
                  <a:pt x="56" y="80"/>
                </a:cubicBezTo>
                <a:close/>
                <a:moveTo>
                  <a:pt x="111" y="136"/>
                </a:moveTo>
                <a:cubicBezTo>
                  <a:pt x="111" y="106"/>
                  <a:pt x="86" y="81"/>
                  <a:pt x="56" y="81"/>
                </a:cubicBezTo>
                <a:cubicBezTo>
                  <a:pt x="25" y="81"/>
                  <a:pt x="0" y="106"/>
                  <a:pt x="0" y="136"/>
                </a:cubicBezTo>
                <a:moveTo>
                  <a:pt x="293" y="80"/>
                </a:moveTo>
                <a:cubicBezTo>
                  <a:pt x="315" y="80"/>
                  <a:pt x="333" y="62"/>
                  <a:pt x="333" y="40"/>
                </a:cubicBezTo>
                <a:cubicBezTo>
                  <a:pt x="333" y="18"/>
                  <a:pt x="315" y="0"/>
                  <a:pt x="293" y="0"/>
                </a:cubicBezTo>
                <a:cubicBezTo>
                  <a:pt x="271" y="0"/>
                  <a:pt x="253" y="18"/>
                  <a:pt x="253" y="40"/>
                </a:cubicBezTo>
                <a:cubicBezTo>
                  <a:pt x="253" y="62"/>
                  <a:pt x="271" y="80"/>
                  <a:pt x="293" y="80"/>
                </a:cubicBezTo>
                <a:close/>
                <a:moveTo>
                  <a:pt x="349" y="136"/>
                </a:moveTo>
                <a:cubicBezTo>
                  <a:pt x="349" y="106"/>
                  <a:pt x="324" y="81"/>
                  <a:pt x="293" y="81"/>
                </a:cubicBezTo>
                <a:cubicBezTo>
                  <a:pt x="262" y="81"/>
                  <a:pt x="237" y="106"/>
                  <a:pt x="237" y="136"/>
                </a:cubicBezTo>
              </a:path>
            </a:pathLst>
          </a:custGeom>
          <a:noFill/>
          <a:ln w="15875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1EA773D-A718-4B7E-830C-9687A50D75B0}"/>
              </a:ext>
            </a:extLst>
          </p:cNvPr>
          <p:cNvSpPr/>
          <p:nvPr/>
        </p:nvSpPr>
        <p:spPr bwMode="auto">
          <a:xfrm>
            <a:off x="2167737" y="4413740"/>
            <a:ext cx="4166234" cy="1258064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l-NL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49AA497-6BDA-4715-92CE-52AF6D7FB8C2}"/>
              </a:ext>
            </a:extLst>
          </p:cNvPr>
          <p:cNvSpPr txBox="1"/>
          <p:nvPr/>
        </p:nvSpPr>
        <p:spPr>
          <a:xfrm>
            <a:off x="2248928" y="4472780"/>
            <a:ext cx="1192896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Compute</a:t>
            </a:r>
          </a:p>
        </p:txBody>
      </p: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8E9BEE2C-4084-473F-BC5F-19D8E2CF80D0}"/>
              </a:ext>
            </a:extLst>
          </p:cNvPr>
          <p:cNvCxnSpPr>
            <a:cxnSpLocks/>
            <a:stCxn id="103" idx="1"/>
            <a:endCxn id="195" idx="1"/>
          </p:cNvCxnSpPr>
          <p:nvPr/>
        </p:nvCxnSpPr>
        <p:spPr>
          <a:xfrm rot="10800000" flipH="1">
            <a:off x="333002" y="1779140"/>
            <a:ext cx="1858337" cy="3127067"/>
          </a:xfrm>
          <a:prstGeom prst="bentConnector3">
            <a:avLst>
              <a:gd name="adj1" fmla="val -12301"/>
            </a:avLst>
          </a:prstGeom>
          <a:ln>
            <a:solidFill>
              <a:schemeClr val="tx1">
                <a:lumMod val="25000"/>
                <a:lumOff val="75000"/>
              </a:schemeClr>
            </a:solidFill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20B6B7F0-266C-4FCA-94E2-B9279AACBAA5}"/>
              </a:ext>
            </a:extLst>
          </p:cNvPr>
          <p:cNvSpPr txBox="1"/>
          <p:nvPr/>
        </p:nvSpPr>
        <p:spPr>
          <a:xfrm>
            <a:off x="7145578" y="2785582"/>
            <a:ext cx="183322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Serving</a:t>
            </a:r>
            <a:endParaRPr kumimoji="0" lang="nl-NL" sz="1200" b="1" i="0" u="none" strike="noStrike" kern="1200" cap="none" spc="0" normalizeH="0" baseline="0" noProof="0">
              <a:ln>
                <a:noFill/>
              </a:ln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55CB9E54-4737-4A9A-8853-D3BD3C706BFF}"/>
              </a:ext>
            </a:extLst>
          </p:cNvPr>
          <p:cNvSpPr/>
          <p:nvPr/>
        </p:nvSpPr>
        <p:spPr bwMode="auto">
          <a:xfrm>
            <a:off x="2059593" y="5763994"/>
            <a:ext cx="3941155" cy="1013237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Storage</a:t>
            </a:r>
          </a:p>
        </p:txBody>
      </p:sp>
      <p:pic>
        <p:nvPicPr>
          <p:cNvPr id="76" name="Picture 4" descr="https://upload.wikimedia.org/wikipedia/commons/thumb/e/e0/Git-logo.svg/300px-Git-logo.svg.png">
            <a:extLst>
              <a:ext uri="{FF2B5EF4-FFF2-40B4-BE49-F238E27FC236}">
                <a16:creationId xmlns:a16="http://schemas.microsoft.com/office/drawing/2014/main" id="{A593590D-81D8-4C49-9AD9-7E10F379CA5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343"/>
          <a:stretch/>
        </p:blipFill>
        <p:spPr bwMode="auto">
          <a:xfrm>
            <a:off x="366451" y="3455520"/>
            <a:ext cx="328502" cy="313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8" name="TextBox 77">
            <a:extLst>
              <a:ext uri="{FF2B5EF4-FFF2-40B4-BE49-F238E27FC236}">
                <a16:creationId xmlns:a16="http://schemas.microsoft.com/office/drawing/2014/main" id="{BC129C9A-83BE-4EF2-A937-C70FF733D34F}"/>
              </a:ext>
            </a:extLst>
          </p:cNvPr>
          <p:cNvSpPr txBox="1"/>
          <p:nvPr/>
        </p:nvSpPr>
        <p:spPr>
          <a:xfrm>
            <a:off x="65226" y="1866132"/>
            <a:ext cx="115014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1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Integrate</a:t>
            </a:r>
          </a:p>
        </p:txBody>
      </p:sp>
      <p:sp>
        <p:nvSpPr>
          <p:cNvPr id="38" name="Cylinder 37">
            <a:extLst>
              <a:ext uri="{FF2B5EF4-FFF2-40B4-BE49-F238E27FC236}">
                <a16:creationId xmlns:a16="http://schemas.microsoft.com/office/drawing/2014/main" id="{C0B78F5F-A144-4D66-BCA0-C6FF9693F4E2}"/>
              </a:ext>
            </a:extLst>
          </p:cNvPr>
          <p:cNvSpPr/>
          <p:nvPr/>
        </p:nvSpPr>
        <p:spPr bwMode="auto">
          <a:xfrm rot="16200000">
            <a:off x="4280315" y="183418"/>
            <a:ext cx="376385" cy="3355000"/>
          </a:xfrm>
          <a:prstGeom prst="can">
            <a:avLst/>
          </a:prstGeom>
          <a:noFill/>
          <a:ln>
            <a:solidFill>
              <a:schemeClr val="accent1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Build Model (app)  (testing + validation)</a:t>
            </a:r>
          </a:p>
        </p:txBody>
      </p:sp>
      <p:sp>
        <p:nvSpPr>
          <p:cNvPr id="101" name="boy" title="Icon of a man">
            <a:extLst>
              <a:ext uri="{FF2B5EF4-FFF2-40B4-BE49-F238E27FC236}">
                <a16:creationId xmlns:a16="http://schemas.microsoft.com/office/drawing/2014/main" id="{E81FB6FE-3A53-4937-B49C-DF6D54288E6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21969" y="3242567"/>
            <a:ext cx="451873" cy="588151"/>
          </a:xfrm>
          <a:custGeom>
            <a:avLst/>
            <a:gdLst>
              <a:gd name="T0" fmla="*/ 27 w 261"/>
              <a:gd name="T1" fmla="*/ 104 h 339"/>
              <a:gd name="T2" fmla="*/ 131 w 261"/>
              <a:gd name="T3" fmla="*/ 0 h 339"/>
              <a:gd name="T4" fmla="*/ 235 w 261"/>
              <a:gd name="T5" fmla="*/ 104 h 339"/>
              <a:gd name="T6" fmla="*/ 131 w 261"/>
              <a:gd name="T7" fmla="*/ 208 h 339"/>
              <a:gd name="T8" fmla="*/ 27 w 261"/>
              <a:gd name="T9" fmla="*/ 104 h 339"/>
              <a:gd name="T10" fmla="*/ 261 w 261"/>
              <a:gd name="T11" fmla="*/ 339 h 339"/>
              <a:gd name="T12" fmla="*/ 131 w 261"/>
              <a:gd name="T13" fmla="*/ 208 h 339"/>
              <a:gd name="T14" fmla="*/ 0 w 261"/>
              <a:gd name="T15" fmla="*/ 339 h 339"/>
              <a:gd name="T16" fmla="*/ 74 w 261"/>
              <a:gd name="T17" fmla="*/ 221 h 339"/>
              <a:gd name="T18" fmla="*/ 131 w 261"/>
              <a:gd name="T19" fmla="*/ 274 h 339"/>
              <a:gd name="T20" fmla="*/ 187 w 261"/>
              <a:gd name="T21" fmla="*/ 221 h 3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61" h="339">
                <a:moveTo>
                  <a:pt x="27" y="104"/>
                </a:moveTo>
                <a:cubicBezTo>
                  <a:pt x="27" y="47"/>
                  <a:pt x="73" y="0"/>
                  <a:pt x="131" y="0"/>
                </a:cubicBezTo>
                <a:cubicBezTo>
                  <a:pt x="188" y="0"/>
                  <a:pt x="235" y="47"/>
                  <a:pt x="235" y="104"/>
                </a:cubicBezTo>
                <a:cubicBezTo>
                  <a:pt x="235" y="162"/>
                  <a:pt x="188" y="208"/>
                  <a:pt x="131" y="208"/>
                </a:cubicBezTo>
                <a:cubicBezTo>
                  <a:pt x="73" y="208"/>
                  <a:pt x="27" y="162"/>
                  <a:pt x="27" y="104"/>
                </a:cubicBezTo>
                <a:close/>
                <a:moveTo>
                  <a:pt x="261" y="339"/>
                </a:moveTo>
                <a:cubicBezTo>
                  <a:pt x="261" y="267"/>
                  <a:pt x="203" y="208"/>
                  <a:pt x="131" y="208"/>
                </a:cubicBezTo>
                <a:cubicBezTo>
                  <a:pt x="59" y="208"/>
                  <a:pt x="0" y="267"/>
                  <a:pt x="0" y="339"/>
                </a:cubicBezTo>
                <a:moveTo>
                  <a:pt x="74" y="221"/>
                </a:moveTo>
                <a:cubicBezTo>
                  <a:pt x="131" y="274"/>
                  <a:pt x="131" y="274"/>
                  <a:pt x="131" y="274"/>
                </a:cubicBezTo>
                <a:cubicBezTo>
                  <a:pt x="187" y="221"/>
                  <a:pt x="187" y="221"/>
                  <a:pt x="187" y="221"/>
                </a:cubicBezTo>
              </a:path>
            </a:pathLst>
          </a:custGeom>
          <a:noFill/>
          <a:ln w="15875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80AA809D-8056-460F-9AB8-F9E8EC593178}"/>
              </a:ext>
            </a:extLst>
          </p:cNvPr>
          <p:cNvSpPr txBox="1"/>
          <p:nvPr/>
        </p:nvSpPr>
        <p:spPr>
          <a:xfrm>
            <a:off x="309305" y="5211474"/>
            <a:ext cx="115014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Data Engineer</a:t>
            </a:r>
          </a:p>
        </p:txBody>
      </p:sp>
      <p:pic>
        <p:nvPicPr>
          <p:cNvPr id="103" name="Picture 4" descr="https://upload.wikimedia.org/wikipedia/commons/thumb/e/e0/Git-logo.svg/300px-Git-logo.svg.png">
            <a:extLst>
              <a:ext uri="{FF2B5EF4-FFF2-40B4-BE49-F238E27FC236}">
                <a16:creationId xmlns:a16="http://schemas.microsoft.com/office/drawing/2014/main" id="{484AAC98-AC68-4B0E-B3DB-466BA4C7E4E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343"/>
          <a:stretch/>
        </p:blipFill>
        <p:spPr bwMode="auto">
          <a:xfrm>
            <a:off x="333003" y="4749443"/>
            <a:ext cx="328502" cy="313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5" name="Straight Arrow Connector 104">
            <a:extLst>
              <a:ext uri="{FF2B5EF4-FFF2-40B4-BE49-F238E27FC236}">
                <a16:creationId xmlns:a16="http://schemas.microsoft.com/office/drawing/2014/main" id="{7E273783-044C-41D8-9776-8CF4A6D62A6D}"/>
              </a:ext>
            </a:extLst>
          </p:cNvPr>
          <p:cNvCxnSpPr>
            <a:cxnSpLocks/>
            <a:stCxn id="8" idx="2"/>
            <a:endCxn id="15" idx="1"/>
          </p:cNvCxnSpPr>
          <p:nvPr/>
        </p:nvCxnSpPr>
        <p:spPr>
          <a:xfrm>
            <a:off x="1021348" y="4745549"/>
            <a:ext cx="1146389" cy="297223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TextBox 107">
            <a:extLst>
              <a:ext uri="{FF2B5EF4-FFF2-40B4-BE49-F238E27FC236}">
                <a16:creationId xmlns:a16="http://schemas.microsoft.com/office/drawing/2014/main" id="{AE635D1A-78A3-45DB-93F2-48BC55968114}"/>
              </a:ext>
            </a:extLst>
          </p:cNvPr>
          <p:cNvSpPr txBox="1"/>
          <p:nvPr/>
        </p:nvSpPr>
        <p:spPr>
          <a:xfrm>
            <a:off x="948825" y="5693478"/>
            <a:ext cx="115014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1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Deploy (IaC)</a:t>
            </a:r>
          </a:p>
        </p:txBody>
      </p:sp>
      <p:cxnSp>
        <p:nvCxnSpPr>
          <p:cNvPr id="113" name="Straight Arrow Connector 112">
            <a:extLst>
              <a:ext uri="{FF2B5EF4-FFF2-40B4-BE49-F238E27FC236}">
                <a16:creationId xmlns:a16="http://schemas.microsoft.com/office/drawing/2014/main" id="{C82F4CDB-D809-4A1E-9142-2D86D2FEA26C}"/>
              </a:ext>
            </a:extLst>
          </p:cNvPr>
          <p:cNvCxnSpPr>
            <a:cxnSpLocks/>
            <a:stCxn id="8" idx="2"/>
            <a:endCxn id="74" idx="1"/>
          </p:cNvCxnSpPr>
          <p:nvPr/>
        </p:nvCxnSpPr>
        <p:spPr>
          <a:xfrm>
            <a:off x="1021348" y="4745549"/>
            <a:ext cx="1038245" cy="1525064"/>
          </a:xfrm>
          <a:prstGeom prst="bentConnector3">
            <a:avLst>
              <a:gd name="adj1" fmla="val 55592"/>
            </a:avLst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Arrow Connector 49">
            <a:extLst>
              <a:ext uri="{FF2B5EF4-FFF2-40B4-BE49-F238E27FC236}">
                <a16:creationId xmlns:a16="http://schemas.microsoft.com/office/drawing/2014/main" id="{89BB49C7-8989-4E31-915A-F7B66B869E86}"/>
              </a:ext>
            </a:extLst>
          </p:cNvPr>
          <p:cNvCxnSpPr>
            <a:cxnSpLocks/>
            <a:stCxn id="76" idx="1"/>
            <a:endCxn id="195" idx="1"/>
          </p:cNvCxnSpPr>
          <p:nvPr/>
        </p:nvCxnSpPr>
        <p:spPr>
          <a:xfrm rot="10800000" flipH="1">
            <a:off x="366450" y="1779139"/>
            <a:ext cx="1824889" cy="1833144"/>
          </a:xfrm>
          <a:prstGeom prst="bentConnector3">
            <a:avLst>
              <a:gd name="adj1" fmla="val -13701"/>
            </a:avLst>
          </a:prstGeom>
          <a:ln>
            <a:solidFill>
              <a:schemeClr val="tx1">
                <a:lumMod val="25000"/>
                <a:lumOff val="75000"/>
              </a:schemeClr>
            </a:solidFill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tangle 169">
            <a:extLst>
              <a:ext uri="{FF2B5EF4-FFF2-40B4-BE49-F238E27FC236}">
                <a16:creationId xmlns:a16="http://schemas.microsoft.com/office/drawing/2014/main" id="{62FA189C-1341-4F12-A2D7-82F82CB2CC04}"/>
              </a:ext>
            </a:extLst>
          </p:cNvPr>
          <p:cNvSpPr/>
          <p:nvPr/>
        </p:nvSpPr>
        <p:spPr bwMode="auto">
          <a:xfrm>
            <a:off x="7032975" y="1156392"/>
            <a:ext cx="4064340" cy="1400001"/>
          </a:xfrm>
          <a:prstGeom prst="rect">
            <a:avLst/>
          </a:prstGeom>
          <a:solidFill>
            <a:srgbClr val="C6C6C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Management &amp; </a:t>
            </a:r>
            <a:r>
              <a:rPr kumimoji="0" lang="nl-NL" sz="1200" b="1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Orchestration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200" b="1" i="0" u="none" strike="noStrike" kern="1200" cap="none" spc="0" normalizeH="0" baseline="0" noProof="0">
              <a:ln>
                <a:noFill/>
              </a:ln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pic>
        <p:nvPicPr>
          <p:cNvPr id="195" name="Picture 4" descr="https://upload.wikimedia.org/wikipedia/commons/thumb/e/e0/Git-logo.svg/300px-Git-logo.svg.png">
            <a:extLst>
              <a:ext uri="{FF2B5EF4-FFF2-40B4-BE49-F238E27FC236}">
                <a16:creationId xmlns:a16="http://schemas.microsoft.com/office/drawing/2014/main" id="{447BD2F4-2E05-4FFC-BC88-6C7366205AA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343"/>
          <a:stretch/>
        </p:blipFill>
        <p:spPr bwMode="auto">
          <a:xfrm>
            <a:off x="2191340" y="1622376"/>
            <a:ext cx="328502" cy="313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6" name="Cylinder 205">
            <a:extLst>
              <a:ext uri="{FF2B5EF4-FFF2-40B4-BE49-F238E27FC236}">
                <a16:creationId xmlns:a16="http://schemas.microsoft.com/office/drawing/2014/main" id="{D711E015-B34B-4D3F-B38F-C15AB64B45BF}"/>
              </a:ext>
            </a:extLst>
          </p:cNvPr>
          <p:cNvSpPr/>
          <p:nvPr/>
        </p:nvSpPr>
        <p:spPr bwMode="auto">
          <a:xfrm rot="16200000">
            <a:off x="4280316" y="1106528"/>
            <a:ext cx="376385" cy="3355000"/>
          </a:xfrm>
          <a:prstGeom prst="can">
            <a:avLst/>
          </a:prstGeom>
          <a:noFill/>
          <a:ln>
            <a:solidFill>
              <a:schemeClr val="accent1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Deploy Resources</a:t>
            </a:r>
          </a:p>
        </p:txBody>
      </p:sp>
      <p:sp>
        <p:nvSpPr>
          <p:cNvPr id="207" name="Cylinder 206">
            <a:extLst>
              <a:ext uri="{FF2B5EF4-FFF2-40B4-BE49-F238E27FC236}">
                <a16:creationId xmlns:a16="http://schemas.microsoft.com/office/drawing/2014/main" id="{55BC9D4C-039B-4967-9CB6-4501C2A17AD7}"/>
              </a:ext>
            </a:extLst>
          </p:cNvPr>
          <p:cNvSpPr/>
          <p:nvPr/>
        </p:nvSpPr>
        <p:spPr bwMode="auto">
          <a:xfrm rot="16200000">
            <a:off x="4278102" y="645285"/>
            <a:ext cx="376385" cy="3355000"/>
          </a:xfrm>
          <a:prstGeom prst="can">
            <a:avLst/>
          </a:prstGeom>
          <a:noFill/>
          <a:ln>
            <a:solidFill>
              <a:schemeClr val="accent1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Deploy Model (app)</a:t>
            </a:r>
          </a:p>
        </p:txBody>
      </p:sp>
      <p:cxnSp>
        <p:nvCxnSpPr>
          <p:cNvPr id="214" name="Straight Arrow Connector 104">
            <a:extLst>
              <a:ext uri="{FF2B5EF4-FFF2-40B4-BE49-F238E27FC236}">
                <a16:creationId xmlns:a16="http://schemas.microsoft.com/office/drawing/2014/main" id="{6E7D9118-B4C1-4CF9-96F6-7AE36C41C662}"/>
              </a:ext>
            </a:extLst>
          </p:cNvPr>
          <p:cNvCxnSpPr>
            <a:cxnSpLocks/>
            <a:stCxn id="101" idx="2"/>
          </p:cNvCxnSpPr>
          <p:nvPr/>
        </p:nvCxnSpPr>
        <p:spPr>
          <a:xfrm>
            <a:off x="1028828" y="3423003"/>
            <a:ext cx="1011482" cy="402942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4" name="Rectangle 233">
            <a:extLst>
              <a:ext uri="{FF2B5EF4-FFF2-40B4-BE49-F238E27FC236}">
                <a16:creationId xmlns:a16="http://schemas.microsoft.com/office/drawing/2014/main" id="{5E7B57AB-E9A6-4902-B8D3-F5DAF2708997}"/>
              </a:ext>
            </a:extLst>
          </p:cNvPr>
          <p:cNvSpPr/>
          <p:nvPr/>
        </p:nvSpPr>
        <p:spPr bwMode="auto">
          <a:xfrm flipH="1">
            <a:off x="7053964" y="4948331"/>
            <a:ext cx="4043351" cy="1828901"/>
          </a:xfrm>
          <a:prstGeom prst="rect">
            <a:avLst/>
          </a:prstGeom>
          <a:solidFill>
            <a:srgbClr val="C6C6C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 err="1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Logging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 &amp; Monitoring</a:t>
            </a:r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A5C9D0A1-796A-4C55-A80A-1ADF55BBA350}"/>
              </a:ext>
            </a:extLst>
          </p:cNvPr>
          <p:cNvSpPr/>
          <p:nvPr/>
        </p:nvSpPr>
        <p:spPr bwMode="auto">
          <a:xfrm>
            <a:off x="7122870" y="3078037"/>
            <a:ext cx="2964559" cy="727583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Real-Time</a:t>
            </a:r>
          </a:p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Azure </a:t>
            </a:r>
            <a:r>
              <a:rPr kumimoji="0" lang="nl-NL" sz="1100" b="0" i="0" u="none" strike="noStrike" kern="1200" cap="none" spc="0" normalizeH="0" baseline="0" noProof="0" err="1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Kubernetes</a:t>
            </a: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 Service</a:t>
            </a:r>
          </a:p>
        </p:txBody>
      </p:sp>
      <p:cxnSp>
        <p:nvCxnSpPr>
          <p:cNvPr id="177" name="Straight Arrow Connector 176">
            <a:extLst>
              <a:ext uri="{FF2B5EF4-FFF2-40B4-BE49-F238E27FC236}">
                <a16:creationId xmlns:a16="http://schemas.microsoft.com/office/drawing/2014/main" id="{5E179708-37FD-42C4-8C81-AAFF83BBABD4}"/>
              </a:ext>
            </a:extLst>
          </p:cNvPr>
          <p:cNvCxnSpPr>
            <a:cxnSpLocks/>
          </p:cNvCxnSpPr>
          <p:nvPr/>
        </p:nvCxnSpPr>
        <p:spPr>
          <a:xfrm flipH="1">
            <a:off x="6492517" y="6012566"/>
            <a:ext cx="536949" cy="0"/>
          </a:xfrm>
          <a:prstGeom prst="straightConnector1">
            <a:avLst/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0" name="Rectangle 219">
            <a:extLst>
              <a:ext uri="{FF2B5EF4-FFF2-40B4-BE49-F238E27FC236}">
                <a16:creationId xmlns:a16="http://schemas.microsoft.com/office/drawing/2014/main" id="{C8262075-A238-4A0B-A260-2995385D8E59}"/>
              </a:ext>
            </a:extLst>
          </p:cNvPr>
          <p:cNvSpPr/>
          <p:nvPr/>
        </p:nvSpPr>
        <p:spPr bwMode="auto">
          <a:xfrm>
            <a:off x="7176596" y="6277756"/>
            <a:ext cx="3792039" cy="407663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Application Performance Monitoring</a:t>
            </a:r>
          </a:p>
        </p:txBody>
      </p:sp>
      <p:sp>
        <p:nvSpPr>
          <p:cNvPr id="228" name="Rectangle 227">
            <a:extLst>
              <a:ext uri="{FF2B5EF4-FFF2-40B4-BE49-F238E27FC236}">
                <a16:creationId xmlns:a16="http://schemas.microsoft.com/office/drawing/2014/main" id="{61EF7A6B-3322-4338-80A5-2095D066438B}"/>
              </a:ext>
            </a:extLst>
          </p:cNvPr>
          <p:cNvSpPr/>
          <p:nvPr/>
        </p:nvSpPr>
        <p:spPr bwMode="auto">
          <a:xfrm>
            <a:off x="3529574" y="3732777"/>
            <a:ext cx="2804395" cy="596531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Azure ML </a:t>
            </a:r>
            <a:r>
              <a:rPr kumimoji="0" lang="nl-NL" sz="1100" b="0" i="0" u="none" strike="noStrike" kern="1200" cap="none" spc="0" normalizeH="0" baseline="0" noProof="0" err="1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Experiments</a:t>
            </a:r>
            <a:endParaRPr kumimoji="0" lang="nl-NL" sz="1100" b="0" i="0" u="none" strike="noStrike" kern="120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sp>
        <p:nvSpPr>
          <p:cNvPr id="229" name="Rectangle 228">
            <a:extLst>
              <a:ext uri="{FF2B5EF4-FFF2-40B4-BE49-F238E27FC236}">
                <a16:creationId xmlns:a16="http://schemas.microsoft.com/office/drawing/2014/main" id="{860E933D-05A0-4A73-A401-D431B4C1BF91}"/>
              </a:ext>
            </a:extLst>
          </p:cNvPr>
          <p:cNvSpPr/>
          <p:nvPr/>
        </p:nvSpPr>
        <p:spPr bwMode="auto">
          <a:xfrm>
            <a:off x="2167736" y="3727234"/>
            <a:ext cx="1274088" cy="593089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Docker + Conda Env.</a:t>
            </a:r>
          </a:p>
        </p:txBody>
      </p:sp>
      <p:sp>
        <p:nvSpPr>
          <p:cNvPr id="243" name="Rectangle 242">
            <a:extLst>
              <a:ext uri="{FF2B5EF4-FFF2-40B4-BE49-F238E27FC236}">
                <a16:creationId xmlns:a16="http://schemas.microsoft.com/office/drawing/2014/main" id="{FB266EC9-D3D7-495B-9CF5-4BEA6D5CE876}"/>
              </a:ext>
            </a:extLst>
          </p:cNvPr>
          <p:cNvSpPr/>
          <p:nvPr/>
        </p:nvSpPr>
        <p:spPr bwMode="auto">
          <a:xfrm>
            <a:off x="7185427" y="5330406"/>
            <a:ext cx="3792039" cy="407663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Model / Data Monitoring</a:t>
            </a:r>
          </a:p>
        </p:txBody>
      </p:sp>
      <p:sp>
        <p:nvSpPr>
          <p:cNvPr id="247" name="Rectangle 246">
            <a:extLst>
              <a:ext uri="{FF2B5EF4-FFF2-40B4-BE49-F238E27FC236}">
                <a16:creationId xmlns:a16="http://schemas.microsoft.com/office/drawing/2014/main" id="{FDE35084-D90B-4600-A866-7EA845A26209}"/>
              </a:ext>
            </a:extLst>
          </p:cNvPr>
          <p:cNvSpPr/>
          <p:nvPr/>
        </p:nvSpPr>
        <p:spPr bwMode="auto">
          <a:xfrm>
            <a:off x="7122870" y="3895850"/>
            <a:ext cx="2964559" cy="802037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Batch</a:t>
            </a:r>
          </a:p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Azure ML Pipelines</a:t>
            </a:r>
          </a:p>
        </p:txBody>
      </p:sp>
      <p:sp>
        <p:nvSpPr>
          <p:cNvPr id="248" name="Rectangle 247">
            <a:extLst>
              <a:ext uri="{FF2B5EF4-FFF2-40B4-BE49-F238E27FC236}">
                <a16:creationId xmlns:a16="http://schemas.microsoft.com/office/drawing/2014/main" id="{83AC2C9B-3CA8-43C1-9ED1-E795501011B7}"/>
              </a:ext>
            </a:extLst>
          </p:cNvPr>
          <p:cNvSpPr/>
          <p:nvPr/>
        </p:nvSpPr>
        <p:spPr bwMode="auto">
          <a:xfrm>
            <a:off x="7177399" y="5808735"/>
            <a:ext cx="3792039" cy="407663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Data Collection</a:t>
            </a:r>
          </a:p>
        </p:txBody>
      </p:sp>
      <p:cxnSp>
        <p:nvCxnSpPr>
          <p:cNvPr id="249" name="Straight Arrow Connector 248">
            <a:extLst>
              <a:ext uri="{FF2B5EF4-FFF2-40B4-BE49-F238E27FC236}">
                <a16:creationId xmlns:a16="http://schemas.microsoft.com/office/drawing/2014/main" id="{2DB74D2A-E152-4E54-94DD-8FE2F7DB320E}"/>
              </a:ext>
            </a:extLst>
          </p:cNvPr>
          <p:cNvCxnSpPr>
            <a:cxnSpLocks/>
          </p:cNvCxnSpPr>
          <p:nvPr/>
        </p:nvCxnSpPr>
        <p:spPr>
          <a:xfrm flipV="1">
            <a:off x="4304360" y="3050075"/>
            <a:ext cx="0" cy="314062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0" name="Straight Arrow Connector 249">
            <a:extLst>
              <a:ext uri="{FF2B5EF4-FFF2-40B4-BE49-F238E27FC236}">
                <a16:creationId xmlns:a16="http://schemas.microsoft.com/office/drawing/2014/main" id="{AE19B3B6-4AF2-4A6F-A6BA-93462AD7120B}"/>
              </a:ext>
            </a:extLst>
          </p:cNvPr>
          <p:cNvCxnSpPr>
            <a:cxnSpLocks/>
            <a:stCxn id="243" idx="1"/>
            <a:endCxn id="210" idx="3"/>
          </p:cNvCxnSpPr>
          <p:nvPr/>
        </p:nvCxnSpPr>
        <p:spPr>
          <a:xfrm rot="10800000">
            <a:off x="6453821" y="5050382"/>
            <a:ext cx="731607" cy="483857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4" name="Straight Arrow Connector 249">
            <a:extLst>
              <a:ext uri="{FF2B5EF4-FFF2-40B4-BE49-F238E27FC236}">
                <a16:creationId xmlns:a16="http://schemas.microsoft.com/office/drawing/2014/main" id="{FACC5604-40D0-4B58-83C5-5EB1CC88393E}"/>
              </a:ext>
            </a:extLst>
          </p:cNvPr>
          <p:cNvCxnSpPr>
            <a:cxnSpLocks/>
            <a:stCxn id="228" idx="3"/>
            <a:endCxn id="63" idx="3"/>
          </p:cNvCxnSpPr>
          <p:nvPr/>
        </p:nvCxnSpPr>
        <p:spPr>
          <a:xfrm flipV="1">
            <a:off x="6333969" y="3731747"/>
            <a:ext cx="711289" cy="299296"/>
          </a:xfrm>
          <a:prstGeom prst="bentConnector3">
            <a:avLst>
              <a:gd name="adj1" fmla="val 55102"/>
            </a:avLst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Straight Arrow Connector 249">
            <a:extLst>
              <a:ext uri="{FF2B5EF4-FFF2-40B4-BE49-F238E27FC236}">
                <a16:creationId xmlns:a16="http://schemas.microsoft.com/office/drawing/2014/main" id="{66367BF8-AF79-48F2-8042-933A5C3F09ED}"/>
              </a:ext>
            </a:extLst>
          </p:cNvPr>
          <p:cNvCxnSpPr>
            <a:cxnSpLocks/>
            <a:stCxn id="228" idx="3"/>
            <a:endCxn id="170" idx="1"/>
          </p:cNvCxnSpPr>
          <p:nvPr/>
        </p:nvCxnSpPr>
        <p:spPr>
          <a:xfrm flipV="1">
            <a:off x="6333969" y="1856393"/>
            <a:ext cx="699006" cy="2174650"/>
          </a:xfrm>
          <a:prstGeom prst="bentConnector3">
            <a:avLst>
              <a:gd name="adj1" fmla="val 56229"/>
            </a:avLst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5" name="TextBox 284">
            <a:extLst>
              <a:ext uri="{FF2B5EF4-FFF2-40B4-BE49-F238E27FC236}">
                <a16:creationId xmlns:a16="http://schemas.microsoft.com/office/drawing/2014/main" id="{B225BB5A-38F8-425F-A4C9-2C5FAFBE5646}"/>
              </a:ext>
            </a:extLst>
          </p:cNvPr>
          <p:cNvSpPr txBox="1"/>
          <p:nvPr/>
        </p:nvSpPr>
        <p:spPr>
          <a:xfrm>
            <a:off x="6259910" y="5170676"/>
            <a:ext cx="75431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1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Retrain</a:t>
            </a:r>
          </a:p>
        </p:txBody>
      </p:sp>
      <p:sp>
        <p:nvSpPr>
          <p:cNvPr id="286" name="TextBox 285">
            <a:extLst>
              <a:ext uri="{FF2B5EF4-FFF2-40B4-BE49-F238E27FC236}">
                <a16:creationId xmlns:a16="http://schemas.microsoft.com/office/drawing/2014/main" id="{4C4FFECB-0F84-4008-8F19-BCB2C927D050}"/>
              </a:ext>
            </a:extLst>
          </p:cNvPr>
          <p:cNvSpPr txBox="1"/>
          <p:nvPr/>
        </p:nvSpPr>
        <p:spPr>
          <a:xfrm>
            <a:off x="6238139" y="3322103"/>
            <a:ext cx="75431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1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Register &amp; Deploy</a:t>
            </a:r>
          </a:p>
        </p:txBody>
      </p:sp>
      <p:cxnSp>
        <p:nvCxnSpPr>
          <p:cNvPr id="290" name="Straight Arrow Connector 104">
            <a:extLst>
              <a:ext uri="{FF2B5EF4-FFF2-40B4-BE49-F238E27FC236}">
                <a16:creationId xmlns:a16="http://schemas.microsoft.com/office/drawing/2014/main" id="{406225F6-6C0A-45E1-AED0-69A673591B67}"/>
              </a:ext>
            </a:extLst>
          </p:cNvPr>
          <p:cNvCxnSpPr>
            <a:cxnSpLocks/>
            <a:stCxn id="51" idx="3"/>
            <a:endCxn id="12" idx="15"/>
          </p:cNvCxnSpPr>
          <p:nvPr/>
        </p:nvCxnSpPr>
        <p:spPr>
          <a:xfrm flipV="1">
            <a:off x="10857285" y="3825631"/>
            <a:ext cx="455000" cy="4594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" name="Picture 2" descr="https://azure.microsoft.com/svghandler/api-management/?width=600&amp;amp;height=315">
            <a:extLst>
              <a:ext uri="{FF2B5EF4-FFF2-40B4-BE49-F238E27FC236}">
                <a16:creationId xmlns:a16="http://schemas.microsoft.com/office/drawing/2014/main" id="{E2D16835-DA52-4C09-9788-CE1418DC4A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77108" y="3628550"/>
            <a:ext cx="480177" cy="403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2" descr="https://stephanefrechette.com/wp-content/uploads/2018/04/Azure-Container-Service_COLOR.png">
            <a:extLst>
              <a:ext uri="{FF2B5EF4-FFF2-40B4-BE49-F238E27FC236}">
                <a16:creationId xmlns:a16="http://schemas.microsoft.com/office/drawing/2014/main" id="{6E10C2B4-16D7-4AAF-B098-F04B4BA3CE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57716" y="3095439"/>
            <a:ext cx="714608" cy="714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6" descr="https://azure.microsoft.com/svghandler/databricks/?width=600&amp;amp;height=315">
            <a:extLst>
              <a:ext uri="{FF2B5EF4-FFF2-40B4-BE49-F238E27FC236}">
                <a16:creationId xmlns:a16="http://schemas.microsoft.com/office/drawing/2014/main" id="{5567AFF1-8F73-455B-8ECF-B9335582C6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7467" y="4816258"/>
            <a:ext cx="442817" cy="488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566B7508-FBE3-41EA-966E-2C084EBF9385}"/>
              </a:ext>
            </a:extLst>
          </p:cNvPr>
          <p:cNvSpPr txBox="1"/>
          <p:nvPr/>
        </p:nvSpPr>
        <p:spPr>
          <a:xfrm>
            <a:off x="3343697" y="5338015"/>
            <a:ext cx="87035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Databricks</a:t>
            </a:r>
          </a:p>
        </p:txBody>
      </p:sp>
      <p:pic>
        <p:nvPicPr>
          <p:cNvPr id="60" name="Graphic 59">
            <a:extLst>
              <a:ext uri="{FF2B5EF4-FFF2-40B4-BE49-F238E27FC236}">
                <a16:creationId xmlns:a16="http://schemas.microsoft.com/office/drawing/2014/main" id="{8D9E326D-93C6-477F-B2E6-09243E55F22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481523" y="4850423"/>
            <a:ext cx="424429" cy="424429"/>
          </a:xfrm>
          <a:prstGeom prst="rect">
            <a:avLst/>
          </a:prstGeom>
        </p:spPr>
      </p:pic>
      <p:sp>
        <p:nvSpPr>
          <p:cNvPr id="61" name="TextBox 60">
            <a:extLst>
              <a:ext uri="{FF2B5EF4-FFF2-40B4-BE49-F238E27FC236}">
                <a16:creationId xmlns:a16="http://schemas.microsoft.com/office/drawing/2014/main" id="{CB88C010-1381-48C3-82A0-1F3040DD7EAC}"/>
              </a:ext>
            </a:extLst>
          </p:cNvPr>
          <p:cNvSpPr txBox="1"/>
          <p:nvPr/>
        </p:nvSpPr>
        <p:spPr>
          <a:xfrm>
            <a:off x="2124172" y="5360245"/>
            <a:ext cx="115014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ML Compute</a:t>
            </a:r>
          </a:p>
        </p:txBody>
      </p:sp>
      <p:pic>
        <p:nvPicPr>
          <p:cNvPr id="62" name="Picture 61">
            <a:extLst>
              <a:ext uri="{FF2B5EF4-FFF2-40B4-BE49-F238E27FC236}">
                <a16:creationId xmlns:a16="http://schemas.microsoft.com/office/drawing/2014/main" id="{8A88272F-A7E0-43B9-AF41-F11F1ADFF6C2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596436" y="4831044"/>
            <a:ext cx="416529" cy="416529"/>
          </a:xfrm>
          <a:prstGeom prst="rect">
            <a:avLst/>
          </a:prstGeom>
        </p:spPr>
      </p:pic>
      <p:sp>
        <p:nvSpPr>
          <p:cNvPr id="65" name="TextBox 64">
            <a:extLst>
              <a:ext uri="{FF2B5EF4-FFF2-40B4-BE49-F238E27FC236}">
                <a16:creationId xmlns:a16="http://schemas.microsoft.com/office/drawing/2014/main" id="{01645F94-A699-4EC5-91BC-2A6D901709AA}"/>
              </a:ext>
            </a:extLst>
          </p:cNvPr>
          <p:cNvSpPr txBox="1"/>
          <p:nvPr/>
        </p:nvSpPr>
        <p:spPr>
          <a:xfrm>
            <a:off x="4385473" y="5335112"/>
            <a:ext cx="142749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Other ML Compute ..</a:t>
            </a:r>
          </a:p>
        </p:txBody>
      </p:sp>
      <p:pic>
        <p:nvPicPr>
          <p:cNvPr id="66" name="Graphic 65">
            <a:extLst>
              <a:ext uri="{FF2B5EF4-FFF2-40B4-BE49-F238E27FC236}">
                <a16:creationId xmlns:a16="http://schemas.microsoft.com/office/drawing/2014/main" id="{A93385A3-E5E8-4AC4-9107-8903C5DA2BC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020706" y="3349049"/>
            <a:ext cx="325539" cy="325539"/>
          </a:xfrm>
          <a:prstGeom prst="rect">
            <a:avLst/>
          </a:prstGeom>
        </p:spPr>
      </p:pic>
      <p:pic>
        <p:nvPicPr>
          <p:cNvPr id="68" name="Graphic 67">
            <a:extLst>
              <a:ext uri="{FF2B5EF4-FFF2-40B4-BE49-F238E27FC236}">
                <a16:creationId xmlns:a16="http://schemas.microsoft.com/office/drawing/2014/main" id="{7216118A-8ED6-4033-9BE5-BBE97BC1BFB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325127" y="1636963"/>
            <a:ext cx="568791" cy="568791"/>
          </a:xfrm>
          <a:prstGeom prst="rect">
            <a:avLst/>
          </a:prstGeom>
        </p:spPr>
      </p:pic>
      <p:pic>
        <p:nvPicPr>
          <p:cNvPr id="69" name="Picture 2" descr="https://azure.microsoft.com/svghandler/api-management/?width=600&amp;amp;height=315">
            <a:extLst>
              <a:ext uri="{FF2B5EF4-FFF2-40B4-BE49-F238E27FC236}">
                <a16:creationId xmlns:a16="http://schemas.microsoft.com/office/drawing/2014/main" id="{9DFF7FE9-1FCB-4C28-B454-46689455AE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0426" y="1746419"/>
            <a:ext cx="561295" cy="471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4" descr="https://azure.microsoft.com/svghandler/data-factory/?width=600&amp;amp;height=315">
            <a:extLst>
              <a:ext uri="{FF2B5EF4-FFF2-40B4-BE49-F238E27FC236}">
                <a16:creationId xmlns:a16="http://schemas.microsoft.com/office/drawing/2014/main" id="{BF035A34-80D8-488A-9373-FD282CC5EC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0299" y="1651011"/>
            <a:ext cx="568791" cy="5668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2" name="TextBox 71">
            <a:extLst>
              <a:ext uri="{FF2B5EF4-FFF2-40B4-BE49-F238E27FC236}">
                <a16:creationId xmlns:a16="http://schemas.microsoft.com/office/drawing/2014/main" id="{2E5ACA43-C424-4A0C-992F-39815E7D64E8}"/>
              </a:ext>
            </a:extLst>
          </p:cNvPr>
          <p:cNvSpPr txBox="1"/>
          <p:nvPr/>
        </p:nvSpPr>
        <p:spPr>
          <a:xfrm>
            <a:off x="9938465" y="2302524"/>
            <a:ext cx="115014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Data Factory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66B6E566-3BB6-4894-B451-E1D60426B74F}"/>
              </a:ext>
            </a:extLst>
          </p:cNvPr>
          <p:cNvSpPr txBox="1"/>
          <p:nvPr/>
        </p:nvSpPr>
        <p:spPr>
          <a:xfrm>
            <a:off x="8489230" y="2281581"/>
            <a:ext cx="115014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API Management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C7A28621-1EEB-4CE5-AD61-C278D29699E6}"/>
              </a:ext>
            </a:extLst>
          </p:cNvPr>
          <p:cNvSpPr txBox="1"/>
          <p:nvPr/>
        </p:nvSpPr>
        <p:spPr>
          <a:xfrm>
            <a:off x="7059978" y="2282496"/>
            <a:ext cx="115014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ML </a:t>
            </a:r>
            <a:r>
              <a:rPr kumimoji="0" lang="nl-NL" sz="1200" b="1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Workspace</a:t>
            </a:r>
            <a:endParaRPr kumimoji="0" lang="nl-NL" sz="1200" b="1" i="0" u="none" strike="noStrike" kern="1200" cap="none" spc="0" normalizeH="0" baseline="0" noProof="0">
              <a:ln>
                <a:noFill/>
              </a:ln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pic>
        <p:nvPicPr>
          <p:cNvPr id="77" name="Graphic 76">
            <a:extLst>
              <a:ext uri="{FF2B5EF4-FFF2-40B4-BE49-F238E27FC236}">
                <a16:creationId xmlns:a16="http://schemas.microsoft.com/office/drawing/2014/main" id="{4EC616A1-8569-4B08-8201-29743E07691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402805" y="4101437"/>
            <a:ext cx="424429" cy="424429"/>
          </a:xfrm>
          <a:prstGeom prst="rect">
            <a:avLst/>
          </a:prstGeom>
        </p:spPr>
      </p:pic>
      <p:pic>
        <p:nvPicPr>
          <p:cNvPr id="79" name="Picture 78">
            <a:extLst>
              <a:ext uri="{FF2B5EF4-FFF2-40B4-BE49-F238E27FC236}">
                <a16:creationId xmlns:a16="http://schemas.microsoft.com/office/drawing/2014/main" id="{D26077F4-CA22-463B-842E-06072DB03D8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238139" y="469666"/>
            <a:ext cx="455519" cy="455519"/>
          </a:xfrm>
          <a:prstGeom prst="rect">
            <a:avLst/>
          </a:prstGeom>
        </p:spPr>
      </p:pic>
      <p:sp>
        <p:nvSpPr>
          <p:cNvPr id="80" name="TextBox 79">
            <a:extLst>
              <a:ext uri="{FF2B5EF4-FFF2-40B4-BE49-F238E27FC236}">
                <a16:creationId xmlns:a16="http://schemas.microsoft.com/office/drawing/2014/main" id="{D752FB54-BEF4-4686-8F74-EB10E58A4DB6}"/>
              </a:ext>
            </a:extLst>
          </p:cNvPr>
          <p:cNvSpPr txBox="1"/>
          <p:nvPr/>
        </p:nvSpPr>
        <p:spPr>
          <a:xfrm>
            <a:off x="5952126" y="934089"/>
            <a:ext cx="100338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Azure DevOps</a:t>
            </a:r>
          </a:p>
        </p:txBody>
      </p:sp>
      <p:pic>
        <p:nvPicPr>
          <p:cNvPr id="81" name="Graphic 80">
            <a:extLst>
              <a:ext uri="{FF2B5EF4-FFF2-40B4-BE49-F238E27FC236}">
                <a16:creationId xmlns:a16="http://schemas.microsoft.com/office/drawing/2014/main" id="{7BC9EBFF-6AE6-4C83-9914-E9E940D0023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272479" y="5556534"/>
            <a:ext cx="424429" cy="424429"/>
          </a:xfrm>
          <a:prstGeom prst="rect">
            <a:avLst/>
          </a:prstGeom>
        </p:spPr>
      </p:pic>
      <p:pic>
        <p:nvPicPr>
          <p:cNvPr id="3074" name="Picture 2" descr="https://azure.microsoft.com/svghandler/application-insights/?width=600&amp;amp;height=315">
            <a:extLst>
              <a:ext uri="{FF2B5EF4-FFF2-40B4-BE49-F238E27FC236}">
                <a16:creationId xmlns:a16="http://schemas.microsoft.com/office/drawing/2014/main" id="{3F3F3FB2-37C4-494D-BC2E-703555F8D9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26309" y="6092457"/>
            <a:ext cx="318180" cy="47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3" name="Straight Arrow Connector 104">
            <a:extLst>
              <a:ext uri="{FF2B5EF4-FFF2-40B4-BE49-F238E27FC236}">
                <a16:creationId xmlns:a16="http://schemas.microsoft.com/office/drawing/2014/main" id="{67A405DD-42E0-4DBB-890F-7247C4E1DB96}"/>
              </a:ext>
            </a:extLst>
          </p:cNvPr>
          <p:cNvCxnSpPr>
            <a:cxnSpLocks/>
            <a:stCxn id="218" idx="3"/>
            <a:endCxn id="51" idx="1"/>
          </p:cNvCxnSpPr>
          <p:nvPr/>
        </p:nvCxnSpPr>
        <p:spPr>
          <a:xfrm>
            <a:off x="10087429" y="3441829"/>
            <a:ext cx="289679" cy="388396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Arrow Connector 104">
            <a:extLst>
              <a:ext uri="{FF2B5EF4-FFF2-40B4-BE49-F238E27FC236}">
                <a16:creationId xmlns:a16="http://schemas.microsoft.com/office/drawing/2014/main" id="{6EE56B8C-B043-42B0-B349-55693694372D}"/>
              </a:ext>
            </a:extLst>
          </p:cNvPr>
          <p:cNvCxnSpPr>
            <a:cxnSpLocks/>
            <a:stCxn id="51" idx="1"/>
            <a:endCxn id="247" idx="3"/>
          </p:cNvCxnSpPr>
          <p:nvPr/>
        </p:nvCxnSpPr>
        <p:spPr>
          <a:xfrm rot="10800000" flipV="1">
            <a:off x="10087430" y="3830225"/>
            <a:ext cx="289679" cy="466644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76" name="Picture 4" descr="https://azure.microsoft.com/svghandler/cosmos-db/?width=600&amp;amp;height=315">
            <a:extLst>
              <a:ext uri="{FF2B5EF4-FFF2-40B4-BE49-F238E27FC236}">
                <a16:creationId xmlns:a16="http://schemas.microsoft.com/office/drawing/2014/main" id="{E99D7836-F161-437C-94DD-4A57F15042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9807" y="6037268"/>
            <a:ext cx="575971" cy="512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1" descr="A close up of a sign&#10;&#10;Description automatically generated">
            <a:extLst>
              <a:ext uri="{FF2B5EF4-FFF2-40B4-BE49-F238E27FC236}">
                <a16:creationId xmlns:a16="http://schemas.microsoft.com/office/drawing/2014/main" id="{531A4AB8-17C9-41D3-B409-EE7689AC765B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934772" y="6068252"/>
            <a:ext cx="470096" cy="470096"/>
          </a:xfrm>
          <a:prstGeom prst="rect">
            <a:avLst/>
          </a:prstGeom>
        </p:spPr>
      </p:pic>
      <p:pic>
        <p:nvPicPr>
          <p:cNvPr id="24" name="Picture 23" descr="A close up of a sign&#10;&#10;Description automatically generated">
            <a:extLst>
              <a:ext uri="{FF2B5EF4-FFF2-40B4-BE49-F238E27FC236}">
                <a16:creationId xmlns:a16="http://schemas.microsoft.com/office/drawing/2014/main" id="{5DC8185C-45D0-4285-A17A-02C8082809B3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903015" y="6016383"/>
            <a:ext cx="579547" cy="579547"/>
          </a:xfrm>
          <a:prstGeom prst="rect">
            <a:avLst/>
          </a:prstGeom>
        </p:spPr>
      </p:pic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A871BCDF-3BDE-49BA-98D2-AEBEC49F0F65}"/>
              </a:ext>
            </a:extLst>
          </p:cNvPr>
          <p:cNvCxnSpPr>
            <a:cxnSpLocks/>
          </p:cNvCxnSpPr>
          <p:nvPr/>
        </p:nvCxnSpPr>
        <p:spPr>
          <a:xfrm flipV="1">
            <a:off x="4782075" y="4213592"/>
            <a:ext cx="0" cy="314062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Box 84">
            <a:extLst>
              <a:ext uri="{FF2B5EF4-FFF2-40B4-BE49-F238E27FC236}">
                <a16:creationId xmlns:a16="http://schemas.microsoft.com/office/drawing/2014/main" id="{518A58B1-4061-418C-8ADD-443329C69F8E}"/>
              </a:ext>
            </a:extLst>
          </p:cNvPr>
          <p:cNvSpPr txBox="1"/>
          <p:nvPr/>
        </p:nvSpPr>
        <p:spPr>
          <a:xfrm>
            <a:off x="10951565" y="6196012"/>
            <a:ext cx="115014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DevOps</a:t>
            </a:r>
          </a:p>
        </p:txBody>
      </p:sp>
      <p:sp>
        <p:nvSpPr>
          <p:cNvPr id="86" name="people_12" title="Icon of three people">
            <a:extLst>
              <a:ext uri="{FF2B5EF4-FFF2-40B4-BE49-F238E27FC236}">
                <a16:creationId xmlns:a16="http://schemas.microsoft.com/office/drawing/2014/main" id="{6CA3DF4E-8CEA-4D47-98E3-1245B6C65F5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1312285" y="5695264"/>
            <a:ext cx="428704" cy="365760"/>
          </a:xfrm>
          <a:custGeom>
            <a:avLst/>
            <a:gdLst>
              <a:gd name="T0" fmla="*/ 110 w 349"/>
              <a:gd name="T1" fmla="*/ 142 h 296"/>
              <a:gd name="T2" fmla="*/ 174 w 349"/>
              <a:gd name="T3" fmla="*/ 78 h 296"/>
              <a:gd name="T4" fmla="*/ 238 w 349"/>
              <a:gd name="T5" fmla="*/ 142 h 296"/>
              <a:gd name="T6" fmla="*/ 174 w 349"/>
              <a:gd name="T7" fmla="*/ 206 h 296"/>
              <a:gd name="T8" fmla="*/ 110 w 349"/>
              <a:gd name="T9" fmla="*/ 142 h 296"/>
              <a:gd name="T10" fmla="*/ 264 w 349"/>
              <a:gd name="T11" fmla="*/ 296 h 296"/>
              <a:gd name="T12" fmla="*/ 174 w 349"/>
              <a:gd name="T13" fmla="*/ 207 h 296"/>
              <a:gd name="T14" fmla="*/ 85 w 349"/>
              <a:gd name="T15" fmla="*/ 296 h 296"/>
              <a:gd name="T16" fmla="*/ 56 w 349"/>
              <a:gd name="T17" fmla="*/ 80 h 296"/>
              <a:gd name="T18" fmla="*/ 96 w 349"/>
              <a:gd name="T19" fmla="*/ 40 h 296"/>
              <a:gd name="T20" fmla="*/ 56 w 349"/>
              <a:gd name="T21" fmla="*/ 0 h 296"/>
              <a:gd name="T22" fmla="*/ 16 w 349"/>
              <a:gd name="T23" fmla="*/ 40 h 296"/>
              <a:gd name="T24" fmla="*/ 56 w 349"/>
              <a:gd name="T25" fmla="*/ 80 h 296"/>
              <a:gd name="T26" fmla="*/ 111 w 349"/>
              <a:gd name="T27" fmla="*/ 136 h 296"/>
              <a:gd name="T28" fmla="*/ 56 w 349"/>
              <a:gd name="T29" fmla="*/ 81 h 296"/>
              <a:gd name="T30" fmla="*/ 0 w 349"/>
              <a:gd name="T31" fmla="*/ 136 h 296"/>
              <a:gd name="T32" fmla="*/ 293 w 349"/>
              <a:gd name="T33" fmla="*/ 80 h 296"/>
              <a:gd name="T34" fmla="*/ 333 w 349"/>
              <a:gd name="T35" fmla="*/ 40 h 296"/>
              <a:gd name="T36" fmla="*/ 293 w 349"/>
              <a:gd name="T37" fmla="*/ 0 h 296"/>
              <a:gd name="T38" fmla="*/ 253 w 349"/>
              <a:gd name="T39" fmla="*/ 40 h 296"/>
              <a:gd name="T40" fmla="*/ 293 w 349"/>
              <a:gd name="T41" fmla="*/ 80 h 296"/>
              <a:gd name="T42" fmla="*/ 349 w 349"/>
              <a:gd name="T43" fmla="*/ 136 h 296"/>
              <a:gd name="T44" fmla="*/ 293 w 349"/>
              <a:gd name="T45" fmla="*/ 81 h 296"/>
              <a:gd name="T46" fmla="*/ 237 w 349"/>
              <a:gd name="T47" fmla="*/ 136 h 2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349" h="296">
                <a:moveTo>
                  <a:pt x="110" y="142"/>
                </a:moveTo>
                <a:cubicBezTo>
                  <a:pt x="110" y="107"/>
                  <a:pt x="139" y="78"/>
                  <a:pt x="174" y="78"/>
                </a:cubicBezTo>
                <a:cubicBezTo>
                  <a:pt x="210" y="78"/>
                  <a:pt x="238" y="107"/>
                  <a:pt x="238" y="142"/>
                </a:cubicBezTo>
                <a:cubicBezTo>
                  <a:pt x="238" y="177"/>
                  <a:pt x="210" y="206"/>
                  <a:pt x="174" y="206"/>
                </a:cubicBezTo>
                <a:cubicBezTo>
                  <a:pt x="139" y="206"/>
                  <a:pt x="110" y="177"/>
                  <a:pt x="110" y="142"/>
                </a:cubicBezTo>
                <a:close/>
                <a:moveTo>
                  <a:pt x="264" y="296"/>
                </a:moveTo>
                <a:cubicBezTo>
                  <a:pt x="264" y="247"/>
                  <a:pt x="224" y="207"/>
                  <a:pt x="174" y="207"/>
                </a:cubicBezTo>
                <a:cubicBezTo>
                  <a:pt x="125" y="207"/>
                  <a:pt x="85" y="247"/>
                  <a:pt x="85" y="296"/>
                </a:cubicBezTo>
                <a:moveTo>
                  <a:pt x="56" y="80"/>
                </a:moveTo>
                <a:cubicBezTo>
                  <a:pt x="78" y="80"/>
                  <a:pt x="96" y="62"/>
                  <a:pt x="96" y="40"/>
                </a:cubicBezTo>
                <a:cubicBezTo>
                  <a:pt x="96" y="18"/>
                  <a:pt x="78" y="0"/>
                  <a:pt x="56" y="0"/>
                </a:cubicBezTo>
                <a:cubicBezTo>
                  <a:pt x="34" y="0"/>
                  <a:pt x="16" y="18"/>
                  <a:pt x="16" y="40"/>
                </a:cubicBezTo>
                <a:cubicBezTo>
                  <a:pt x="16" y="62"/>
                  <a:pt x="34" y="80"/>
                  <a:pt x="56" y="80"/>
                </a:cubicBezTo>
                <a:close/>
                <a:moveTo>
                  <a:pt x="111" y="136"/>
                </a:moveTo>
                <a:cubicBezTo>
                  <a:pt x="111" y="106"/>
                  <a:pt x="86" y="81"/>
                  <a:pt x="56" y="81"/>
                </a:cubicBezTo>
                <a:cubicBezTo>
                  <a:pt x="25" y="81"/>
                  <a:pt x="0" y="106"/>
                  <a:pt x="0" y="136"/>
                </a:cubicBezTo>
                <a:moveTo>
                  <a:pt x="293" y="80"/>
                </a:moveTo>
                <a:cubicBezTo>
                  <a:pt x="315" y="80"/>
                  <a:pt x="333" y="62"/>
                  <a:pt x="333" y="40"/>
                </a:cubicBezTo>
                <a:cubicBezTo>
                  <a:pt x="333" y="18"/>
                  <a:pt x="315" y="0"/>
                  <a:pt x="293" y="0"/>
                </a:cubicBezTo>
                <a:cubicBezTo>
                  <a:pt x="271" y="0"/>
                  <a:pt x="253" y="18"/>
                  <a:pt x="253" y="40"/>
                </a:cubicBezTo>
                <a:cubicBezTo>
                  <a:pt x="253" y="62"/>
                  <a:pt x="271" y="80"/>
                  <a:pt x="293" y="80"/>
                </a:cubicBezTo>
                <a:close/>
                <a:moveTo>
                  <a:pt x="349" y="136"/>
                </a:moveTo>
                <a:cubicBezTo>
                  <a:pt x="349" y="106"/>
                  <a:pt x="324" y="81"/>
                  <a:pt x="293" y="81"/>
                </a:cubicBezTo>
                <a:cubicBezTo>
                  <a:pt x="262" y="81"/>
                  <a:pt x="237" y="106"/>
                  <a:pt x="237" y="136"/>
                </a:cubicBezTo>
              </a:path>
            </a:pathLst>
          </a:custGeom>
          <a:noFill/>
          <a:ln w="15875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87" name="Straight Arrow Connector 104">
            <a:extLst>
              <a:ext uri="{FF2B5EF4-FFF2-40B4-BE49-F238E27FC236}">
                <a16:creationId xmlns:a16="http://schemas.microsoft.com/office/drawing/2014/main" id="{E5829E2D-AF6C-497D-8821-A51C97ADEF4A}"/>
              </a:ext>
            </a:extLst>
          </p:cNvPr>
          <p:cNvCxnSpPr>
            <a:cxnSpLocks/>
            <a:stCxn id="234" idx="1"/>
            <a:endCxn id="86" idx="15"/>
          </p:cNvCxnSpPr>
          <p:nvPr/>
        </p:nvCxnSpPr>
        <p:spPr>
          <a:xfrm>
            <a:off x="11097315" y="5862782"/>
            <a:ext cx="214970" cy="534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5113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07C570C-6843-471D-995E-47FFCBC4ED2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12800" y="2708277"/>
            <a:ext cx="10566400" cy="1441449"/>
          </a:xfrm>
        </p:spPr>
        <p:txBody>
          <a:bodyPr anchor="ctr"/>
          <a:lstStyle/>
          <a:p>
            <a:r>
              <a:rPr lang="en-US" dirty="0">
                <a:solidFill>
                  <a:schemeClr val="tx1"/>
                </a:solidFill>
              </a:rPr>
              <a:t>New Interaction with </a:t>
            </a:r>
            <a:r>
              <a:rPr lang="en-US" dirty="0" err="1">
                <a:solidFill>
                  <a:schemeClr val="tx1"/>
                </a:solidFill>
              </a:rPr>
              <a:t>MLOps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50794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3269C01-B6AC-438D-BB0F-E70F1872184E}"/>
              </a:ext>
            </a:extLst>
          </p:cNvPr>
          <p:cNvCxnSpPr>
            <a:cxnSpLocks/>
          </p:cNvCxnSpPr>
          <p:nvPr/>
        </p:nvCxnSpPr>
        <p:spPr>
          <a:xfrm>
            <a:off x="9520376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E0FB0A3-AADE-4077-A759-EF749264C5B8}"/>
              </a:ext>
            </a:extLst>
          </p:cNvPr>
          <p:cNvCxnSpPr>
            <a:cxnSpLocks/>
          </p:cNvCxnSpPr>
          <p:nvPr/>
        </p:nvCxnSpPr>
        <p:spPr>
          <a:xfrm>
            <a:off x="2985660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5FB6D0-4D6A-4C25-A810-A2FAC650BCBE}"/>
              </a:ext>
            </a:extLst>
          </p:cNvPr>
          <p:cNvCxnSpPr>
            <a:cxnSpLocks/>
          </p:cNvCxnSpPr>
          <p:nvPr/>
        </p:nvCxnSpPr>
        <p:spPr>
          <a:xfrm>
            <a:off x="5163899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7EA124-03FA-4FD3-A58C-F248DE952643}"/>
              </a:ext>
            </a:extLst>
          </p:cNvPr>
          <p:cNvCxnSpPr>
            <a:cxnSpLocks/>
          </p:cNvCxnSpPr>
          <p:nvPr/>
        </p:nvCxnSpPr>
        <p:spPr>
          <a:xfrm>
            <a:off x="7342137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al World Multi-Clou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9EAF0FA-615D-442F-9851-D43A0C5E259B}"/>
              </a:ext>
            </a:extLst>
          </p:cNvPr>
          <p:cNvSpPr txBox="1"/>
          <p:nvPr/>
        </p:nvSpPr>
        <p:spPr>
          <a:xfrm>
            <a:off x="503239" y="1912390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1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D05D419-647C-4C08-AB87-C0E88BC251C2}"/>
              </a:ext>
            </a:extLst>
          </p:cNvPr>
          <p:cNvSpPr/>
          <p:nvPr/>
        </p:nvSpPr>
        <p:spPr>
          <a:xfrm>
            <a:off x="2410697" y="3425161"/>
            <a:ext cx="9415696" cy="43944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CI/CD Pipeli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DC7B87-74B9-4A19-8C6C-776003FFDDD0}"/>
              </a:ext>
            </a:extLst>
          </p:cNvPr>
          <p:cNvSpPr txBox="1"/>
          <p:nvPr/>
        </p:nvSpPr>
        <p:spPr>
          <a:xfrm>
            <a:off x="3328949" y="923899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Proces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90ECCFB-6104-4612-932E-28033DE94809}"/>
              </a:ext>
            </a:extLst>
          </p:cNvPr>
          <p:cNvSpPr txBox="1"/>
          <p:nvPr/>
        </p:nvSpPr>
        <p:spPr>
          <a:xfrm>
            <a:off x="5507187" y="916010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rai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7FF49F-D288-42AC-82F0-A661457EFD0D}"/>
              </a:ext>
            </a:extLst>
          </p:cNvPr>
          <p:cNvSpPr txBox="1"/>
          <p:nvPr/>
        </p:nvSpPr>
        <p:spPr>
          <a:xfrm>
            <a:off x="7685426" y="906261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tag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D2D4D4-7FD8-405A-9B26-A3FFBCF5B652}"/>
              </a:ext>
            </a:extLst>
          </p:cNvPr>
          <p:cNvSpPr txBox="1"/>
          <p:nvPr/>
        </p:nvSpPr>
        <p:spPr>
          <a:xfrm>
            <a:off x="9863662" y="881622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erve</a:t>
            </a:r>
          </a:p>
        </p:txBody>
      </p: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7F448ED7-F170-47E9-A273-90774EDB6BD2}"/>
              </a:ext>
            </a:extLst>
          </p:cNvPr>
          <p:cNvSpPr/>
          <p:nvPr/>
        </p:nvSpPr>
        <p:spPr>
          <a:xfrm>
            <a:off x="3635024" y="5774267"/>
            <a:ext cx="3187561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</a:p>
        </p:txBody>
      </p: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7547D423-7ED6-4D73-B241-B1C26F5CCC36}"/>
              </a:ext>
            </a:extLst>
          </p:cNvPr>
          <p:cNvSpPr/>
          <p:nvPr/>
        </p:nvSpPr>
        <p:spPr>
          <a:xfrm>
            <a:off x="7951003" y="1373831"/>
            <a:ext cx="3539200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istributed Cloud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C8097B8-8FDC-452D-8078-3BF76A49A6F5}"/>
              </a:ext>
            </a:extLst>
          </p:cNvPr>
          <p:cNvGrpSpPr/>
          <p:nvPr/>
        </p:nvGrpSpPr>
        <p:grpSpPr>
          <a:xfrm>
            <a:off x="9581443" y="4200236"/>
            <a:ext cx="2348549" cy="2813372"/>
            <a:chOff x="7186082" y="3150177"/>
            <a:chExt cx="1761412" cy="2110029"/>
          </a:xfrm>
        </p:grpSpPr>
        <p:pic>
          <p:nvPicPr>
            <p:cNvPr id="116" name="Picture 3" descr="https://lh6.googleusercontent.com/OJj71FP6p8alxoeZCl0ns4zYnjFOn6y28cZcvjrPJHXhgeoGVXk0MW_gcWiwsRHly1neENoXZ7u29zGp4Mtnt1id7SCBfG7mjSMGyIIfMHkv1S8HHTgZnD-FYyB9wWZOCXGocgSWzsI">
              <a:extLst>
                <a:ext uri="{FF2B5EF4-FFF2-40B4-BE49-F238E27FC236}">
                  <a16:creationId xmlns:a16="http://schemas.microsoft.com/office/drawing/2014/main" id="{AF85649F-B9BD-42A8-B83D-879F491924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2413" y="3150177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EF0C545E-EAD6-4DC3-812B-C8498E644CDE}"/>
                </a:ext>
              </a:extLst>
            </p:cNvPr>
            <p:cNvSpPr/>
            <p:nvPr/>
          </p:nvSpPr>
          <p:spPr>
            <a:xfrm>
              <a:off x="7186082" y="4636958"/>
              <a:ext cx="1761412" cy="623248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  <a:cs typeface="Google Sans" panose="020B0604020202020204" charset="0"/>
                </a:rPr>
                <a:t>SRE/ML Engineers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068C15EC-60DA-4199-9CA1-9E228865902F}"/>
              </a:ext>
            </a:extLst>
          </p:cNvPr>
          <p:cNvGrpSpPr/>
          <p:nvPr/>
        </p:nvGrpSpPr>
        <p:grpSpPr>
          <a:xfrm>
            <a:off x="3309712" y="1537862"/>
            <a:ext cx="1988233" cy="2366665"/>
            <a:chOff x="2482283" y="1153396"/>
            <a:chExt cx="1491175" cy="1774999"/>
          </a:xfrm>
        </p:grpSpPr>
        <p:pic>
          <p:nvPicPr>
            <p:cNvPr id="115" name="Picture 2" descr="https://lh3.googleusercontent.com/W5ZorUwdr19lfnMl5uUIjqSG-FazB-7D7ieSNS3wqmm3Jpeuprqi1ry1PWeUxD_3-O4TII-bvIGyK1vBeS3HPxs3LxAB1mB3Or6UZVOI4QGRZANHBW31j3VauHZH8hpX55UhYNVWYEY">
              <a:extLst>
                <a:ext uri="{FF2B5EF4-FFF2-40B4-BE49-F238E27FC236}">
                  <a16:creationId xmlns:a16="http://schemas.microsoft.com/office/drawing/2014/main" id="{B4199A15-AF88-4CC1-84CE-CA9866C00A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2284" y="1153396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303620CE-DA58-4B44-A558-B048E4CE10C7}"/>
                </a:ext>
              </a:extLst>
            </p:cNvPr>
            <p:cNvSpPr/>
            <p:nvPr/>
          </p:nvSpPr>
          <p:spPr>
            <a:xfrm>
              <a:off x="2482283" y="2582146"/>
              <a:ext cx="1491175" cy="346249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</a:rPr>
                <a:t>Data Scientist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pic>
        <p:nvPicPr>
          <p:cNvPr id="4098" name="Picture 2" descr="Image result for github logo">
            <a:extLst>
              <a:ext uri="{FF2B5EF4-FFF2-40B4-BE49-F238E27FC236}">
                <a16:creationId xmlns:a16="http://schemas.microsoft.com/office/drawing/2014/main" id="{FF95E88C-B28A-4CA5-BAAF-53ED36E48B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609" y="3124735"/>
            <a:ext cx="838052" cy="838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B74C3C3C-BE60-4171-92C2-D59A6885CBA6}"/>
              </a:ext>
            </a:extLst>
          </p:cNvPr>
          <p:cNvSpPr txBox="1"/>
          <p:nvPr/>
        </p:nvSpPr>
        <p:spPr>
          <a:xfrm>
            <a:off x="503239" y="4680813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2</a:t>
            </a:r>
          </a:p>
        </p:txBody>
      </p:sp>
    </p:spTree>
    <p:extLst>
      <p:ext uri="{BB962C8B-B14F-4D97-AF65-F5344CB8AC3E}">
        <p14:creationId xmlns:p14="http://schemas.microsoft.com/office/powerpoint/2010/main" val="3267108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6" grpId="0" animBg="1"/>
      <p:bldP spid="111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5F9A0B9-16EA-674C-9F51-93BF10956E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64723" y="3217435"/>
            <a:ext cx="6049223" cy="960227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Name your team something unique and fun, but prefix with your table #!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DADFA8C-24AF-3540-80D8-FFEAB44EB08A}"/>
              </a:ext>
            </a:extLst>
          </p:cNvPr>
          <p:cNvSpPr txBox="1"/>
          <p:nvPr/>
        </p:nvSpPr>
        <p:spPr>
          <a:xfrm>
            <a:off x="478054" y="284058"/>
            <a:ext cx="9374176" cy="113877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21883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Collaboration</a:t>
            </a:r>
          </a:p>
          <a:p>
            <a:pPr marL="0" marR="0" lvl="0" indent="0" algn="l" defTabSz="121883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Step 2: Create a Channel for your table’s team!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3792855-AD33-EF44-A2F6-EF13F39F7B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37252" y="190707"/>
            <a:ext cx="1376694" cy="1376694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BC77193-861B-4EC8-988D-32546EDCE52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8054" y="1567401"/>
            <a:ext cx="4634859" cy="4126888"/>
          </a:xfrm>
          <a:prstGeom prst="rect">
            <a:avLst/>
          </a:prstGeom>
        </p:spPr>
      </p:pic>
      <p:sp>
        <p:nvSpPr>
          <p:cNvPr id="7" name="Arrow: Down 6">
            <a:extLst>
              <a:ext uri="{FF2B5EF4-FFF2-40B4-BE49-F238E27FC236}">
                <a16:creationId xmlns:a16="http://schemas.microsoft.com/office/drawing/2014/main" id="{50478ADF-CDB5-4B55-9F30-3B0A569ACE2B}"/>
              </a:ext>
            </a:extLst>
          </p:cNvPr>
          <p:cNvSpPr/>
          <p:nvPr/>
        </p:nvSpPr>
        <p:spPr bwMode="auto">
          <a:xfrm rot="5400000">
            <a:off x="4537401" y="3133817"/>
            <a:ext cx="639192" cy="1127464"/>
          </a:xfrm>
          <a:prstGeom prst="downArrow">
            <a:avLst/>
          </a:prstGeom>
          <a:solidFill>
            <a:srgbClr val="FF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7268266"/>
      </p:ext>
    </p:extLst>
  </p:cSld>
  <p:clrMapOvr>
    <a:masterClrMapping/>
  </p:clrMapOvr>
  <p:transition>
    <p:fade/>
  </p:transition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3269C01-B6AC-438D-BB0F-E70F1872184E}"/>
              </a:ext>
            </a:extLst>
          </p:cNvPr>
          <p:cNvCxnSpPr>
            <a:cxnSpLocks/>
          </p:cNvCxnSpPr>
          <p:nvPr/>
        </p:nvCxnSpPr>
        <p:spPr>
          <a:xfrm>
            <a:off x="9520376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E0FB0A3-AADE-4077-A759-EF749264C5B8}"/>
              </a:ext>
            </a:extLst>
          </p:cNvPr>
          <p:cNvCxnSpPr>
            <a:cxnSpLocks/>
          </p:cNvCxnSpPr>
          <p:nvPr/>
        </p:nvCxnSpPr>
        <p:spPr>
          <a:xfrm>
            <a:off x="2985660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5FB6D0-4D6A-4C25-A810-A2FAC650BCBE}"/>
              </a:ext>
            </a:extLst>
          </p:cNvPr>
          <p:cNvCxnSpPr>
            <a:cxnSpLocks/>
          </p:cNvCxnSpPr>
          <p:nvPr/>
        </p:nvCxnSpPr>
        <p:spPr>
          <a:xfrm>
            <a:off x="5163899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7EA124-03FA-4FD3-A58C-F248DE952643}"/>
              </a:ext>
            </a:extLst>
          </p:cNvPr>
          <p:cNvCxnSpPr>
            <a:cxnSpLocks/>
          </p:cNvCxnSpPr>
          <p:nvPr/>
        </p:nvCxnSpPr>
        <p:spPr>
          <a:xfrm>
            <a:off x="7342137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al World Multi-Cloud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D05D419-647C-4C08-AB87-C0E88BC251C2}"/>
              </a:ext>
            </a:extLst>
          </p:cNvPr>
          <p:cNvSpPr/>
          <p:nvPr/>
        </p:nvSpPr>
        <p:spPr>
          <a:xfrm>
            <a:off x="2410697" y="3425161"/>
            <a:ext cx="9415696" cy="43944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CI/CD Pipeli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DC7B87-74B9-4A19-8C6C-776003FFDDD0}"/>
              </a:ext>
            </a:extLst>
          </p:cNvPr>
          <p:cNvSpPr txBox="1"/>
          <p:nvPr/>
        </p:nvSpPr>
        <p:spPr>
          <a:xfrm>
            <a:off x="3328949" y="923899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Proces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90ECCFB-6104-4612-932E-28033DE94809}"/>
              </a:ext>
            </a:extLst>
          </p:cNvPr>
          <p:cNvSpPr txBox="1"/>
          <p:nvPr/>
        </p:nvSpPr>
        <p:spPr>
          <a:xfrm>
            <a:off x="5507187" y="916010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rai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7FF49F-D288-42AC-82F0-A661457EFD0D}"/>
              </a:ext>
            </a:extLst>
          </p:cNvPr>
          <p:cNvSpPr txBox="1"/>
          <p:nvPr/>
        </p:nvSpPr>
        <p:spPr>
          <a:xfrm>
            <a:off x="7685426" y="906261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tag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D2D4D4-7FD8-405A-9B26-A3FFBCF5B652}"/>
              </a:ext>
            </a:extLst>
          </p:cNvPr>
          <p:cNvSpPr txBox="1"/>
          <p:nvPr/>
        </p:nvSpPr>
        <p:spPr>
          <a:xfrm>
            <a:off x="9863662" y="881622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erve</a:t>
            </a:r>
          </a:p>
        </p:txBody>
      </p: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7F448ED7-F170-47E9-A273-90774EDB6BD2}"/>
              </a:ext>
            </a:extLst>
          </p:cNvPr>
          <p:cNvSpPr/>
          <p:nvPr/>
        </p:nvSpPr>
        <p:spPr>
          <a:xfrm>
            <a:off x="3635024" y="5774267"/>
            <a:ext cx="3187561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</a:p>
        </p:txBody>
      </p: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7547D423-7ED6-4D73-B241-B1C26F5CCC36}"/>
              </a:ext>
            </a:extLst>
          </p:cNvPr>
          <p:cNvSpPr/>
          <p:nvPr/>
        </p:nvSpPr>
        <p:spPr>
          <a:xfrm>
            <a:off x="7951003" y="1373831"/>
            <a:ext cx="3539200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istributed Cloud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C8097B8-8FDC-452D-8078-3BF76A49A6F5}"/>
              </a:ext>
            </a:extLst>
          </p:cNvPr>
          <p:cNvGrpSpPr/>
          <p:nvPr/>
        </p:nvGrpSpPr>
        <p:grpSpPr>
          <a:xfrm>
            <a:off x="9581443" y="4200236"/>
            <a:ext cx="2348549" cy="2813372"/>
            <a:chOff x="7186082" y="3150177"/>
            <a:chExt cx="1761412" cy="2110029"/>
          </a:xfrm>
        </p:grpSpPr>
        <p:pic>
          <p:nvPicPr>
            <p:cNvPr id="116" name="Picture 3" descr="https://lh6.googleusercontent.com/OJj71FP6p8alxoeZCl0ns4zYnjFOn6y28cZcvjrPJHXhgeoGVXk0MW_gcWiwsRHly1neENoXZ7u29zGp4Mtnt1id7SCBfG7mjSMGyIIfMHkv1S8HHTgZnD-FYyB9wWZOCXGocgSWzsI">
              <a:extLst>
                <a:ext uri="{FF2B5EF4-FFF2-40B4-BE49-F238E27FC236}">
                  <a16:creationId xmlns:a16="http://schemas.microsoft.com/office/drawing/2014/main" id="{AF85649F-B9BD-42A8-B83D-879F491924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2413" y="3150177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EF0C545E-EAD6-4DC3-812B-C8498E644CDE}"/>
                </a:ext>
              </a:extLst>
            </p:cNvPr>
            <p:cNvSpPr/>
            <p:nvPr/>
          </p:nvSpPr>
          <p:spPr>
            <a:xfrm>
              <a:off x="7186082" y="4636958"/>
              <a:ext cx="1761412" cy="623248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  <a:cs typeface="Google Sans" panose="020B0604020202020204" charset="0"/>
                </a:rPr>
                <a:t>SRE/ML Engineers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068C15EC-60DA-4199-9CA1-9E228865902F}"/>
              </a:ext>
            </a:extLst>
          </p:cNvPr>
          <p:cNvGrpSpPr/>
          <p:nvPr/>
        </p:nvGrpSpPr>
        <p:grpSpPr>
          <a:xfrm>
            <a:off x="3309712" y="1537862"/>
            <a:ext cx="1988233" cy="2366665"/>
            <a:chOff x="2482283" y="1153396"/>
            <a:chExt cx="1491175" cy="1774999"/>
          </a:xfrm>
        </p:grpSpPr>
        <p:pic>
          <p:nvPicPr>
            <p:cNvPr id="115" name="Picture 2" descr="https://lh3.googleusercontent.com/W5ZorUwdr19lfnMl5uUIjqSG-FazB-7D7ieSNS3wqmm3Jpeuprqi1ry1PWeUxD_3-O4TII-bvIGyK1vBeS3HPxs3LxAB1mB3Or6UZVOI4QGRZANHBW31j3VauHZH8hpX55UhYNVWYEY">
              <a:extLst>
                <a:ext uri="{FF2B5EF4-FFF2-40B4-BE49-F238E27FC236}">
                  <a16:creationId xmlns:a16="http://schemas.microsoft.com/office/drawing/2014/main" id="{B4199A15-AF88-4CC1-84CE-CA9866C00A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2284" y="1153396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303620CE-DA58-4B44-A558-B048E4CE10C7}"/>
                </a:ext>
              </a:extLst>
            </p:cNvPr>
            <p:cNvSpPr/>
            <p:nvPr/>
          </p:nvSpPr>
          <p:spPr>
            <a:xfrm>
              <a:off x="2482283" y="2582146"/>
              <a:ext cx="1491175" cy="346249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</a:rPr>
                <a:t>Data Scientist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pic>
        <p:nvPicPr>
          <p:cNvPr id="4098" name="Picture 2" descr="Image result for github logo">
            <a:extLst>
              <a:ext uri="{FF2B5EF4-FFF2-40B4-BE49-F238E27FC236}">
                <a16:creationId xmlns:a16="http://schemas.microsoft.com/office/drawing/2014/main" id="{FF95E88C-B28A-4CA5-BAAF-53ED36E48B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609" y="3124735"/>
            <a:ext cx="838052" cy="838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peech Bubble: Rectangle 15">
            <a:extLst>
              <a:ext uri="{FF2B5EF4-FFF2-40B4-BE49-F238E27FC236}">
                <a16:creationId xmlns:a16="http://schemas.microsoft.com/office/drawing/2014/main" id="{BBF68339-0C9D-48A3-AB5F-8BAF7ACBC37C}"/>
              </a:ext>
            </a:extLst>
          </p:cNvPr>
          <p:cNvSpPr/>
          <p:nvPr/>
        </p:nvSpPr>
        <p:spPr>
          <a:xfrm>
            <a:off x="5507188" y="2238974"/>
            <a:ext cx="3355001" cy="1366628"/>
          </a:xfrm>
          <a:prstGeom prst="wedgeRectCallout">
            <a:avLst>
              <a:gd name="adj1" fmla="val -80635"/>
              <a:gd name="adj2" fmla="val -37585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I need quick iteration and to train next to my data.</a:t>
            </a:r>
          </a:p>
        </p:txBody>
      </p:sp>
      <p:sp>
        <p:nvSpPr>
          <p:cNvPr id="25" name="Speech Bubble: Rectangle 24">
            <a:extLst>
              <a:ext uri="{FF2B5EF4-FFF2-40B4-BE49-F238E27FC236}">
                <a16:creationId xmlns:a16="http://schemas.microsoft.com/office/drawing/2014/main" id="{098E51F9-D368-4FF3-85A5-7C6E0BA38719}"/>
              </a:ext>
            </a:extLst>
          </p:cNvPr>
          <p:cNvSpPr/>
          <p:nvPr/>
        </p:nvSpPr>
        <p:spPr>
          <a:xfrm>
            <a:off x="5664637" y="4596761"/>
            <a:ext cx="3355001" cy="1366628"/>
          </a:xfrm>
          <a:prstGeom prst="wedgeRectCallout">
            <a:avLst>
              <a:gd name="adj1" fmla="val 101064"/>
              <a:gd name="adj2" fmla="val -16037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We need to handle production loads &amp; be geo-distributed.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768FC39-0839-41A4-B15E-6A30CC6D30BE}"/>
              </a:ext>
            </a:extLst>
          </p:cNvPr>
          <p:cNvSpPr txBox="1"/>
          <p:nvPr/>
        </p:nvSpPr>
        <p:spPr>
          <a:xfrm>
            <a:off x="503239" y="1912390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1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E781F06-7D54-4830-A09A-01FC44C82F24}"/>
              </a:ext>
            </a:extLst>
          </p:cNvPr>
          <p:cNvSpPr txBox="1"/>
          <p:nvPr/>
        </p:nvSpPr>
        <p:spPr>
          <a:xfrm>
            <a:off x="503239" y="4680813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2</a:t>
            </a:r>
          </a:p>
        </p:txBody>
      </p:sp>
    </p:spTree>
    <p:extLst>
      <p:ext uri="{BB962C8B-B14F-4D97-AF65-F5344CB8AC3E}">
        <p14:creationId xmlns:p14="http://schemas.microsoft.com/office/powerpoint/2010/main" val="31988764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25" grpId="0" animBg="1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3269C01-B6AC-438D-BB0F-E70F1872184E}"/>
              </a:ext>
            </a:extLst>
          </p:cNvPr>
          <p:cNvCxnSpPr>
            <a:cxnSpLocks/>
          </p:cNvCxnSpPr>
          <p:nvPr/>
        </p:nvCxnSpPr>
        <p:spPr>
          <a:xfrm>
            <a:off x="9520376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E0FB0A3-AADE-4077-A759-EF749264C5B8}"/>
              </a:ext>
            </a:extLst>
          </p:cNvPr>
          <p:cNvCxnSpPr>
            <a:cxnSpLocks/>
          </p:cNvCxnSpPr>
          <p:nvPr/>
        </p:nvCxnSpPr>
        <p:spPr>
          <a:xfrm>
            <a:off x="2985660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5FB6D0-4D6A-4C25-A810-A2FAC650BCBE}"/>
              </a:ext>
            </a:extLst>
          </p:cNvPr>
          <p:cNvCxnSpPr>
            <a:cxnSpLocks/>
          </p:cNvCxnSpPr>
          <p:nvPr/>
        </p:nvCxnSpPr>
        <p:spPr>
          <a:xfrm>
            <a:off x="5163899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7EA124-03FA-4FD3-A58C-F248DE952643}"/>
              </a:ext>
            </a:extLst>
          </p:cNvPr>
          <p:cNvCxnSpPr>
            <a:cxnSpLocks/>
          </p:cNvCxnSpPr>
          <p:nvPr/>
        </p:nvCxnSpPr>
        <p:spPr>
          <a:xfrm>
            <a:off x="7342137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al World Multi-Cloud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D05D419-647C-4C08-AB87-C0E88BC251C2}"/>
              </a:ext>
            </a:extLst>
          </p:cNvPr>
          <p:cNvSpPr/>
          <p:nvPr/>
        </p:nvSpPr>
        <p:spPr>
          <a:xfrm>
            <a:off x="2410697" y="3425161"/>
            <a:ext cx="9415696" cy="43944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CI/CD Pipeli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DC7B87-74B9-4A19-8C6C-776003FFDDD0}"/>
              </a:ext>
            </a:extLst>
          </p:cNvPr>
          <p:cNvSpPr txBox="1"/>
          <p:nvPr/>
        </p:nvSpPr>
        <p:spPr>
          <a:xfrm>
            <a:off x="3328949" y="923899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Proces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90ECCFB-6104-4612-932E-28033DE94809}"/>
              </a:ext>
            </a:extLst>
          </p:cNvPr>
          <p:cNvSpPr txBox="1"/>
          <p:nvPr/>
        </p:nvSpPr>
        <p:spPr>
          <a:xfrm>
            <a:off x="5507187" y="916010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rai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7FF49F-D288-42AC-82F0-A661457EFD0D}"/>
              </a:ext>
            </a:extLst>
          </p:cNvPr>
          <p:cNvSpPr txBox="1"/>
          <p:nvPr/>
        </p:nvSpPr>
        <p:spPr>
          <a:xfrm>
            <a:off x="7685426" y="906261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tag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D2D4D4-7FD8-405A-9B26-A3FFBCF5B652}"/>
              </a:ext>
            </a:extLst>
          </p:cNvPr>
          <p:cNvSpPr txBox="1"/>
          <p:nvPr/>
        </p:nvSpPr>
        <p:spPr>
          <a:xfrm>
            <a:off x="9863662" y="881622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erve</a:t>
            </a:r>
          </a:p>
        </p:txBody>
      </p: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7F448ED7-F170-47E9-A273-90774EDB6BD2}"/>
              </a:ext>
            </a:extLst>
          </p:cNvPr>
          <p:cNvSpPr/>
          <p:nvPr/>
        </p:nvSpPr>
        <p:spPr>
          <a:xfrm>
            <a:off x="3635024" y="5774267"/>
            <a:ext cx="3187561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</a:p>
        </p:txBody>
      </p: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7547D423-7ED6-4D73-B241-B1C26F5CCC36}"/>
              </a:ext>
            </a:extLst>
          </p:cNvPr>
          <p:cNvSpPr/>
          <p:nvPr/>
        </p:nvSpPr>
        <p:spPr>
          <a:xfrm>
            <a:off x="7951003" y="1373831"/>
            <a:ext cx="3539200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istributed Cloud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C8097B8-8FDC-452D-8078-3BF76A49A6F5}"/>
              </a:ext>
            </a:extLst>
          </p:cNvPr>
          <p:cNvGrpSpPr/>
          <p:nvPr/>
        </p:nvGrpSpPr>
        <p:grpSpPr>
          <a:xfrm>
            <a:off x="9581443" y="4200236"/>
            <a:ext cx="2348549" cy="2813372"/>
            <a:chOff x="7186082" y="3150177"/>
            <a:chExt cx="1761412" cy="2110029"/>
          </a:xfrm>
        </p:grpSpPr>
        <p:pic>
          <p:nvPicPr>
            <p:cNvPr id="116" name="Picture 3" descr="https://lh6.googleusercontent.com/OJj71FP6p8alxoeZCl0ns4zYnjFOn6y28cZcvjrPJHXhgeoGVXk0MW_gcWiwsRHly1neENoXZ7u29zGp4Mtnt1id7SCBfG7mjSMGyIIfMHkv1S8HHTgZnD-FYyB9wWZOCXGocgSWzsI">
              <a:extLst>
                <a:ext uri="{FF2B5EF4-FFF2-40B4-BE49-F238E27FC236}">
                  <a16:creationId xmlns:a16="http://schemas.microsoft.com/office/drawing/2014/main" id="{AF85649F-B9BD-42A8-B83D-879F491924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2413" y="3150177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EF0C545E-EAD6-4DC3-812B-C8498E644CDE}"/>
                </a:ext>
              </a:extLst>
            </p:cNvPr>
            <p:cNvSpPr/>
            <p:nvPr/>
          </p:nvSpPr>
          <p:spPr>
            <a:xfrm>
              <a:off x="7186082" y="4636958"/>
              <a:ext cx="1761412" cy="623248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  <a:cs typeface="Google Sans" panose="020B0604020202020204" charset="0"/>
                </a:rPr>
                <a:t>SRE/ML Engineers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068C15EC-60DA-4199-9CA1-9E228865902F}"/>
              </a:ext>
            </a:extLst>
          </p:cNvPr>
          <p:cNvGrpSpPr/>
          <p:nvPr/>
        </p:nvGrpSpPr>
        <p:grpSpPr>
          <a:xfrm>
            <a:off x="3309712" y="1537862"/>
            <a:ext cx="1988233" cy="2366665"/>
            <a:chOff x="2482283" y="1153396"/>
            <a:chExt cx="1491175" cy="1774999"/>
          </a:xfrm>
        </p:grpSpPr>
        <p:pic>
          <p:nvPicPr>
            <p:cNvPr id="115" name="Picture 2" descr="https://lh3.googleusercontent.com/W5ZorUwdr19lfnMl5uUIjqSG-FazB-7D7ieSNS3wqmm3Jpeuprqi1ry1PWeUxD_3-O4TII-bvIGyK1vBeS3HPxs3LxAB1mB3Or6UZVOI4QGRZANHBW31j3VauHZH8hpX55UhYNVWYEY">
              <a:extLst>
                <a:ext uri="{FF2B5EF4-FFF2-40B4-BE49-F238E27FC236}">
                  <a16:creationId xmlns:a16="http://schemas.microsoft.com/office/drawing/2014/main" id="{B4199A15-AF88-4CC1-84CE-CA9866C00A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2284" y="1153396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303620CE-DA58-4B44-A558-B048E4CE10C7}"/>
                </a:ext>
              </a:extLst>
            </p:cNvPr>
            <p:cNvSpPr/>
            <p:nvPr/>
          </p:nvSpPr>
          <p:spPr>
            <a:xfrm>
              <a:off x="2482283" y="2582146"/>
              <a:ext cx="1491175" cy="346249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</a:rPr>
                <a:t>Data Scientist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pic>
        <p:nvPicPr>
          <p:cNvPr id="4098" name="Picture 2" descr="Image result for github logo">
            <a:extLst>
              <a:ext uri="{FF2B5EF4-FFF2-40B4-BE49-F238E27FC236}">
                <a16:creationId xmlns:a16="http://schemas.microsoft.com/office/drawing/2014/main" id="{FF95E88C-B28A-4CA5-BAAF-53ED36E48B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609" y="3124735"/>
            <a:ext cx="838052" cy="838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peech Bubble: Rectangle 15">
            <a:extLst>
              <a:ext uri="{FF2B5EF4-FFF2-40B4-BE49-F238E27FC236}">
                <a16:creationId xmlns:a16="http://schemas.microsoft.com/office/drawing/2014/main" id="{BBF68339-0C9D-48A3-AB5F-8BAF7ACBC37C}"/>
              </a:ext>
            </a:extLst>
          </p:cNvPr>
          <p:cNvSpPr/>
          <p:nvPr/>
        </p:nvSpPr>
        <p:spPr>
          <a:xfrm>
            <a:off x="5507188" y="2238974"/>
            <a:ext cx="3355001" cy="1366628"/>
          </a:xfrm>
          <a:prstGeom prst="wedgeRectCallout">
            <a:avLst>
              <a:gd name="adj1" fmla="val -80635"/>
              <a:gd name="adj2" fmla="val -37585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LET’S DO THIS!</a:t>
            </a:r>
          </a:p>
        </p:txBody>
      </p:sp>
      <p:sp>
        <p:nvSpPr>
          <p:cNvPr id="25" name="Speech Bubble: Rectangle 24">
            <a:extLst>
              <a:ext uri="{FF2B5EF4-FFF2-40B4-BE49-F238E27FC236}">
                <a16:creationId xmlns:a16="http://schemas.microsoft.com/office/drawing/2014/main" id="{098E51F9-D368-4FF3-85A5-7C6E0BA38719}"/>
              </a:ext>
            </a:extLst>
          </p:cNvPr>
          <p:cNvSpPr/>
          <p:nvPr/>
        </p:nvSpPr>
        <p:spPr>
          <a:xfrm>
            <a:off x="5664637" y="4596761"/>
            <a:ext cx="3355001" cy="1366628"/>
          </a:xfrm>
          <a:prstGeom prst="wedgeRectCallout">
            <a:avLst>
              <a:gd name="adj1" fmla="val 101064"/>
              <a:gd name="adj2" fmla="val -16037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LET’S DO THIS!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61E76C6-433C-49C6-BB97-4D11624B625F}"/>
              </a:ext>
            </a:extLst>
          </p:cNvPr>
          <p:cNvSpPr txBox="1"/>
          <p:nvPr/>
        </p:nvSpPr>
        <p:spPr>
          <a:xfrm>
            <a:off x="503239" y="1912390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1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DCB3142-DCEE-46EC-9BA7-AE11DAC60239}"/>
              </a:ext>
            </a:extLst>
          </p:cNvPr>
          <p:cNvSpPr txBox="1"/>
          <p:nvPr/>
        </p:nvSpPr>
        <p:spPr>
          <a:xfrm>
            <a:off x="503239" y="4680813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2</a:t>
            </a:r>
          </a:p>
        </p:txBody>
      </p:sp>
    </p:spTree>
    <p:extLst>
      <p:ext uri="{BB962C8B-B14F-4D97-AF65-F5344CB8AC3E}">
        <p14:creationId xmlns:p14="http://schemas.microsoft.com/office/powerpoint/2010/main" val="347294930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3269C01-B6AC-438D-BB0F-E70F1872184E}"/>
              </a:ext>
            </a:extLst>
          </p:cNvPr>
          <p:cNvCxnSpPr>
            <a:cxnSpLocks/>
          </p:cNvCxnSpPr>
          <p:nvPr/>
        </p:nvCxnSpPr>
        <p:spPr>
          <a:xfrm>
            <a:off x="9520376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E0FB0A3-AADE-4077-A759-EF749264C5B8}"/>
              </a:ext>
            </a:extLst>
          </p:cNvPr>
          <p:cNvCxnSpPr>
            <a:cxnSpLocks/>
          </p:cNvCxnSpPr>
          <p:nvPr/>
        </p:nvCxnSpPr>
        <p:spPr>
          <a:xfrm>
            <a:off x="2985660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5FB6D0-4D6A-4C25-A810-A2FAC650BCBE}"/>
              </a:ext>
            </a:extLst>
          </p:cNvPr>
          <p:cNvCxnSpPr>
            <a:cxnSpLocks/>
          </p:cNvCxnSpPr>
          <p:nvPr/>
        </p:nvCxnSpPr>
        <p:spPr>
          <a:xfrm>
            <a:off x="5163899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7EA124-03FA-4FD3-A58C-F248DE952643}"/>
              </a:ext>
            </a:extLst>
          </p:cNvPr>
          <p:cNvCxnSpPr>
            <a:cxnSpLocks/>
          </p:cNvCxnSpPr>
          <p:nvPr/>
        </p:nvCxnSpPr>
        <p:spPr>
          <a:xfrm>
            <a:off x="7342137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al World Multi-Cloud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D05D419-647C-4C08-AB87-C0E88BC251C2}"/>
              </a:ext>
            </a:extLst>
          </p:cNvPr>
          <p:cNvSpPr/>
          <p:nvPr/>
        </p:nvSpPr>
        <p:spPr>
          <a:xfrm>
            <a:off x="2410697" y="3425161"/>
            <a:ext cx="9415696" cy="43944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CI/CD Pipeli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DC7B87-74B9-4A19-8C6C-776003FFDDD0}"/>
              </a:ext>
            </a:extLst>
          </p:cNvPr>
          <p:cNvSpPr txBox="1"/>
          <p:nvPr/>
        </p:nvSpPr>
        <p:spPr>
          <a:xfrm>
            <a:off x="3328949" y="923899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Proces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90ECCFB-6104-4612-932E-28033DE94809}"/>
              </a:ext>
            </a:extLst>
          </p:cNvPr>
          <p:cNvSpPr txBox="1"/>
          <p:nvPr/>
        </p:nvSpPr>
        <p:spPr>
          <a:xfrm>
            <a:off x="5507187" y="916010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rai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7FF49F-D288-42AC-82F0-A661457EFD0D}"/>
              </a:ext>
            </a:extLst>
          </p:cNvPr>
          <p:cNvSpPr txBox="1"/>
          <p:nvPr/>
        </p:nvSpPr>
        <p:spPr>
          <a:xfrm>
            <a:off x="7685426" y="906261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tag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D2D4D4-7FD8-405A-9B26-A3FFBCF5B652}"/>
              </a:ext>
            </a:extLst>
          </p:cNvPr>
          <p:cNvSpPr txBox="1"/>
          <p:nvPr/>
        </p:nvSpPr>
        <p:spPr>
          <a:xfrm>
            <a:off x="9863662" y="881622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erve</a:t>
            </a:r>
          </a:p>
        </p:txBody>
      </p: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7F448ED7-F170-47E9-A273-90774EDB6BD2}"/>
              </a:ext>
            </a:extLst>
          </p:cNvPr>
          <p:cNvSpPr/>
          <p:nvPr/>
        </p:nvSpPr>
        <p:spPr>
          <a:xfrm>
            <a:off x="3635024" y="5774267"/>
            <a:ext cx="3187561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</a:p>
        </p:txBody>
      </p: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7547D423-7ED6-4D73-B241-B1C26F5CCC36}"/>
              </a:ext>
            </a:extLst>
          </p:cNvPr>
          <p:cNvSpPr/>
          <p:nvPr/>
        </p:nvSpPr>
        <p:spPr>
          <a:xfrm>
            <a:off x="7951003" y="1373831"/>
            <a:ext cx="3539200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istributed Cloud</a:t>
            </a:r>
          </a:p>
        </p:txBody>
      </p:sp>
      <p:grpSp>
        <p:nvGrpSpPr>
          <p:cNvPr id="4096" name="Group 4095">
            <a:extLst>
              <a:ext uri="{FF2B5EF4-FFF2-40B4-BE49-F238E27FC236}">
                <a16:creationId xmlns:a16="http://schemas.microsoft.com/office/drawing/2014/main" id="{0C5B832A-E4FB-4C1A-80D4-B524DED41654}"/>
              </a:ext>
            </a:extLst>
          </p:cNvPr>
          <p:cNvGrpSpPr/>
          <p:nvPr/>
        </p:nvGrpSpPr>
        <p:grpSpPr>
          <a:xfrm>
            <a:off x="9581443" y="4200236"/>
            <a:ext cx="2348549" cy="2813372"/>
            <a:chOff x="7186082" y="3150177"/>
            <a:chExt cx="1761412" cy="2110029"/>
          </a:xfrm>
        </p:grpSpPr>
        <p:pic>
          <p:nvPicPr>
            <p:cNvPr id="116" name="Picture 3" descr="https://lh6.googleusercontent.com/OJj71FP6p8alxoeZCl0ns4zYnjFOn6y28cZcvjrPJHXhgeoGVXk0MW_gcWiwsRHly1neENoXZ7u29zGp4Mtnt1id7SCBfG7mjSMGyIIfMHkv1S8HHTgZnD-FYyB9wWZOCXGocgSWzsI">
              <a:extLst>
                <a:ext uri="{FF2B5EF4-FFF2-40B4-BE49-F238E27FC236}">
                  <a16:creationId xmlns:a16="http://schemas.microsoft.com/office/drawing/2014/main" id="{AF85649F-B9BD-42A8-B83D-879F491924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2413" y="3150177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EF0C545E-EAD6-4DC3-812B-C8498E644CDE}"/>
                </a:ext>
              </a:extLst>
            </p:cNvPr>
            <p:cNvSpPr/>
            <p:nvPr/>
          </p:nvSpPr>
          <p:spPr>
            <a:xfrm>
              <a:off x="7186082" y="4636958"/>
              <a:ext cx="1761412" cy="623248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  <a:cs typeface="Google Sans" panose="020B0604020202020204" charset="0"/>
                </a:rPr>
                <a:t>SRE/ML Engineers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D3277620-A393-4D4E-A9A1-3FC4910E9310}"/>
              </a:ext>
            </a:extLst>
          </p:cNvPr>
          <p:cNvGrpSpPr/>
          <p:nvPr/>
        </p:nvGrpSpPr>
        <p:grpSpPr>
          <a:xfrm>
            <a:off x="3309712" y="1537862"/>
            <a:ext cx="1988233" cy="2366665"/>
            <a:chOff x="2482283" y="1153396"/>
            <a:chExt cx="1491175" cy="1774999"/>
          </a:xfrm>
        </p:grpSpPr>
        <p:pic>
          <p:nvPicPr>
            <p:cNvPr id="115" name="Picture 2" descr="https://lh3.googleusercontent.com/W5ZorUwdr19lfnMl5uUIjqSG-FazB-7D7ieSNS3wqmm3Jpeuprqi1ry1PWeUxD_3-O4TII-bvIGyK1vBeS3HPxs3LxAB1mB3Or6UZVOI4QGRZANHBW31j3VauHZH8hpX55UhYNVWYEY">
              <a:extLst>
                <a:ext uri="{FF2B5EF4-FFF2-40B4-BE49-F238E27FC236}">
                  <a16:creationId xmlns:a16="http://schemas.microsoft.com/office/drawing/2014/main" id="{B4199A15-AF88-4CC1-84CE-CA9866C00A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2284" y="1153396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303620CE-DA58-4B44-A558-B048E4CE10C7}"/>
                </a:ext>
              </a:extLst>
            </p:cNvPr>
            <p:cNvSpPr/>
            <p:nvPr/>
          </p:nvSpPr>
          <p:spPr>
            <a:xfrm>
              <a:off x="2482283" y="2582146"/>
              <a:ext cx="1491175" cy="346249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</a:rPr>
                <a:t>Data Scientist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pic>
        <p:nvPicPr>
          <p:cNvPr id="4098" name="Picture 2" descr="Image result for github logo">
            <a:extLst>
              <a:ext uri="{FF2B5EF4-FFF2-40B4-BE49-F238E27FC236}">
                <a16:creationId xmlns:a16="http://schemas.microsoft.com/office/drawing/2014/main" id="{FF95E88C-B28A-4CA5-BAAF-53ED36E48B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609" y="3124735"/>
            <a:ext cx="838052" cy="838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0" name="Speech Bubble: Rectangle 69">
            <a:extLst>
              <a:ext uri="{FF2B5EF4-FFF2-40B4-BE49-F238E27FC236}">
                <a16:creationId xmlns:a16="http://schemas.microsoft.com/office/drawing/2014/main" id="{138AB434-CEAA-4002-ADD8-77F21A5EC749}"/>
              </a:ext>
            </a:extLst>
          </p:cNvPr>
          <p:cNvSpPr/>
          <p:nvPr/>
        </p:nvSpPr>
        <p:spPr>
          <a:xfrm>
            <a:off x="5507188" y="2238974"/>
            <a:ext cx="3355001" cy="1366628"/>
          </a:xfrm>
          <a:prstGeom prst="wedgeRectCallout">
            <a:avLst>
              <a:gd name="adj1" fmla="val -80635"/>
              <a:gd name="adj2" fmla="val -37585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First, I check in</a:t>
            </a:r>
            <a:b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my code.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65AFC037-EB97-4620-B165-D91AFC7FCEE6}"/>
              </a:ext>
            </a:extLst>
          </p:cNvPr>
          <p:cNvCxnSpPr>
            <a:cxnSpLocks/>
            <a:endCxn id="4098" idx="3"/>
          </p:cNvCxnSpPr>
          <p:nvPr/>
        </p:nvCxnSpPr>
        <p:spPr>
          <a:xfrm flipH="1">
            <a:off x="1152661" y="2715223"/>
            <a:ext cx="2275236" cy="828539"/>
          </a:xfrm>
          <a:prstGeom prst="straightConnector1">
            <a:avLst/>
          </a:prstGeom>
          <a:ln w="76200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3BA34BF0-202B-42DA-AD35-D98B825098F0}"/>
              </a:ext>
            </a:extLst>
          </p:cNvPr>
          <p:cNvSpPr txBox="1"/>
          <p:nvPr/>
        </p:nvSpPr>
        <p:spPr>
          <a:xfrm>
            <a:off x="503239" y="1912390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1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4FBAAB0-4CEE-4836-AE49-48BD2DA1C6FC}"/>
              </a:ext>
            </a:extLst>
          </p:cNvPr>
          <p:cNvSpPr txBox="1"/>
          <p:nvPr/>
        </p:nvSpPr>
        <p:spPr>
          <a:xfrm>
            <a:off x="503239" y="4680813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2</a:t>
            </a:r>
          </a:p>
        </p:txBody>
      </p:sp>
    </p:spTree>
    <p:extLst>
      <p:ext uri="{BB962C8B-B14F-4D97-AF65-F5344CB8AC3E}">
        <p14:creationId xmlns:p14="http://schemas.microsoft.com/office/powerpoint/2010/main" val="3563707709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3269C01-B6AC-438D-BB0F-E70F1872184E}"/>
              </a:ext>
            </a:extLst>
          </p:cNvPr>
          <p:cNvCxnSpPr>
            <a:cxnSpLocks/>
          </p:cNvCxnSpPr>
          <p:nvPr/>
        </p:nvCxnSpPr>
        <p:spPr>
          <a:xfrm>
            <a:off x="9520376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E0FB0A3-AADE-4077-A759-EF749264C5B8}"/>
              </a:ext>
            </a:extLst>
          </p:cNvPr>
          <p:cNvCxnSpPr>
            <a:cxnSpLocks/>
          </p:cNvCxnSpPr>
          <p:nvPr/>
        </p:nvCxnSpPr>
        <p:spPr>
          <a:xfrm>
            <a:off x="2985660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5FB6D0-4D6A-4C25-A810-A2FAC650BCBE}"/>
              </a:ext>
            </a:extLst>
          </p:cNvPr>
          <p:cNvCxnSpPr>
            <a:cxnSpLocks/>
          </p:cNvCxnSpPr>
          <p:nvPr/>
        </p:nvCxnSpPr>
        <p:spPr>
          <a:xfrm>
            <a:off x="5163899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7EA124-03FA-4FD3-A58C-F248DE952643}"/>
              </a:ext>
            </a:extLst>
          </p:cNvPr>
          <p:cNvCxnSpPr>
            <a:cxnSpLocks/>
          </p:cNvCxnSpPr>
          <p:nvPr/>
        </p:nvCxnSpPr>
        <p:spPr>
          <a:xfrm>
            <a:off x="7342137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al World Multi-Cloud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D05D419-647C-4C08-AB87-C0E88BC251C2}"/>
              </a:ext>
            </a:extLst>
          </p:cNvPr>
          <p:cNvSpPr/>
          <p:nvPr/>
        </p:nvSpPr>
        <p:spPr>
          <a:xfrm>
            <a:off x="2410697" y="3425161"/>
            <a:ext cx="9415696" cy="43944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CI/CD Pipeli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DC7B87-74B9-4A19-8C6C-776003FFDDD0}"/>
              </a:ext>
            </a:extLst>
          </p:cNvPr>
          <p:cNvSpPr txBox="1"/>
          <p:nvPr/>
        </p:nvSpPr>
        <p:spPr>
          <a:xfrm>
            <a:off x="3328949" y="923899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Proces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90ECCFB-6104-4612-932E-28033DE94809}"/>
              </a:ext>
            </a:extLst>
          </p:cNvPr>
          <p:cNvSpPr txBox="1"/>
          <p:nvPr/>
        </p:nvSpPr>
        <p:spPr>
          <a:xfrm>
            <a:off x="5507187" y="916010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rai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7FF49F-D288-42AC-82F0-A661457EFD0D}"/>
              </a:ext>
            </a:extLst>
          </p:cNvPr>
          <p:cNvSpPr txBox="1"/>
          <p:nvPr/>
        </p:nvSpPr>
        <p:spPr>
          <a:xfrm>
            <a:off x="7685426" y="906261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tag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D2D4D4-7FD8-405A-9B26-A3FFBCF5B652}"/>
              </a:ext>
            </a:extLst>
          </p:cNvPr>
          <p:cNvSpPr txBox="1"/>
          <p:nvPr/>
        </p:nvSpPr>
        <p:spPr>
          <a:xfrm>
            <a:off x="9863662" y="881622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erve</a:t>
            </a:r>
          </a:p>
        </p:txBody>
      </p: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7F448ED7-F170-47E9-A273-90774EDB6BD2}"/>
              </a:ext>
            </a:extLst>
          </p:cNvPr>
          <p:cNvSpPr/>
          <p:nvPr/>
        </p:nvSpPr>
        <p:spPr>
          <a:xfrm>
            <a:off x="3635024" y="5774267"/>
            <a:ext cx="3187561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</a:p>
        </p:txBody>
      </p: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7547D423-7ED6-4D73-B241-B1C26F5CCC36}"/>
              </a:ext>
            </a:extLst>
          </p:cNvPr>
          <p:cNvSpPr/>
          <p:nvPr/>
        </p:nvSpPr>
        <p:spPr>
          <a:xfrm>
            <a:off x="7951003" y="1373831"/>
            <a:ext cx="3539200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istributed Cloud</a:t>
            </a:r>
          </a:p>
        </p:txBody>
      </p:sp>
      <p:grpSp>
        <p:nvGrpSpPr>
          <p:cNvPr id="4096" name="Group 4095">
            <a:extLst>
              <a:ext uri="{FF2B5EF4-FFF2-40B4-BE49-F238E27FC236}">
                <a16:creationId xmlns:a16="http://schemas.microsoft.com/office/drawing/2014/main" id="{0C5B832A-E4FB-4C1A-80D4-B524DED41654}"/>
              </a:ext>
            </a:extLst>
          </p:cNvPr>
          <p:cNvGrpSpPr/>
          <p:nvPr/>
        </p:nvGrpSpPr>
        <p:grpSpPr>
          <a:xfrm>
            <a:off x="9581443" y="4200236"/>
            <a:ext cx="2348549" cy="2813372"/>
            <a:chOff x="7186082" y="3150177"/>
            <a:chExt cx="1761412" cy="2110029"/>
          </a:xfrm>
        </p:grpSpPr>
        <p:pic>
          <p:nvPicPr>
            <p:cNvPr id="116" name="Picture 3" descr="https://lh6.googleusercontent.com/OJj71FP6p8alxoeZCl0ns4zYnjFOn6y28cZcvjrPJHXhgeoGVXk0MW_gcWiwsRHly1neENoXZ7u29zGp4Mtnt1id7SCBfG7mjSMGyIIfMHkv1S8HHTgZnD-FYyB9wWZOCXGocgSWzsI">
              <a:extLst>
                <a:ext uri="{FF2B5EF4-FFF2-40B4-BE49-F238E27FC236}">
                  <a16:creationId xmlns:a16="http://schemas.microsoft.com/office/drawing/2014/main" id="{AF85649F-B9BD-42A8-B83D-879F491924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2413" y="3150177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EF0C545E-EAD6-4DC3-812B-C8498E644CDE}"/>
                </a:ext>
              </a:extLst>
            </p:cNvPr>
            <p:cNvSpPr/>
            <p:nvPr/>
          </p:nvSpPr>
          <p:spPr>
            <a:xfrm>
              <a:off x="7186082" y="4636958"/>
              <a:ext cx="1761412" cy="623248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  <a:cs typeface="Google Sans" panose="020B0604020202020204" charset="0"/>
                </a:rPr>
                <a:t>SRE/ML Engineers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D3277620-A393-4D4E-A9A1-3FC4910E9310}"/>
              </a:ext>
            </a:extLst>
          </p:cNvPr>
          <p:cNvGrpSpPr/>
          <p:nvPr/>
        </p:nvGrpSpPr>
        <p:grpSpPr>
          <a:xfrm>
            <a:off x="3309712" y="1537862"/>
            <a:ext cx="1988233" cy="2366665"/>
            <a:chOff x="2482283" y="1153396"/>
            <a:chExt cx="1491175" cy="1774999"/>
          </a:xfrm>
        </p:grpSpPr>
        <p:pic>
          <p:nvPicPr>
            <p:cNvPr id="115" name="Picture 2" descr="https://lh3.googleusercontent.com/W5ZorUwdr19lfnMl5uUIjqSG-FazB-7D7ieSNS3wqmm3Jpeuprqi1ry1PWeUxD_3-O4TII-bvIGyK1vBeS3HPxs3LxAB1mB3Or6UZVOI4QGRZANHBW31j3VauHZH8hpX55UhYNVWYEY">
              <a:extLst>
                <a:ext uri="{FF2B5EF4-FFF2-40B4-BE49-F238E27FC236}">
                  <a16:creationId xmlns:a16="http://schemas.microsoft.com/office/drawing/2014/main" id="{B4199A15-AF88-4CC1-84CE-CA9866C00A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2284" y="1153396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303620CE-DA58-4B44-A558-B048E4CE10C7}"/>
                </a:ext>
              </a:extLst>
            </p:cNvPr>
            <p:cNvSpPr/>
            <p:nvPr/>
          </p:nvSpPr>
          <p:spPr>
            <a:xfrm>
              <a:off x="2482283" y="2582146"/>
              <a:ext cx="1491175" cy="346249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</a:rPr>
                <a:t>Data Scientist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pic>
        <p:nvPicPr>
          <p:cNvPr id="4098" name="Picture 2" descr="Image result for github logo">
            <a:extLst>
              <a:ext uri="{FF2B5EF4-FFF2-40B4-BE49-F238E27FC236}">
                <a16:creationId xmlns:a16="http://schemas.microsoft.com/office/drawing/2014/main" id="{FF95E88C-B28A-4CA5-BAAF-53ED36E48B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609" y="3124735"/>
            <a:ext cx="838052" cy="838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4" name="Group 113">
            <a:extLst>
              <a:ext uri="{FF2B5EF4-FFF2-40B4-BE49-F238E27FC236}">
                <a16:creationId xmlns:a16="http://schemas.microsoft.com/office/drawing/2014/main" id="{499F41B4-F665-44DC-8E57-27AB5BE7593B}"/>
              </a:ext>
            </a:extLst>
          </p:cNvPr>
          <p:cNvGrpSpPr/>
          <p:nvPr/>
        </p:nvGrpSpPr>
        <p:grpSpPr>
          <a:xfrm>
            <a:off x="1318288" y="3406424"/>
            <a:ext cx="1580517" cy="492600"/>
            <a:chOff x="988716" y="2554818"/>
            <a:chExt cx="1185388" cy="369450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A711515-B5AD-42F7-BA7A-103BF873B44D}"/>
                </a:ext>
              </a:extLst>
            </p:cNvPr>
            <p:cNvCxnSpPr>
              <a:cxnSpLocks/>
              <a:endCxn id="48" idx="2"/>
            </p:cNvCxnSpPr>
            <p:nvPr/>
          </p:nvCxnSpPr>
          <p:spPr>
            <a:xfrm>
              <a:off x="988716" y="2729344"/>
              <a:ext cx="815938" cy="10199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B8764121-7611-471D-AB48-40AD6B92DDC2}"/>
                </a:ext>
              </a:extLst>
            </p:cNvPr>
            <p:cNvGrpSpPr/>
            <p:nvPr/>
          </p:nvGrpSpPr>
          <p:grpSpPr>
            <a:xfrm>
              <a:off x="1804654" y="2554818"/>
              <a:ext cx="369450" cy="369450"/>
              <a:chOff x="1804654" y="2554818"/>
              <a:chExt cx="369450" cy="369450"/>
            </a:xfrm>
          </p:grpSpPr>
          <p:sp>
            <p:nvSpPr>
              <p:cNvPr id="48" name="Flowchart: Connector 47">
                <a:extLst>
                  <a:ext uri="{FF2B5EF4-FFF2-40B4-BE49-F238E27FC236}">
                    <a16:creationId xmlns:a16="http://schemas.microsoft.com/office/drawing/2014/main" id="{2F574874-E1C0-4C85-B566-25D1AD6D3AD5}"/>
                  </a:ext>
                </a:extLst>
              </p:cNvPr>
              <p:cNvSpPr/>
              <p:nvPr/>
            </p:nvSpPr>
            <p:spPr>
              <a:xfrm>
                <a:off x="1804654" y="2554818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0" name="Flowchart: Connector 49">
                <a:extLst>
                  <a:ext uri="{FF2B5EF4-FFF2-40B4-BE49-F238E27FC236}">
                    <a16:creationId xmlns:a16="http://schemas.microsoft.com/office/drawing/2014/main" id="{EFC55BE7-8058-4977-B413-25CBEF541600}"/>
                  </a:ext>
                </a:extLst>
              </p:cNvPr>
              <p:cNvSpPr/>
              <p:nvPr/>
            </p:nvSpPr>
            <p:spPr>
              <a:xfrm>
                <a:off x="1880327" y="2630491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70" name="Speech Bubble: Rectangle 69">
            <a:extLst>
              <a:ext uri="{FF2B5EF4-FFF2-40B4-BE49-F238E27FC236}">
                <a16:creationId xmlns:a16="http://schemas.microsoft.com/office/drawing/2014/main" id="{42D7BD2F-9E06-4BD5-ABCA-8B2162E4B2BC}"/>
              </a:ext>
            </a:extLst>
          </p:cNvPr>
          <p:cNvSpPr/>
          <p:nvPr/>
        </p:nvSpPr>
        <p:spPr>
          <a:xfrm>
            <a:off x="5507188" y="2238974"/>
            <a:ext cx="3355001" cy="1366628"/>
          </a:xfrm>
          <a:prstGeom prst="wedgeRectCallout">
            <a:avLst>
              <a:gd name="adj1" fmla="val -80635"/>
              <a:gd name="adj2" fmla="val -37585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hat kicks off</a:t>
            </a:r>
            <a:b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a CI/CD Pipeline.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4372646-5DB8-4A48-A49D-B68E341171B4}"/>
              </a:ext>
            </a:extLst>
          </p:cNvPr>
          <p:cNvSpPr txBox="1"/>
          <p:nvPr/>
        </p:nvSpPr>
        <p:spPr>
          <a:xfrm>
            <a:off x="503239" y="1912390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1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4B0E02B-C095-48D4-96BB-E080CDACEB1B}"/>
              </a:ext>
            </a:extLst>
          </p:cNvPr>
          <p:cNvSpPr txBox="1"/>
          <p:nvPr/>
        </p:nvSpPr>
        <p:spPr>
          <a:xfrm>
            <a:off x="503239" y="4680813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2</a:t>
            </a:r>
          </a:p>
        </p:txBody>
      </p:sp>
    </p:spTree>
    <p:extLst>
      <p:ext uri="{BB962C8B-B14F-4D97-AF65-F5344CB8AC3E}">
        <p14:creationId xmlns:p14="http://schemas.microsoft.com/office/powerpoint/2010/main" val="980048030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3269C01-B6AC-438D-BB0F-E70F1872184E}"/>
              </a:ext>
            </a:extLst>
          </p:cNvPr>
          <p:cNvCxnSpPr>
            <a:cxnSpLocks/>
          </p:cNvCxnSpPr>
          <p:nvPr/>
        </p:nvCxnSpPr>
        <p:spPr>
          <a:xfrm>
            <a:off x="9520376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E0FB0A3-AADE-4077-A759-EF749264C5B8}"/>
              </a:ext>
            </a:extLst>
          </p:cNvPr>
          <p:cNvCxnSpPr>
            <a:cxnSpLocks/>
          </p:cNvCxnSpPr>
          <p:nvPr/>
        </p:nvCxnSpPr>
        <p:spPr>
          <a:xfrm>
            <a:off x="2985660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5FB6D0-4D6A-4C25-A810-A2FAC650BCBE}"/>
              </a:ext>
            </a:extLst>
          </p:cNvPr>
          <p:cNvCxnSpPr>
            <a:cxnSpLocks/>
          </p:cNvCxnSpPr>
          <p:nvPr/>
        </p:nvCxnSpPr>
        <p:spPr>
          <a:xfrm>
            <a:off x="5163899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7EA124-03FA-4FD3-A58C-F248DE952643}"/>
              </a:ext>
            </a:extLst>
          </p:cNvPr>
          <p:cNvCxnSpPr>
            <a:cxnSpLocks/>
          </p:cNvCxnSpPr>
          <p:nvPr/>
        </p:nvCxnSpPr>
        <p:spPr>
          <a:xfrm>
            <a:off x="7342137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al World Multi-Cloud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D05D419-647C-4C08-AB87-C0E88BC251C2}"/>
              </a:ext>
            </a:extLst>
          </p:cNvPr>
          <p:cNvSpPr/>
          <p:nvPr/>
        </p:nvSpPr>
        <p:spPr>
          <a:xfrm>
            <a:off x="2410697" y="3425161"/>
            <a:ext cx="9415696" cy="43944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CI/CD Pipeli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DC7B87-74B9-4A19-8C6C-776003FFDDD0}"/>
              </a:ext>
            </a:extLst>
          </p:cNvPr>
          <p:cNvSpPr txBox="1"/>
          <p:nvPr/>
        </p:nvSpPr>
        <p:spPr>
          <a:xfrm>
            <a:off x="3328949" y="923899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Proces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90ECCFB-6104-4612-932E-28033DE94809}"/>
              </a:ext>
            </a:extLst>
          </p:cNvPr>
          <p:cNvSpPr txBox="1"/>
          <p:nvPr/>
        </p:nvSpPr>
        <p:spPr>
          <a:xfrm>
            <a:off x="5507187" y="916010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rai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7FF49F-D288-42AC-82F0-A661457EFD0D}"/>
              </a:ext>
            </a:extLst>
          </p:cNvPr>
          <p:cNvSpPr txBox="1"/>
          <p:nvPr/>
        </p:nvSpPr>
        <p:spPr>
          <a:xfrm>
            <a:off x="7685426" y="906261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tag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D2D4D4-7FD8-405A-9B26-A3FFBCF5B652}"/>
              </a:ext>
            </a:extLst>
          </p:cNvPr>
          <p:cNvSpPr txBox="1"/>
          <p:nvPr/>
        </p:nvSpPr>
        <p:spPr>
          <a:xfrm>
            <a:off x="9863662" y="881622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erve</a:t>
            </a:r>
          </a:p>
        </p:txBody>
      </p: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7F448ED7-F170-47E9-A273-90774EDB6BD2}"/>
              </a:ext>
            </a:extLst>
          </p:cNvPr>
          <p:cNvSpPr/>
          <p:nvPr/>
        </p:nvSpPr>
        <p:spPr>
          <a:xfrm>
            <a:off x="3635024" y="5774267"/>
            <a:ext cx="3187561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</a:p>
        </p:txBody>
      </p: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7547D423-7ED6-4D73-B241-B1C26F5CCC36}"/>
              </a:ext>
            </a:extLst>
          </p:cNvPr>
          <p:cNvSpPr/>
          <p:nvPr/>
        </p:nvSpPr>
        <p:spPr>
          <a:xfrm>
            <a:off x="7951003" y="1373831"/>
            <a:ext cx="3539200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istributed Cloud</a:t>
            </a:r>
          </a:p>
        </p:txBody>
      </p:sp>
      <p:grpSp>
        <p:nvGrpSpPr>
          <p:cNvPr id="4096" name="Group 4095">
            <a:extLst>
              <a:ext uri="{FF2B5EF4-FFF2-40B4-BE49-F238E27FC236}">
                <a16:creationId xmlns:a16="http://schemas.microsoft.com/office/drawing/2014/main" id="{0C5B832A-E4FB-4C1A-80D4-B524DED41654}"/>
              </a:ext>
            </a:extLst>
          </p:cNvPr>
          <p:cNvGrpSpPr/>
          <p:nvPr/>
        </p:nvGrpSpPr>
        <p:grpSpPr>
          <a:xfrm>
            <a:off x="9581443" y="4200236"/>
            <a:ext cx="2348549" cy="2813372"/>
            <a:chOff x="7186082" y="3150177"/>
            <a:chExt cx="1761412" cy="2110029"/>
          </a:xfrm>
        </p:grpSpPr>
        <p:pic>
          <p:nvPicPr>
            <p:cNvPr id="116" name="Picture 3" descr="https://lh6.googleusercontent.com/OJj71FP6p8alxoeZCl0ns4zYnjFOn6y28cZcvjrPJHXhgeoGVXk0MW_gcWiwsRHly1neENoXZ7u29zGp4Mtnt1id7SCBfG7mjSMGyIIfMHkv1S8HHTgZnD-FYyB9wWZOCXGocgSWzsI">
              <a:extLst>
                <a:ext uri="{FF2B5EF4-FFF2-40B4-BE49-F238E27FC236}">
                  <a16:creationId xmlns:a16="http://schemas.microsoft.com/office/drawing/2014/main" id="{AF85649F-B9BD-42A8-B83D-879F491924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2413" y="3150177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EF0C545E-EAD6-4DC3-812B-C8498E644CDE}"/>
                </a:ext>
              </a:extLst>
            </p:cNvPr>
            <p:cNvSpPr/>
            <p:nvPr/>
          </p:nvSpPr>
          <p:spPr>
            <a:xfrm>
              <a:off x="7186082" y="4636958"/>
              <a:ext cx="1761412" cy="623248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  <a:cs typeface="Google Sans" panose="020B0604020202020204" charset="0"/>
                </a:rPr>
                <a:t>SRE/ML Engineers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D3277620-A393-4D4E-A9A1-3FC4910E9310}"/>
              </a:ext>
            </a:extLst>
          </p:cNvPr>
          <p:cNvGrpSpPr/>
          <p:nvPr/>
        </p:nvGrpSpPr>
        <p:grpSpPr>
          <a:xfrm>
            <a:off x="3309712" y="1537862"/>
            <a:ext cx="1988233" cy="2366665"/>
            <a:chOff x="2482283" y="1153396"/>
            <a:chExt cx="1491175" cy="1774999"/>
          </a:xfrm>
        </p:grpSpPr>
        <p:pic>
          <p:nvPicPr>
            <p:cNvPr id="115" name="Picture 2" descr="https://lh3.googleusercontent.com/W5ZorUwdr19lfnMl5uUIjqSG-FazB-7D7ieSNS3wqmm3Jpeuprqi1ry1PWeUxD_3-O4TII-bvIGyK1vBeS3HPxs3LxAB1mB3Or6UZVOI4QGRZANHBW31j3VauHZH8hpX55UhYNVWYEY">
              <a:extLst>
                <a:ext uri="{FF2B5EF4-FFF2-40B4-BE49-F238E27FC236}">
                  <a16:creationId xmlns:a16="http://schemas.microsoft.com/office/drawing/2014/main" id="{B4199A15-AF88-4CC1-84CE-CA9866C00A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2284" y="1153396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303620CE-DA58-4B44-A558-B048E4CE10C7}"/>
                </a:ext>
              </a:extLst>
            </p:cNvPr>
            <p:cNvSpPr/>
            <p:nvPr/>
          </p:nvSpPr>
          <p:spPr>
            <a:xfrm>
              <a:off x="2482283" y="2582146"/>
              <a:ext cx="1491175" cy="346249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</a:rPr>
                <a:t>Data Scientist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pic>
        <p:nvPicPr>
          <p:cNvPr id="4098" name="Picture 2" descr="Image result for github logo">
            <a:extLst>
              <a:ext uri="{FF2B5EF4-FFF2-40B4-BE49-F238E27FC236}">
                <a16:creationId xmlns:a16="http://schemas.microsoft.com/office/drawing/2014/main" id="{FF95E88C-B28A-4CA5-BAAF-53ED36E48B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609" y="3124735"/>
            <a:ext cx="838052" cy="838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9" name="Group 118">
            <a:extLst>
              <a:ext uri="{FF2B5EF4-FFF2-40B4-BE49-F238E27FC236}">
                <a16:creationId xmlns:a16="http://schemas.microsoft.com/office/drawing/2014/main" id="{4954FD46-8EA4-4963-B700-0858D4244EAA}"/>
              </a:ext>
            </a:extLst>
          </p:cNvPr>
          <p:cNvGrpSpPr/>
          <p:nvPr/>
        </p:nvGrpSpPr>
        <p:grpSpPr>
          <a:xfrm>
            <a:off x="2646219" y="3643746"/>
            <a:ext cx="863989" cy="1747204"/>
            <a:chOff x="1984664" y="2732809"/>
            <a:chExt cx="647992" cy="1310403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6404DCC-90AE-4AC9-83E7-DFA8E7886A6C}"/>
                </a:ext>
              </a:extLst>
            </p:cNvPr>
            <p:cNvCxnSpPr>
              <a:cxnSpLocks/>
              <a:endCxn id="53" idx="1"/>
            </p:cNvCxnSpPr>
            <p:nvPr/>
          </p:nvCxnSpPr>
          <p:spPr>
            <a:xfrm>
              <a:off x="1984664" y="2732809"/>
              <a:ext cx="332647" cy="995058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E3B0A1DC-D93B-4ACB-96CE-86D22A8C5C1F}"/>
                </a:ext>
              </a:extLst>
            </p:cNvPr>
            <p:cNvGrpSpPr/>
            <p:nvPr/>
          </p:nvGrpSpPr>
          <p:grpSpPr>
            <a:xfrm>
              <a:off x="2263206" y="3673762"/>
              <a:ext cx="369450" cy="369450"/>
              <a:chOff x="2263206" y="3673762"/>
              <a:chExt cx="369450" cy="369450"/>
            </a:xfrm>
          </p:grpSpPr>
          <p:sp>
            <p:nvSpPr>
              <p:cNvPr id="53" name="Flowchart: Connector 52">
                <a:extLst>
                  <a:ext uri="{FF2B5EF4-FFF2-40B4-BE49-F238E27FC236}">
                    <a16:creationId xmlns:a16="http://schemas.microsoft.com/office/drawing/2014/main" id="{BC2155B0-99EE-4940-BB15-1641641349DF}"/>
                  </a:ext>
                </a:extLst>
              </p:cNvPr>
              <p:cNvSpPr/>
              <p:nvPr/>
            </p:nvSpPr>
            <p:spPr>
              <a:xfrm>
                <a:off x="2263206" y="367376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4" name="Flowchart: Connector 53">
                <a:extLst>
                  <a:ext uri="{FF2B5EF4-FFF2-40B4-BE49-F238E27FC236}">
                    <a16:creationId xmlns:a16="http://schemas.microsoft.com/office/drawing/2014/main" id="{299F4F19-09D0-441A-832B-5BB13748F1C2}"/>
                  </a:ext>
                </a:extLst>
              </p:cNvPr>
              <p:cNvSpPr/>
              <p:nvPr/>
            </p:nvSpPr>
            <p:spPr>
              <a:xfrm>
                <a:off x="2338879" y="374943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499F41B4-F665-44DC-8E57-27AB5BE7593B}"/>
              </a:ext>
            </a:extLst>
          </p:cNvPr>
          <p:cNvGrpSpPr/>
          <p:nvPr/>
        </p:nvGrpSpPr>
        <p:grpSpPr>
          <a:xfrm>
            <a:off x="1318288" y="3406424"/>
            <a:ext cx="1580517" cy="492600"/>
            <a:chOff x="988716" y="2554818"/>
            <a:chExt cx="1185388" cy="369450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A711515-B5AD-42F7-BA7A-103BF873B44D}"/>
                </a:ext>
              </a:extLst>
            </p:cNvPr>
            <p:cNvCxnSpPr>
              <a:cxnSpLocks/>
              <a:endCxn id="48" idx="2"/>
            </p:cNvCxnSpPr>
            <p:nvPr/>
          </p:nvCxnSpPr>
          <p:spPr>
            <a:xfrm>
              <a:off x="988716" y="2729344"/>
              <a:ext cx="815938" cy="10199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B8764121-7611-471D-AB48-40AD6B92DDC2}"/>
                </a:ext>
              </a:extLst>
            </p:cNvPr>
            <p:cNvGrpSpPr/>
            <p:nvPr/>
          </p:nvGrpSpPr>
          <p:grpSpPr>
            <a:xfrm>
              <a:off x="1804654" y="2554818"/>
              <a:ext cx="369450" cy="369450"/>
              <a:chOff x="1804654" y="2554818"/>
              <a:chExt cx="369450" cy="369450"/>
            </a:xfrm>
          </p:grpSpPr>
          <p:sp>
            <p:nvSpPr>
              <p:cNvPr id="48" name="Flowchart: Connector 47">
                <a:extLst>
                  <a:ext uri="{FF2B5EF4-FFF2-40B4-BE49-F238E27FC236}">
                    <a16:creationId xmlns:a16="http://schemas.microsoft.com/office/drawing/2014/main" id="{2F574874-E1C0-4C85-B566-25D1AD6D3AD5}"/>
                  </a:ext>
                </a:extLst>
              </p:cNvPr>
              <p:cNvSpPr/>
              <p:nvPr/>
            </p:nvSpPr>
            <p:spPr>
              <a:xfrm>
                <a:off x="1804654" y="2554818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0" name="Flowchart: Connector 49">
                <a:extLst>
                  <a:ext uri="{FF2B5EF4-FFF2-40B4-BE49-F238E27FC236}">
                    <a16:creationId xmlns:a16="http://schemas.microsoft.com/office/drawing/2014/main" id="{EFC55BE7-8058-4977-B413-25CBEF541600}"/>
                  </a:ext>
                </a:extLst>
              </p:cNvPr>
              <p:cNvSpPr/>
              <p:nvPr/>
            </p:nvSpPr>
            <p:spPr>
              <a:xfrm>
                <a:off x="1880327" y="2630491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70" name="Speech Bubble: Rectangle 69">
            <a:extLst>
              <a:ext uri="{FF2B5EF4-FFF2-40B4-BE49-F238E27FC236}">
                <a16:creationId xmlns:a16="http://schemas.microsoft.com/office/drawing/2014/main" id="{A5DD8527-BC78-4DF2-89A9-332954EC588A}"/>
              </a:ext>
            </a:extLst>
          </p:cNvPr>
          <p:cNvSpPr/>
          <p:nvPr/>
        </p:nvSpPr>
        <p:spPr>
          <a:xfrm>
            <a:off x="5507188" y="2238974"/>
            <a:ext cx="3355001" cy="1366628"/>
          </a:xfrm>
          <a:prstGeom prst="wedgeRectCallout">
            <a:avLst>
              <a:gd name="adj1" fmla="val -80635"/>
              <a:gd name="adj2" fmla="val -37585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CI/CD pipeline triggers a Kubeflow Pipeline on-prem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E0AA5B3-8485-4C49-8B15-DBA69F609437}"/>
              </a:ext>
            </a:extLst>
          </p:cNvPr>
          <p:cNvSpPr txBox="1"/>
          <p:nvPr/>
        </p:nvSpPr>
        <p:spPr>
          <a:xfrm>
            <a:off x="503239" y="1912390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1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DA03875-098A-4B3D-BB88-E291627C7D53}"/>
              </a:ext>
            </a:extLst>
          </p:cNvPr>
          <p:cNvSpPr txBox="1"/>
          <p:nvPr/>
        </p:nvSpPr>
        <p:spPr>
          <a:xfrm>
            <a:off x="503239" y="4680813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2</a:t>
            </a:r>
          </a:p>
        </p:txBody>
      </p:sp>
    </p:spTree>
    <p:extLst>
      <p:ext uri="{BB962C8B-B14F-4D97-AF65-F5344CB8AC3E}">
        <p14:creationId xmlns:p14="http://schemas.microsoft.com/office/powerpoint/2010/main" val="3215698124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3269C01-B6AC-438D-BB0F-E70F1872184E}"/>
              </a:ext>
            </a:extLst>
          </p:cNvPr>
          <p:cNvCxnSpPr>
            <a:cxnSpLocks/>
          </p:cNvCxnSpPr>
          <p:nvPr/>
        </p:nvCxnSpPr>
        <p:spPr>
          <a:xfrm>
            <a:off x="9520376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E0FB0A3-AADE-4077-A759-EF749264C5B8}"/>
              </a:ext>
            </a:extLst>
          </p:cNvPr>
          <p:cNvCxnSpPr>
            <a:cxnSpLocks/>
          </p:cNvCxnSpPr>
          <p:nvPr/>
        </p:nvCxnSpPr>
        <p:spPr>
          <a:xfrm>
            <a:off x="2985660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5FB6D0-4D6A-4C25-A810-A2FAC650BCBE}"/>
              </a:ext>
            </a:extLst>
          </p:cNvPr>
          <p:cNvCxnSpPr>
            <a:cxnSpLocks/>
          </p:cNvCxnSpPr>
          <p:nvPr/>
        </p:nvCxnSpPr>
        <p:spPr>
          <a:xfrm>
            <a:off x="5163899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7EA124-03FA-4FD3-A58C-F248DE952643}"/>
              </a:ext>
            </a:extLst>
          </p:cNvPr>
          <p:cNvCxnSpPr>
            <a:cxnSpLocks/>
          </p:cNvCxnSpPr>
          <p:nvPr/>
        </p:nvCxnSpPr>
        <p:spPr>
          <a:xfrm>
            <a:off x="7342137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al World Multi-Cloud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D05D419-647C-4C08-AB87-C0E88BC251C2}"/>
              </a:ext>
            </a:extLst>
          </p:cNvPr>
          <p:cNvSpPr/>
          <p:nvPr/>
        </p:nvSpPr>
        <p:spPr>
          <a:xfrm>
            <a:off x="2410697" y="3425161"/>
            <a:ext cx="9415696" cy="43944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CI/CD Pipeli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DC7B87-74B9-4A19-8C6C-776003FFDDD0}"/>
              </a:ext>
            </a:extLst>
          </p:cNvPr>
          <p:cNvSpPr txBox="1"/>
          <p:nvPr/>
        </p:nvSpPr>
        <p:spPr>
          <a:xfrm>
            <a:off x="3328949" y="923899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Proces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90ECCFB-6104-4612-932E-28033DE94809}"/>
              </a:ext>
            </a:extLst>
          </p:cNvPr>
          <p:cNvSpPr txBox="1"/>
          <p:nvPr/>
        </p:nvSpPr>
        <p:spPr>
          <a:xfrm>
            <a:off x="5507187" y="916010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rai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7FF49F-D288-42AC-82F0-A661457EFD0D}"/>
              </a:ext>
            </a:extLst>
          </p:cNvPr>
          <p:cNvSpPr txBox="1"/>
          <p:nvPr/>
        </p:nvSpPr>
        <p:spPr>
          <a:xfrm>
            <a:off x="7685426" y="906261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tag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D2D4D4-7FD8-405A-9B26-A3FFBCF5B652}"/>
              </a:ext>
            </a:extLst>
          </p:cNvPr>
          <p:cNvSpPr txBox="1"/>
          <p:nvPr/>
        </p:nvSpPr>
        <p:spPr>
          <a:xfrm>
            <a:off x="9863662" y="881622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erve</a:t>
            </a: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7FFC6E1C-E113-411F-8F13-6FF737A37D5E}"/>
              </a:ext>
            </a:extLst>
          </p:cNvPr>
          <p:cNvGrpSpPr/>
          <p:nvPr/>
        </p:nvGrpSpPr>
        <p:grpSpPr>
          <a:xfrm>
            <a:off x="3246608" y="4909323"/>
            <a:ext cx="2199376" cy="492600"/>
            <a:chOff x="2434956" y="3681992"/>
            <a:chExt cx="1649532" cy="369450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3D231B7E-5932-4004-936C-7163D7BB7D27}"/>
                </a:ext>
              </a:extLst>
            </p:cNvPr>
            <p:cNvCxnSpPr>
              <a:cxnSpLocks/>
              <a:endCxn id="56" idx="2"/>
            </p:cNvCxnSpPr>
            <p:nvPr/>
          </p:nvCxnSpPr>
          <p:spPr>
            <a:xfrm>
              <a:off x="2434956" y="3864552"/>
              <a:ext cx="1280082" cy="2165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4FA9C2D7-89FB-4F86-88A2-FAB403AE4AFA}"/>
                </a:ext>
              </a:extLst>
            </p:cNvPr>
            <p:cNvGrpSpPr/>
            <p:nvPr/>
          </p:nvGrpSpPr>
          <p:grpSpPr>
            <a:xfrm>
              <a:off x="3715038" y="3681992"/>
              <a:ext cx="369450" cy="369450"/>
              <a:chOff x="3715038" y="3681992"/>
              <a:chExt cx="369450" cy="369450"/>
            </a:xfrm>
          </p:grpSpPr>
          <p:sp>
            <p:nvSpPr>
              <p:cNvPr id="56" name="Flowchart: Connector 55">
                <a:extLst>
                  <a:ext uri="{FF2B5EF4-FFF2-40B4-BE49-F238E27FC236}">
                    <a16:creationId xmlns:a16="http://schemas.microsoft.com/office/drawing/2014/main" id="{5A6F129A-65A5-4F8E-B24C-FEB3687B1C0C}"/>
                  </a:ext>
                </a:extLst>
              </p:cNvPr>
              <p:cNvSpPr/>
              <p:nvPr/>
            </p:nvSpPr>
            <p:spPr>
              <a:xfrm>
                <a:off x="3715038" y="368199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7" name="Flowchart: Connector 56">
                <a:extLst>
                  <a:ext uri="{FF2B5EF4-FFF2-40B4-BE49-F238E27FC236}">
                    <a16:creationId xmlns:a16="http://schemas.microsoft.com/office/drawing/2014/main" id="{BE0A6164-A927-4D6E-929D-9589F9CF26C8}"/>
                  </a:ext>
                </a:extLst>
              </p:cNvPr>
              <p:cNvSpPr/>
              <p:nvPr/>
            </p:nvSpPr>
            <p:spPr>
              <a:xfrm>
                <a:off x="3790711" y="375766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7F448ED7-F170-47E9-A273-90774EDB6BD2}"/>
              </a:ext>
            </a:extLst>
          </p:cNvPr>
          <p:cNvSpPr/>
          <p:nvPr/>
        </p:nvSpPr>
        <p:spPr>
          <a:xfrm>
            <a:off x="3635024" y="5774267"/>
            <a:ext cx="3187561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</a:p>
        </p:txBody>
      </p: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7547D423-7ED6-4D73-B241-B1C26F5CCC36}"/>
              </a:ext>
            </a:extLst>
          </p:cNvPr>
          <p:cNvSpPr/>
          <p:nvPr/>
        </p:nvSpPr>
        <p:spPr>
          <a:xfrm>
            <a:off x="7951003" y="1373831"/>
            <a:ext cx="3539200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istributed Cloud</a:t>
            </a:r>
          </a:p>
        </p:txBody>
      </p:sp>
      <p:grpSp>
        <p:nvGrpSpPr>
          <p:cNvPr id="4096" name="Group 4095">
            <a:extLst>
              <a:ext uri="{FF2B5EF4-FFF2-40B4-BE49-F238E27FC236}">
                <a16:creationId xmlns:a16="http://schemas.microsoft.com/office/drawing/2014/main" id="{0C5B832A-E4FB-4C1A-80D4-B524DED41654}"/>
              </a:ext>
            </a:extLst>
          </p:cNvPr>
          <p:cNvGrpSpPr/>
          <p:nvPr/>
        </p:nvGrpSpPr>
        <p:grpSpPr>
          <a:xfrm>
            <a:off x="9581443" y="4200236"/>
            <a:ext cx="2348549" cy="2813372"/>
            <a:chOff x="7186082" y="3150177"/>
            <a:chExt cx="1761412" cy="2110029"/>
          </a:xfrm>
        </p:grpSpPr>
        <p:pic>
          <p:nvPicPr>
            <p:cNvPr id="116" name="Picture 3" descr="https://lh6.googleusercontent.com/OJj71FP6p8alxoeZCl0ns4zYnjFOn6y28cZcvjrPJHXhgeoGVXk0MW_gcWiwsRHly1neENoXZ7u29zGp4Mtnt1id7SCBfG7mjSMGyIIfMHkv1S8HHTgZnD-FYyB9wWZOCXGocgSWzsI">
              <a:extLst>
                <a:ext uri="{FF2B5EF4-FFF2-40B4-BE49-F238E27FC236}">
                  <a16:creationId xmlns:a16="http://schemas.microsoft.com/office/drawing/2014/main" id="{AF85649F-B9BD-42A8-B83D-879F491924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2413" y="3150177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EF0C545E-EAD6-4DC3-812B-C8498E644CDE}"/>
                </a:ext>
              </a:extLst>
            </p:cNvPr>
            <p:cNvSpPr/>
            <p:nvPr/>
          </p:nvSpPr>
          <p:spPr>
            <a:xfrm>
              <a:off x="7186082" y="4636958"/>
              <a:ext cx="1761412" cy="623248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  <a:cs typeface="Google Sans" panose="020B0604020202020204" charset="0"/>
                </a:rPr>
                <a:t>SRE/ML Engineers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D3277620-A393-4D4E-A9A1-3FC4910E9310}"/>
              </a:ext>
            </a:extLst>
          </p:cNvPr>
          <p:cNvGrpSpPr/>
          <p:nvPr/>
        </p:nvGrpSpPr>
        <p:grpSpPr>
          <a:xfrm>
            <a:off x="3309712" y="1537862"/>
            <a:ext cx="1988233" cy="2366665"/>
            <a:chOff x="2482283" y="1153396"/>
            <a:chExt cx="1491175" cy="1774999"/>
          </a:xfrm>
        </p:grpSpPr>
        <p:pic>
          <p:nvPicPr>
            <p:cNvPr id="115" name="Picture 2" descr="https://lh3.googleusercontent.com/W5ZorUwdr19lfnMl5uUIjqSG-FazB-7D7ieSNS3wqmm3Jpeuprqi1ry1PWeUxD_3-O4TII-bvIGyK1vBeS3HPxs3LxAB1mB3Or6UZVOI4QGRZANHBW31j3VauHZH8hpX55UhYNVWYEY">
              <a:extLst>
                <a:ext uri="{FF2B5EF4-FFF2-40B4-BE49-F238E27FC236}">
                  <a16:creationId xmlns:a16="http://schemas.microsoft.com/office/drawing/2014/main" id="{B4199A15-AF88-4CC1-84CE-CA9866C00A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2284" y="1153396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303620CE-DA58-4B44-A558-B048E4CE10C7}"/>
                </a:ext>
              </a:extLst>
            </p:cNvPr>
            <p:cNvSpPr/>
            <p:nvPr/>
          </p:nvSpPr>
          <p:spPr>
            <a:xfrm>
              <a:off x="2482283" y="2582146"/>
              <a:ext cx="1491175" cy="346249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</a:rPr>
                <a:t>Data Scientist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pic>
        <p:nvPicPr>
          <p:cNvPr id="4098" name="Picture 2" descr="Image result for github logo">
            <a:extLst>
              <a:ext uri="{FF2B5EF4-FFF2-40B4-BE49-F238E27FC236}">
                <a16:creationId xmlns:a16="http://schemas.microsoft.com/office/drawing/2014/main" id="{FF95E88C-B28A-4CA5-BAAF-53ED36E48B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609" y="3124735"/>
            <a:ext cx="838052" cy="838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9" name="Group 118">
            <a:extLst>
              <a:ext uri="{FF2B5EF4-FFF2-40B4-BE49-F238E27FC236}">
                <a16:creationId xmlns:a16="http://schemas.microsoft.com/office/drawing/2014/main" id="{4954FD46-8EA4-4963-B700-0858D4244EAA}"/>
              </a:ext>
            </a:extLst>
          </p:cNvPr>
          <p:cNvGrpSpPr/>
          <p:nvPr/>
        </p:nvGrpSpPr>
        <p:grpSpPr>
          <a:xfrm>
            <a:off x="2646219" y="3643746"/>
            <a:ext cx="863989" cy="1747204"/>
            <a:chOff x="1984664" y="2732809"/>
            <a:chExt cx="647992" cy="1310403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6404DCC-90AE-4AC9-83E7-DFA8E7886A6C}"/>
                </a:ext>
              </a:extLst>
            </p:cNvPr>
            <p:cNvCxnSpPr>
              <a:cxnSpLocks/>
              <a:endCxn id="53" idx="1"/>
            </p:cNvCxnSpPr>
            <p:nvPr/>
          </p:nvCxnSpPr>
          <p:spPr>
            <a:xfrm>
              <a:off x="1984664" y="2732809"/>
              <a:ext cx="332647" cy="995058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E3B0A1DC-D93B-4ACB-96CE-86D22A8C5C1F}"/>
                </a:ext>
              </a:extLst>
            </p:cNvPr>
            <p:cNvGrpSpPr/>
            <p:nvPr/>
          </p:nvGrpSpPr>
          <p:grpSpPr>
            <a:xfrm>
              <a:off x="2263206" y="3673762"/>
              <a:ext cx="369450" cy="369450"/>
              <a:chOff x="2263206" y="3673762"/>
              <a:chExt cx="369450" cy="369450"/>
            </a:xfrm>
          </p:grpSpPr>
          <p:sp>
            <p:nvSpPr>
              <p:cNvPr id="53" name="Flowchart: Connector 52">
                <a:extLst>
                  <a:ext uri="{FF2B5EF4-FFF2-40B4-BE49-F238E27FC236}">
                    <a16:creationId xmlns:a16="http://schemas.microsoft.com/office/drawing/2014/main" id="{BC2155B0-99EE-4940-BB15-1641641349DF}"/>
                  </a:ext>
                </a:extLst>
              </p:cNvPr>
              <p:cNvSpPr/>
              <p:nvPr/>
            </p:nvSpPr>
            <p:spPr>
              <a:xfrm>
                <a:off x="2263206" y="367376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4" name="Flowchart: Connector 53">
                <a:extLst>
                  <a:ext uri="{FF2B5EF4-FFF2-40B4-BE49-F238E27FC236}">
                    <a16:creationId xmlns:a16="http://schemas.microsoft.com/office/drawing/2014/main" id="{299F4F19-09D0-441A-832B-5BB13748F1C2}"/>
                  </a:ext>
                </a:extLst>
              </p:cNvPr>
              <p:cNvSpPr/>
              <p:nvPr/>
            </p:nvSpPr>
            <p:spPr>
              <a:xfrm>
                <a:off x="2338879" y="374943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499F41B4-F665-44DC-8E57-27AB5BE7593B}"/>
              </a:ext>
            </a:extLst>
          </p:cNvPr>
          <p:cNvGrpSpPr/>
          <p:nvPr/>
        </p:nvGrpSpPr>
        <p:grpSpPr>
          <a:xfrm>
            <a:off x="1318288" y="3406424"/>
            <a:ext cx="1580517" cy="492600"/>
            <a:chOff x="988716" y="2554818"/>
            <a:chExt cx="1185388" cy="369450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A711515-B5AD-42F7-BA7A-103BF873B44D}"/>
                </a:ext>
              </a:extLst>
            </p:cNvPr>
            <p:cNvCxnSpPr>
              <a:cxnSpLocks/>
              <a:endCxn id="48" idx="2"/>
            </p:cNvCxnSpPr>
            <p:nvPr/>
          </p:nvCxnSpPr>
          <p:spPr>
            <a:xfrm>
              <a:off x="988716" y="2729344"/>
              <a:ext cx="815938" cy="10199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B8764121-7611-471D-AB48-40AD6B92DDC2}"/>
                </a:ext>
              </a:extLst>
            </p:cNvPr>
            <p:cNvGrpSpPr/>
            <p:nvPr/>
          </p:nvGrpSpPr>
          <p:grpSpPr>
            <a:xfrm>
              <a:off x="1804654" y="2554818"/>
              <a:ext cx="369450" cy="369450"/>
              <a:chOff x="1804654" y="2554818"/>
              <a:chExt cx="369450" cy="369450"/>
            </a:xfrm>
          </p:grpSpPr>
          <p:sp>
            <p:nvSpPr>
              <p:cNvPr id="48" name="Flowchart: Connector 47">
                <a:extLst>
                  <a:ext uri="{FF2B5EF4-FFF2-40B4-BE49-F238E27FC236}">
                    <a16:creationId xmlns:a16="http://schemas.microsoft.com/office/drawing/2014/main" id="{2F574874-E1C0-4C85-B566-25D1AD6D3AD5}"/>
                  </a:ext>
                </a:extLst>
              </p:cNvPr>
              <p:cNvSpPr/>
              <p:nvPr/>
            </p:nvSpPr>
            <p:spPr>
              <a:xfrm>
                <a:off x="1804654" y="2554818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0" name="Flowchart: Connector 49">
                <a:extLst>
                  <a:ext uri="{FF2B5EF4-FFF2-40B4-BE49-F238E27FC236}">
                    <a16:creationId xmlns:a16="http://schemas.microsoft.com/office/drawing/2014/main" id="{EFC55BE7-8058-4977-B413-25CBEF541600}"/>
                  </a:ext>
                </a:extLst>
              </p:cNvPr>
              <p:cNvSpPr/>
              <p:nvPr/>
            </p:nvSpPr>
            <p:spPr>
              <a:xfrm>
                <a:off x="1880327" y="2630491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70" name="Speech Bubble: Rectangle 69">
            <a:extLst>
              <a:ext uri="{FF2B5EF4-FFF2-40B4-BE49-F238E27FC236}">
                <a16:creationId xmlns:a16="http://schemas.microsoft.com/office/drawing/2014/main" id="{A5DD8527-BC78-4DF2-89A9-332954EC588A}"/>
              </a:ext>
            </a:extLst>
          </p:cNvPr>
          <p:cNvSpPr/>
          <p:nvPr/>
        </p:nvSpPr>
        <p:spPr>
          <a:xfrm>
            <a:off x="5507188" y="2238974"/>
            <a:ext cx="3355001" cy="1366628"/>
          </a:xfrm>
          <a:prstGeom prst="wedgeRectCallout">
            <a:avLst>
              <a:gd name="adj1" fmla="val -80635"/>
              <a:gd name="adj2" fmla="val -37585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Process the data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D502C05-F25D-4DB5-ABA5-530BA4EB29F6}"/>
              </a:ext>
            </a:extLst>
          </p:cNvPr>
          <p:cNvSpPr txBox="1"/>
          <p:nvPr/>
        </p:nvSpPr>
        <p:spPr>
          <a:xfrm>
            <a:off x="503239" y="1912390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F03986A-3058-4D28-B0E5-D242E480DFCC}"/>
              </a:ext>
            </a:extLst>
          </p:cNvPr>
          <p:cNvSpPr txBox="1"/>
          <p:nvPr/>
        </p:nvSpPr>
        <p:spPr>
          <a:xfrm>
            <a:off x="503239" y="4680813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2</a:t>
            </a:r>
          </a:p>
        </p:txBody>
      </p:sp>
    </p:spTree>
    <p:extLst>
      <p:ext uri="{BB962C8B-B14F-4D97-AF65-F5344CB8AC3E}">
        <p14:creationId xmlns:p14="http://schemas.microsoft.com/office/powerpoint/2010/main" val="2297893490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3269C01-B6AC-438D-BB0F-E70F1872184E}"/>
              </a:ext>
            </a:extLst>
          </p:cNvPr>
          <p:cNvCxnSpPr>
            <a:cxnSpLocks/>
          </p:cNvCxnSpPr>
          <p:nvPr/>
        </p:nvCxnSpPr>
        <p:spPr>
          <a:xfrm>
            <a:off x="9520376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E0FB0A3-AADE-4077-A759-EF749264C5B8}"/>
              </a:ext>
            </a:extLst>
          </p:cNvPr>
          <p:cNvCxnSpPr>
            <a:cxnSpLocks/>
          </p:cNvCxnSpPr>
          <p:nvPr/>
        </p:nvCxnSpPr>
        <p:spPr>
          <a:xfrm>
            <a:off x="2985660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5FB6D0-4D6A-4C25-A810-A2FAC650BCBE}"/>
              </a:ext>
            </a:extLst>
          </p:cNvPr>
          <p:cNvCxnSpPr>
            <a:cxnSpLocks/>
          </p:cNvCxnSpPr>
          <p:nvPr/>
        </p:nvCxnSpPr>
        <p:spPr>
          <a:xfrm>
            <a:off x="5163899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7EA124-03FA-4FD3-A58C-F248DE952643}"/>
              </a:ext>
            </a:extLst>
          </p:cNvPr>
          <p:cNvCxnSpPr>
            <a:cxnSpLocks/>
          </p:cNvCxnSpPr>
          <p:nvPr/>
        </p:nvCxnSpPr>
        <p:spPr>
          <a:xfrm>
            <a:off x="7342137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al World Multi-Cloud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D05D419-647C-4C08-AB87-C0E88BC251C2}"/>
              </a:ext>
            </a:extLst>
          </p:cNvPr>
          <p:cNvSpPr/>
          <p:nvPr/>
        </p:nvSpPr>
        <p:spPr>
          <a:xfrm>
            <a:off x="2410697" y="3425161"/>
            <a:ext cx="9415696" cy="43944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CI/CD Pipeli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DC7B87-74B9-4A19-8C6C-776003FFDDD0}"/>
              </a:ext>
            </a:extLst>
          </p:cNvPr>
          <p:cNvSpPr txBox="1"/>
          <p:nvPr/>
        </p:nvSpPr>
        <p:spPr>
          <a:xfrm>
            <a:off x="3328949" y="923899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Proces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90ECCFB-6104-4612-932E-28033DE94809}"/>
              </a:ext>
            </a:extLst>
          </p:cNvPr>
          <p:cNvSpPr txBox="1"/>
          <p:nvPr/>
        </p:nvSpPr>
        <p:spPr>
          <a:xfrm>
            <a:off x="5507187" y="916010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rai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7FF49F-D288-42AC-82F0-A661457EFD0D}"/>
              </a:ext>
            </a:extLst>
          </p:cNvPr>
          <p:cNvSpPr txBox="1"/>
          <p:nvPr/>
        </p:nvSpPr>
        <p:spPr>
          <a:xfrm>
            <a:off x="7685426" y="906261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tag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D2D4D4-7FD8-405A-9B26-A3FFBCF5B652}"/>
              </a:ext>
            </a:extLst>
          </p:cNvPr>
          <p:cNvSpPr txBox="1"/>
          <p:nvPr/>
        </p:nvSpPr>
        <p:spPr>
          <a:xfrm>
            <a:off x="9863662" y="881622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erve</a:t>
            </a: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7FFC6E1C-E113-411F-8F13-6FF737A37D5E}"/>
              </a:ext>
            </a:extLst>
          </p:cNvPr>
          <p:cNvGrpSpPr/>
          <p:nvPr/>
        </p:nvGrpSpPr>
        <p:grpSpPr>
          <a:xfrm>
            <a:off x="3246608" y="4909323"/>
            <a:ext cx="2199376" cy="492600"/>
            <a:chOff x="2434956" y="3681992"/>
            <a:chExt cx="1649532" cy="369450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3D231B7E-5932-4004-936C-7163D7BB7D27}"/>
                </a:ext>
              </a:extLst>
            </p:cNvPr>
            <p:cNvCxnSpPr>
              <a:cxnSpLocks/>
              <a:endCxn id="56" idx="2"/>
            </p:cNvCxnSpPr>
            <p:nvPr/>
          </p:nvCxnSpPr>
          <p:spPr>
            <a:xfrm>
              <a:off x="2434956" y="3864552"/>
              <a:ext cx="1280082" cy="2165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4FA9C2D7-89FB-4F86-88A2-FAB403AE4AFA}"/>
                </a:ext>
              </a:extLst>
            </p:cNvPr>
            <p:cNvGrpSpPr/>
            <p:nvPr/>
          </p:nvGrpSpPr>
          <p:grpSpPr>
            <a:xfrm>
              <a:off x="3715038" y="3681992"/>
              <a:ext cx="369450" cy="369450"/>
              <a:chOff x="3715038" y="3681992"/>
              <a:chExt cx="369450" cy="369450"/>
            </a:xfrm>
          </p:grpSpPr>
          <p:sp>
            <p:nvSpPr>
              <p:cNvPr id="56" name="Flowchart: Connector 55">
                <a:extLst>
                  <a:ext uri="{FF2B5EF4-FFF2-40B4-BE49-F238E27FC236}">
                    <a16:creationId xmlns:a16="http://schemas.microsoft.com/office/drawing/2014/main" id="{5A6F129A-65A5-4F8E-B24C-FEB3687B1C0C}"/>
                  </a:ext>
                </a:extLst>
              </p:cNvPr>
              <p:cNvSpPr/>
              <p:nvPr/>
            </p:nvSpPr>
            <p:spPr>
              <a:xfrm>
                <a:off x="3715038" y="368199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7" name="Flowchart: Connector 56">
                <a:extLst>
                  <a:ext uri="{FF2B5EF4-FFF2-40B4-BE49-F238E27FC236}">
                    <a16:creationId xmlns:a16="http://schemas.microsoft.com/office/drawing/2014/main" id="{BE0A6164-A927-4D6E-929D-9589F9CF26C8}"/>
                  </a:ext>
                </a:extLst>
              </p:cNvPr>
              <p:cNvSpPr/>
              <p:nvPr/>
            </p:nvSpPr>
            <p:spPr>
              <a:xfrm>
                <a:off x="3790711" y="375766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7F448ED7-F170-47E9-A273-90774EDB6BD2}"/>
              </a:ext>
            </a:extLst>
          </p:cNvPr>
          <p:cNvSpPr/>
          <p:nvPr/>
        </p:nvSpPr>
        <p:spPr>
          <a:xfrm>
            <a:off x="3635024" y="5774267"/>
            <a:ext cx="3187561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</a:p>
        </p:txBody>
      </p: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7547D423-7ED6-4D73-B241-B1C26F5CCC36}"/>
              </a:ext>
            </a:extLst>
          </p:cNvPr>
          <p:cNvSpPr/>
          <p:nvPr/>
        </p:nvSpPr>
        <p:spPr>
          <a:xfrm>
            <a:off x="7951003" y="1373831"/>
            <a:ext cx="3539200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istributed Cloud</a:t>
            </a:r>
          </a:p>
        </p:txBody>
      </p:sp>
      <p:grpSp>
        <p:nvGrpSpPr>
          <p:cNvPr id="4096" name="Group 4095">
            <a:extLst>
              <a:ext uri="{FF2B5EF4-FFF2-40B4-BE49-F238E27FC236}">
                <a16:creationId xmlns:a16="http://schemas.microsoft.com/office/drawing/2014/main" id="{0C5B832A-E4FB-4C1A-80D4-B524DED41654}"/>
              </a:ext>
            </a:extLst>
          </p:cNvPr>
          <p:cNvGrpSpPr/>
          <p:nvPr/>
        </p:nvGrpSpPr>
        <p:grpSpPr>
          <a:xfrm>
            <a:off x="9581443" y="4200236"/>
            <a:ext cx="2348549" cy="2813372"/>
            <a:chOff x="7186082" y="3150177"/>
            <a:chExt cx="1761412" cy="2110029"/>
          </a:xfrm>
        </p:grpSpPr>
        <p:pic>
          <p:nvPicPr>
            <p:cNvPr id="116" name="Picture 3" descr="https://lh6.googleusercontent.com/OJj71FP6p8alxoeZCl0ns4zYnjFOn6y28cZcvjrPJHXhgeoGVXk0MW_gcWiwsRHly1neENoXZ7u29zGp4Mtnt1id7SCBfG7mjSMGyIIfMHkv1S8HHTgZnD-FYyB9wWZOCXGocgSWzsI">
              <a:extLst>
                <a:ext uri="{FF2B5EF4-FFF2-40B4-BE49-F238E27FC236}">
                  <a16:creationId xmlns:a16="http://schemas.microsoft.com/office/drawing/2014/main" id="{AF85649F-B9BD-42A8-B83D-879F491924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2413" y="3150177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EF0C545E-EAD6-4DC3-812B-C8498E644CDE}"/>
                </a:ext>
              </a:extLst>
            </p:cNvPr>
            <p:cNvSpPr/>
            <p:nvPr/>
          </p:nvSpPr>
          <p:spPr>
            <a:xfrm>
              <a:off x="7186082" y="4636958"/>
              <a:ext cx="1761412" cy="623248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  <a:cs typeface="Google Sans" panose="020B0604020202020204" charset="0"/>
                </a:rPr>
                <a:t>SRE/ML Engineers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D3277620-A393-4D4E-A9A1-3FC4910E9310}"/>
              </a:ext>
            </a:extLst>
          </p:cNvPr>
          <p:cNvGrpSpPr/>
          <p:nvPr/>
        </p:nvGrpSpPr>
        <p:grpSpPr>
          <a:xfrm>
            <a:off x="3309712" y="1537862"/>
            <a:ext cx="1988233" cy="2366665"/>
            <a:chOff x="2482283" y="1153396"/>
            <a:chExt cx="1491175" cy="1774999"/>
          </a:xfrm>
        </p:grpSpPr>
        <p:pic>
          <p:nvPicPr>
            <p:cNvPr id="115" name="Picture 2" descr="https://lh3.googleusercontent.com/W5ZorUwdr19lfnMl5uUIjqSG-FazB-7D7ieSNS3wqmm3Jpeuprqi1ry1PWeUxD_3-O4TII-bvIGyK1vBeS3HPxs3LxAB1mB3Or6UZVOI4QGRZANHBW31j3VauHZH8hpX55UhYNVWYEY">
              <a:extLst>
                <a:ext uri="{FF2B5EF4-FFF2-40B4-BE49-F238E27FC236}">
                  <a16:creationId xmlns:a16="http://schemas.microsoft.com/office/drawing/2014/main" id="{B4199A15-AF88-4CC1-84CE-CA9866C00A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2284" y="1153396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303620CE-DA58-4B44-A558-B048E4CE10C7}"/>
                </a:ext>
              </a:extLst>
            </p:cNvPr>
            <p:cNvSpPr/>
            <p:nvPr/>
          </p:nvSpPr>
          <p:spPr>
            <a:xfrm>
              <a:off x="2482283" y="2582146"/>
              <a:ext cx="1491175" cy="346249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</a:rPr>
                <a:t>Data Scientist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pic>
        <p:nvPicPr>
          <p:cNvPr id="4098" name="Picture 2" descr="Image result for github logo">
            <a:extLst>
              <a:ext uri="{FF2B5EF4-FFF2-40B4-BE49-F238E27FC236}">
                <a16:creationId xmlns:a16="http://schemas.microsoft.com/office/drawing/2014/main" id="{FF95E88C-B28A-4CA5-BAAF-53ED36E48B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609" y="3124735"/>
            <a:ext cx="838052" cy="838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1" name="Group 120">
            <a:extLst>
              <a:ext uri="{FF2B5EF4-FFF2-40B4-BE49-F238E27FC236}">
                <a16:creationId xmlns:a16="http://schemas.microsoft.com/office/drawing/2014/main" id="{A392F682-267D-4A84-8D93-BD3C537E78F8}"/>
              </a:ext>
            </a:extLst>
          </p:cNvPr>
          <p:cNvGrpSpPr/>
          <p:nvPr/>
        </p:nvGrpSpPr>
        <p:grpSpPr>
          <a:xfrm>
            <a:off x="5345087" y="4906436"/>
            <a:ext cx="1970101" cy="492600"/>
            <a:chOff x="4008815" y="3679827"/>
            <a:chExt cx="1477576" cy="369450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6796C23C-8804-4245-A74E-0FD2746E859A}"/>
                </a:ext>
              </a:extLst>
            </p:cNvPr>
            <p:cNvCxnSpPr>
              <a:cxnSpLocks/>
              <a:stCxn id="57" idx="6"/>
              <a:endCxn id="59" idx="2"/>
            </p:cNvCxnSpPr>
            <p:nvPr/>
          </p:nvCxnSpPr>
          <p:spPr>
            <a:xfrm flipV="1">
              <a:off x="4008815" y="3864552"/>
              <a:ext cx="1108126" cy="2165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0233CCD1-9405-4FA4-A7D4-4EF763DB124F}"/>
                </a:ext>
              </a:extLst>
            </p:cNvPr>
            <p:cNvGrpSpPr/>
            <p:nvPr/>
          </p:nvGrpSpPr>
          <p:grpSpPr>
            <a:xfrm>
              <a:off x="5116941" y="3679827"/>
              <a:ext cx="369450" cy="369450"/>
              <a:chOff x="5116942" y="3653577"/>
              <a:chExt cx="369450" cy="369450"/>
            </a:xfrm>
          </p:grpSpPr>
          <p:sp>
            <p:nvSpPr>
              <p:cNvPr id="59" name="Flowchart: Connector 58">
                <a:extLst>
                  <a:ext uri="{FF2B5EF4-FFF2-40B4-BE49-F238E27FC236}">
                    <a16:creationId xmlns:a16="http://schemas.microsoft.com/office/drawing/2014/main" id="{53ED20BB-8180-41BB-BA55-FA82D54EB1A1}"/>
                  </a:ext>
                </a:extLst>
              </p:cNvPr>
              <p:cNvSpPr/>
              <p:nvPr/>
            </p:nvSpPr>
            <p:spPr>
              <a:xfrm>
                <a:off x="5116942" y="3653577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0" name="Flowchart: Connector 59">
                <a:extLst>
                  <a:ext uri="{FF2B5EF4-FFF2-40B4-BE49-F238E27FC236}">
                    <a16:creationId xmlns:a16="http://schemas.microsoft.com/office/drawing/2014/main" id="{8A13EF14-5515-4E08-8FE3-CFA4C1132C26}"/>
                  </a:ext>
                </a:extLst>
              </p:cNvPr>
              <p:cNvSpPr/>
              <p:nvPr/>
            </p:nvSpPr>
            <p:spPr>
              <a:xfrm>
                <a:off x="5192615" y="3729250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4954FD46-8EA4-4963-B700-0858D4244EAA}"/>
              </a:ext>
            </a:extLst>
          </p:cNvPr>
          <p:cNvGrpSpPr/>
          <p:nvPr/>
        </p:nvGrpSpPr>
        <p:grpSpPr>
          <a:xfrm>
            <a:off x="2646219" y="3643746"/>
            <a:ext cx="863989" cy="1747204"/>
            <a:chOff x="1984664" y="2732809"/>
            <a:chExt cx="647992" cy="1310403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6404DCC-90AE-4AC9-83E7-DFA8E7886A6C}"/>
                </a:ext>
              </a:extLst>
            </p:cNvPr>
            <p:cNvCxnSpPr>
              <a:cxnSpLocks/>
              <a:endCxn id="53" idx="1"/>
            </p:cNvCxnSpPr>
            <p:nvPr/>
          </p:nvCxnSpPr>
          <p:spPr>
            <a:xfrm>
              <a:off x="1984664" y="2732809"/>
              <a:ext cx="332647" cy="995058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E3B0A1DC-D93B-4ACB-96CE-86D22A8C5C1F}"/>
                </a:ext>
              </a:extLst>
            </p:cNvPr>
            <p:cNvGrpSpPr/>
            <p:nvPr/>
          </p:nvGrpSpPr>
          <p:grpSpPr>
            <a:xfrm>
              <a:off x="2263206" y="3673762"/>
              <a:ext cx="369450" cy="369450"/>
              <a:chOff x="2263206" y="3673762"/>
              <a:chExt cx="369450" cy="369450"/>
            </a:xfrm>
          </p:grpSpPr>
          <p:sp>
            <p:nvSpPr>
              <p:cNvPr id="53" name="Flowchart: Connector 52">
                <a:extLst>
                  <a:ext uri="{FF2B5EF4-FFF2-40B4-BE49-F238E27FC236}">
                    <a16:creationId xmlns:a16="http://schemas.microsoft.com/office/drawing/2014/main" id="{BC2155B0-99EE-4940-BB15-1641641349DF}"/>
                  </a:ext>
                </a:extLst>
              </p:cNvPr>
              <p:cNvSpPr/>
              <p:nvPr/>
            </p:nvSpPr>
            <p:spPr>
              <a:xfrm>
                <a:off x="2263206" y="367376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4" name="Flowchart: Connector 53">
                <a:extLst>
                  <a:ext uri="{FF2B5EF4-FFF2-40B4-BE49-F238E27FC236}">
                    <a16:creationId xmlns:a16="http://schemas.microsoft.com/office/drawing/2014/main" id="{299F4F19-09D0-441A-832B-5BB13748F1C2}"/>
                  </a:ext>
                </a:extLst>
              </p:cNvPr>
              <p:cNvSpPr/>
              <p:nvPr/>
            </p:nvSpPr>
            <p:spPr>
              <a:xfrm>
                <a:off x="2338879" y="374943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499F41B4-F665-44DC-8E57-27AB5BE7593B}"/>
              </a:ext>
            </a:extLst>
          </p:cNvPr>
          <p:cNvGrpSpPr/>
          <p:nvPr/>
        </p:nvGrpSpPr>
        <p:grpSpPr>
          <a:xfrm>
            <a:off x="1318288" y="3406424"/>
            <a:ext cx="1580517" cy="492600"/>
            <a:chOff x="988716" y="2554818"/>
            <a:chExt cx="1185388" cy="369450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A711515-B5AD-42F7-BA7A-103BF873B44D}"/>
                </a:ext>
              </a:extLst>
            </p:cNvPr>
            <p:cNvCxnSpPr>
              <a:cxnSpLocks/>
              <a:endCxn id="48" idx="2"/>
            </p:cNvCxnSpPr>
            <p:nvPr/>
          </p:nvCxnSpPr>
          <p:spPr>
            <a:xfrm>
              <a:off x="988716" y="2729344"/>
              <a:ext cx="815938" cy="10199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B8764121-7611-471D-AB48-40AD6B92DDC2}"/>
                </a:ext>
              </a:extLst>
            </p:cNvPr>
            <p:cNvGrpSpPr/>
            <p:nvPr/>
          </p:nvGrpSpPr>
          <p:grpSpPr>
            <a:xfrm>
              <a:off x="1804654" y="2554818"/>
              <a:ext cx="369450" cy="369450"/>
              <a:chOff x="1804654" y="2554818"/>
              <a:chExt cx="369450" cy="369450"/>
            </a:xfrm>
          </p:grpSpPr>
          <p:sp>
            <p:nvSpPr>
              <p:cNvPr id="48" name="Flowchart: Connector 47">
                <a:extLst>
                  <a:ext uri="{FF2B5EF4-FFF2-40B4-BE49-F238E27FC236}">
                    <a16:creationId xmlns:a16="http://schemas.microsoft.com/office/drawing/2014/main" id="{2F574874-E1C0-4C85-B566-25D1AD6D3AD5}"/>
                  </a:ext>
                </a:extLst>
              </p:cNvPr>
              <p:cNvSpPr/>
              <p:nvPr/>
            </p:nvSpPr>
            <p:spPr>
              <a:xfrm>
                <a:off x="1804654" y="2554818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0" name="Flowchart: Connector 49">
                <a:extLst>
                  <a:ext uri="{FF2B5EF4-FFF2-40B4-BE49-F238E27FC236}">
                    <a16:creationId xmlns:a16="http://schemas.microsoft.com/office/drawing/2014/main" id="{EFC55BE7-8058-4977-B413-25CBEF541600}"/>
                  </a:ext>
                </a:extLst>
              </p:cNvPr>
              <p:cNvSpPr/>
              <p:nvPr/>
            </p:nvSpPr>
            <p:spPr>
              <a:xfrm>
                <a:off x="1880327" y="2630491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70" name="Speech Bubble: Rectangle 69">
            <a:extLst>
              <a:ext uri="{FF2B5EF4-FFF2-40B4-BE49-F238E27FC236}">
                <a16:creationId xmlns:a16="http://schemas.microsoft.com/office/drawing/2014/main" id="{A5DD8527-BC78-4DF2-89A9-332954EC588A}"/>
              </a:ext>
            </a:extLst>
          </p:cNvPr>
          <p:cNvSpPr/>
          <p:nvPr/>
        </p:nvSpPr>
        <p:spPr>
          <a:xfrm>
            <a:off x="5507188" y="2238974"/>
            <a:ext cx="3355001" cy="1366628"/>
          </a:xfrm>
          <a:prstGeom prst="wedgeRectCallout">
            <a:avLst>
              <a:gd name="adj1" fmla="val -80635"/>
              <a:gd name="adj2" fmla="val -37585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And now do a training run on the processed data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4C1A6792-9C31-40E2-B9EA-6DD211DA34CE}"/>
              </a:ext>
            </a:extLst>
          </p:cNvPr>
          <p:cNvSpPr txBox="1"/>
          <p:nvPr/>
        </p:nvSpPr>
        <p:spPr>
          <a:xfrm>
            <a:off x="503239" y="1912390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1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4C79E07A-F2FD-41E9-B06C-FA0B75B9DA9D}"/>
              </a:ext>
            </a:extLst>
          </p:cNvPr>
          <p:cNvSpPr txBox="1"/>
          <p:nvPr/>
        </p:nvSpPr>
        <p:spPr>
          <a:xfrm>
            <a:off x="503239" y="4680813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2</a:t>
            </a:r>
          </a:p>
        </p:txBody>
      </p:sp>
    </p:spTree>
    <p:extLst>
      <p:ext uri="{BB962C8B-B14F-4D97-AF65-F5344CB8AC3E}">
        <p14:creationId xmlns:p14="http://schemas.microsoft.com/office/powerpoint/2010/main" val="584143272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3269C01-B6AC-438D-BB0F-E70F1872184E}"/>
              </a:ext>
            </a:extLst>
          </p:cNvPr>
          <p:cNvCxnSpPr>
            <a:cxnSpLocks/>
          </p:cNvCxnSpPr>
          <p:nvPr/>
        </p:nvCxnSpPr>
        <p:spPr>
          <a:xfrm>
            <a:off x="9520376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E0FB0A3-AADE-4077-A759-EF749264C5B8}"/>
              </a:ext>
            </a:extLst>
          </p:cNvPr>
          <p:cNvCxnSpPr>
            <a:cxnSpLocks/>
          </p:cNvCxnSpPr>
          <p:nvPr/>
        </p:nvCxnSpPr>
        <p:spPr>
          <a:xfrm>
            <a:off x="2985660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5FB6D0-4D6A-4C25-A810-A2FAC650BCBE}"/>
              </a:ext>
            </a:extLst>
          </p:cNvPr>
          <p:cNvCxnSpPr>
            <a:cxnSpLocks/>
          </p:cNvCxnSpPr>
          <p:nvPr/>
        </p:nvCxnSpPr>
        <p:spPr>
          <a:xfrm>
            <a:off x="5163899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7EA124-03FA-4FD3-A58C-F248DE952643}"/>
              </a:ext>
            </a:extLst>
          </p:cNvPr>
          <p:cNvCxnSpPr>
            <a:cxnSpLocks/>
          </p:cNvCxnSpPr>
          <p:nvPr/>
        </p:nvCxnSpPr>
        <p:spPr>
          <a:xfrm>
            <a:off x="7342137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al World Multi-Cloud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D05D419-647C-4C08-AB87-C0E88BC251C2}"/>
              </a:ext>
            </a:extLst>
          </p:cNvPr>
          <p:cNvSpPr/>
          <p:nvPr/>
        </p:nvSpPr>
        <p:spPr>
          <a:xfrm>
            <a:off x="2410697" y="3425161"/>
            <a:ext cx="9415696" cy="43944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CI/CD Pipeli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DC7B87-74B9-4A19-8C6C-776003FFDDD0}"/>
              </a:ext>
            </a:extLst>
          </p:cNvPr>
          <p:cNvSpPr txBox="1"/>
          <p:nvPr/>
        </p:nvSpPr>
        <p:spPr>
          <a:xfrm>
            <a:off x="3328949" y="923899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Proces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90ECCFB-6104-4612-932E-28033DE94809}"/>
              </a:ext>
            </a:extLst>
          </p:cNvPr>
          <p:cNvSpPr txBox="1"/>
          <p:nvPr/>
        </p:nvSpPr>
        <p:spPr>
          <a:xfrm>
            <a:off x="5507187" y="916010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rai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7FF49F-D288-42AC-82F0-A661457EFD0D}"/>
              </a:ext>
            </a:extLst>
          </p:cNvPr>
          <p:cNvSpPr txBox="1"/>
          <p:nvPr/>
        </p:nvSpPr>
        <p:spPr>
          <a:xfrm>
            <a:off x="7685426" y="906261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tag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D2D4D4-7FD8-405A-9B26-A3FFBCF5B652}"/>
              </a:ext>
            </a:extLst>
          </p:cNvPr>
          <p:cNvSpPr txBox="1"/>
          <p:nvPr/>
        </p:nvSpPr>
        <p:spPr>
          <a:xfrm>
            <a:off x="9863662" y="881622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erve</a:t>
            </a: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7FFC6E1C-E113-411F-8F13-6FF737A37D5E}"/>
              </a:ext>
            </a:extLst>
          </p:cNvPr>
          <p:cNvGrpSpPr/>
          <p:nvPr/>
        </p:nvGrpSpPr>
        <p:grpSpPr>
          <a:xfrm>
            <a:off x="3246608" y="4909323"/>
            <a:ext cx="2199376" cy="492600"/>
            <a:chOff x="2434956" y="3681992"/>
            <a:chExt cx="1649532" cy="369450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3D231B7E-5932-4004-936C-7163D7BB7D27}"/>
                </a:ext>
              </a:extLst>
            </p:cNvPr>
            <p:cNvCxnSpPr>
              <a:cxnSpLocks/>
              <a:endCxn id="56" idx="2"/>
            </p:cNvCxnSpPr>
            <p:nvPr/>
          </p:nvCxnSpPr>
          <p:spPr>
            <a:xfrm>
              <a:off x="2434956" y="3864552"/>
              <a:ext cx="1280082" cy="2165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4FA9C2D7-89FB-4F86-88A2-FAB403AE4AFA}"/>
                </a:ext>
              </a:extLst>
            </p:cNvPr>
            <p:cNvGrpSpPr/>
            <p:nvPr/>
          </p:nvGrpSpPr>
          <p:grpSpPr>
            <a:xfrm>
              <a:off x="3715038" y="3681992"/>
              <a:ext cx="369450" cy="369450"/>
              <a:chOff x="3715038" y="3681992"/>
              <a:chExt cx="369450" cy="369450"/>
            </a:xfrm>
          </p:grpSpPr>
          <p:sp>
            <p:nvSpPr>
              <p:cNvPr id="56" name="Flowchart: Connector 55">
                <a:extLst>
                  <a:ext uri="{FF2B5EF4-FFF2-40B4-BE49-F238E27FC236}">
                    <a16:creationId xmlns:a16="http://schemas.microsoft.com/office/drawing/2014/main" id="{5A6F129A-65A5-4F8E-B24C-FEB3687B1C0C}"/>
                  </a:ext>
                </a:extLst>
              </p:cNvPr>
              <p:cNvSpPr/>
              <p:nvPr/>
            </p:nvSpPr>
            <p:spPr>
              <a:xfrm>
                <a:off x="3715038" y="368199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7" name="Flowchart: Connector 56">
                <a:extLst>
                  <a:ext uri="{FF2B5EF4-FFF2-40B4-BE49-F238E27FC236}">
                    <a16:creationId xmlns:a16="http://schemas.microsoft.com/office/drawing/2014/main" id="{BE0A6164-A927-4D6E-929D-9589F9CF26C8}"/>
                  </a:ext>
                </a:extLst>
              </p:cNvPr>
              <p:cNvSpPr/>
              <p:nvPr/>
            </p:nvSpPr>
            <p:spPr>
              <a:xfrm>
                <a:off x="3790711" y="375766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7F448ED7-F170-47E9-A273-90774EDB6BD2}"/>
              </a:ext>
            </a:extLst>
          </p:cNvPr>
          <p:cNvSpPr/>
          <p:nvPr/>
        </p:nvSpPr>
        <p:spPr>
          <a:xfrm>
            <a:off x="3635024" y="5774267"/>
            <a:ext cx="3187561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</a:p>
        </p:txBody>
      </p: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7547D423-7ED6-4D73-B241-B1C26F5CCC36}"/>
              </a:ext>
            </a:extLst>
          </p:cNvPr>
          <p:cNvSpPr/>
          <p:nvPr/>
        </p:nvSpPr>
        <p:spPr>
          <a:xfrm>
            <a:off x="7951003" y="1373831"/>
            <a:ext cx="3539200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istributed Cloud</a:t>
            </a:r>
          </a:p>
        </p:txBody>
      </p:sp>
      <p:grpSp>
        <p:nvGrpSpPr>
          <p:cNvPr id="4096" name="Group 4095">
            <a:extLst>
              <a:ext uri="{FF2B5EF4-FFF2-40B4-BE49-F238E27FC236}">
                <a16:creationId xmlns:a16="http://schemas.microsoft.com/office/drawing/2014/main" id="{0C5B832A-E4FB-4C1A-80D4-B524DED41654}"/>
              </a:ext>
            </a:extLst>
          </p:cNvPr>
          <p:cNvGrpSpPr/>
          <p:nvPr/>
        </p:nvGrpSpPr>
        <p:grpSpPr>
          <a:xfrm>
            <a:off x="9581443" y="4200236"/>
            <a:ext cx="2348549" cy="2813372"/>
            <a:chOff x="7186082" y="3150177"/>
            <a:chExt cx="1761412" cy="2110029"/>
          </a:xfrm>
        </p:grpSpPr>
        <p:pic>
          <p:nvPicPr>
            <p:cNvPr id="116" name="Picture 3" descr="https://lh6.googleusercontent.com/OJj71FP6p8alxoeZCl0ns4zYnjFOn6y28cZcvjrPJHXhgeoGVXk0MW_gcWiwsRHly1neENoXZ7u29zGp4Mtnt1id7SCBfG7mjSMGyIIfMHkv1S8HHTgZnD-FYyB9wWZOCXGocgSWzsI">
              <a:extLst>
                <a:ext uri="{FF2B5EF4-FFF2-40B4-BE49-F238E27FC236}">
                  <a16:creationId xmlns:a16="http://schemas.microsoft.com/office/drawing/2014/main" id="{AF85649F-B9BD-42A8-B83D-879F491924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2413" y="3150177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EF0C545E-EAD6-4DC3-812B-C8498E644CDE}"/>
                </a:ext>
              </a:extLst>
            </p:cNvPr>
            <p:cNvSpPr/>
            <p:nvPr/>
          </p:nvSpPr>
          <p:spPr>
            <a:xfrm>
              <a:off x="7186082" y="4636958"/>
              <a:ext cx="1761412" cy="623248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  <a:cs typeface="Google Sans" panose="020B0604020202020204" charset="0"/>
                </a:rPr>
                <a:t>SRE/ML Engineers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D3277620-A393-4D4E-A9A1-3FC4910E9310}"/>
              </a:ext>
            </a:extLst>
          </p:cNvPr>
          <p:cNvGrpSpPr/>
          <p:nvPr/>
        </p:nvGrpSpPr>
        <p:grpSpPr>
          <a:xfrm>
            <a:off x="3309712" y="1537862"/>
            <a:ext cx="1988233" cy="2366665"/>
            <a:chOff x="2482283" y="1153396"/>
            <a:chExt cx="1491175" cy="1774999"/>
          </a:xfrm>
        </p:grpSpPr>
        <p:pic>
          <p:nvPicPr>
            <p:cNvPr id="115" name="Picture 2" descr="https://lh3.googleusercontent.com/W5ZorUwdr19lfnMl5uUIjqSG-FazB-7D7ieSNS3wqmm3Jpeuprqi1ry1PWeUxD_3-O4TII-bvIGyK1vBeS3HPxs3LxAB1mB3Or6UZVOI4QGRZANHBW31j3VauHZH8hpX55UhYNVWYEY">
              <a:extLst>
                <a:ext uri="{FF2B5EF4-FFF2-40B4-BE49-F238E27FC236}">
                  <a16:creationId xmlns:a16="http://schemas.microsoft.com/office/drawing/2014/main" id="{B4199A15-AF88-4CC1-84CE-CA9866C00A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2284" y="1153396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303620CE-DA58-4B44-A558-B048E4CE10C7}"/>
                </a:ext>
              </a:extLst>
            </p:cNvPr>
            <p:cNvSpPr/>
            <p:nvPr/>
          </p:nvSpPr>
          <p:spPr>
            <a:xfrm>
              <a:off x="2482283" y="2582146"/>
              <a:ext cx="1491175" cy="346249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</a:rPr>
                <a:t>Data Scientist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pic>
        <p:nvPicPr>
          <p:cNvPr id="4098" name="Picture 2" descr="Image result for github logo">
            <a:extLst>
              <a:ext uri="{FF2B5EF4-FFF2-40B4-BE49-F238E27FC236}">
                <a16:creationId xmlns:a16="http://schemas.microsoft.com/office/drawing/2014/main" id="{FF95E88C-B28A-4CA5-BAAF-53ED36E48B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609" y="3124735"/>
            <a:ext cx="838052" cy="838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2" name="Group 121">
            <a:extLst>
              <a:ext uri="{FF2B5EF4-FFF2-40B4-BE49-F238E27FC236}">
                <a16:creationId xmlns:a16="http://schemas.microsoft.com/office/drawing/2014/main" id="{C7FD450C-D210-426F-B4AF-624A2044C403}"/>
              </a:ext>
            </a:extLst>
          </p:cNvPr>
          <p:cNvGrpSpPr/>
          <p:nvPr/>
        </p:nvGrpSpPr>
        <p:grpSpPr>
          <a:xfrm>
            <a:off x="7061969" y="3392826"/>
            <a:ext cx="587537" cy="1765684"/>
            <a:chOff x="5296476" y="2544619"/>
            <a:chExt cx="440653" cy="1324263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99D4FA34-D6A5-4556-8E16-CA144FC9C6D6}"/>
                </a:ext>
              </a:extLst>
            </p:cNvPr>
            <p:cNvCxnSpPr>
              <a:cxnSpLocks/>
              <a:stCxn id="62" idx="4"/>
            </p:cNvCxnSpPr>
            <p:nvPr/>
          </p:nvCxnSpPr>
          <p:spPr>
            <a:xfrm flipH="1">
              <a:off x="5296476" y="2914069"/>
              <a:ext cx="255928" cy="954813"/>
            </a:xfrm>
            <a:prstGeom prst="line">
              <a:avLst/>
            </a:prstGeom>
            <a:ln w="101600">
              <a:headEnd type="triangl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15B2B652-8EC9-4F50-8697-2029004FDDEF}"/>
                </a:ext>
              </a:extLst>
            </p:cNvPr>
            <p:cNvGrpSpPr/>
            <p:nvPr/>
          </p:nvGrpSpPr>
          <p:grpSpPr>
            <a:xfrm>
              <a:off x="5367679" y="2544619"/>
              <a:ext cx="369450" cy="369450"/>
              <a:chOff x="5367679" y="2544619"/>
              <a:chExt cx="369450" cy="369450"/>
            </a:xfrm>
          </p:grpSpPr>
          <p:sp>
            <p:nvSpPr>
              <p:cNvPr id="62" name="Flowchart: Connector 61">
                <a:extLst>
                  <a:ext uri="{FF2B5EF4-FFF2-40B4-BE49-F238E27FC236}">
                    <a16:creationId xmlns:a16="http://schemas.microsoft.com/office/drawing/2014/main" id="{0586BC68-3312-45AE-AF82-9F8A694EE363}"/>
                  </a:ext>
                </a:extLst>
              </p:cNvPr>
              <p:cNvSpPr/>
              <p:nvPr/>
            </p:nvSpPr>
            <p:spPr>
              <a:xfrm>
                <a:off x="5367679" y="2544619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3" name="Flowchart: Connector 62">
                <a:extLst>
                  <a:ext uri="{FF2B5EF4-FFF2-40B4-BE49-F238E27FC236}">
                    <a16:creationId xmlns:a16="http://schemas.microsoft.com/office/drawing/2014/main" id="{2817CED9-3BEC-4524-B8A9-FDBC3A6CD25D}"/>
                  </a:ext>
                </a:extLst>
              </p:cNvPr>
              <p:cNvSpPr/>
              <p:nvPr/>
            </p:nvSpPr>
            <p:spPr>
              <a:xfrm>
                <a:off x="5443352" y="2620292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A392F682-267D-4A84-8D93-BD3C537E78F8}"/>
              </a:ext>
            </a:extLst>
          </p:cNvPr>
          <p:cNvGrpSpPr/>
          <p:nvPr/>
        </p:nvGrpSpPr>
        <p:grpSpPr>
          <a:xfrm>
            <a:off x="5345087" y="4906436"/>
            <a:ext cx="1970101" cy="492600"/>
            <a:chOff x="4008815" y="3679827"/>
            <a:chExt cx="1477576" cy="369450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6796C23C-8804-4245-A74E-0FD2746E859A}"/>
                </a:ext>
              </a:extLst>
            </p:cNvPr>
            <p:cNvCxnSpPr>
              <a:cxnSpLocks/>
              <a:stCxn id="57" idx="6"/>
              <a:endCxn id="59" idx="2"/>
            </p:cNvCxnSpPr>
            <p:nvPr/>
          </p:nvCxnSpPr>
          <p:spPr>
            <a:xfrm flipV="1">
              <a:off x="4008815" y="3864552"/>
              <a:ext cx="1108126" cy="2165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0233CCD1-9405-4FA4-A7D4-4EF763DB124F}"/>
                </a:ext>
              </a:extLst>
            </p:cNvPr>
            <p:cNvGrpSpPr/>
            <p:nvPr/>
          </p:nvGrpSpPr>
          <p:grpSpPr>
            <a:xfrm>
              <a:off x="5116941" y="3679827"/>
              <a:ext cx="369450" cy="369450"/>
              <a:chOff x="5116942" y="3653577"/>
              <a:chExt cx="369450" cy="369450"/>
            </a:xfrm>
          </p:grpSpPr>
          <p:sp>
            <p:nvSpPr>
              <p:cNvPr id="59" name="Flowchart: Connector 58">
                <a:extLst>
                  <a:ext uri="{FF2B5EF4-FFF2-40B4-BE49-F238E27FC236}">
                    <a16:creationId xmlns:a16="http://schemas.microsoft.com/office/drawing/2014/main" id="{53ED20BB-8180-41BB-BA55-FA82D54EB1A1}"/>
                  </a:ext>
                </a:extLst>
              </p:cNvPr>
              <p:cNvSpPr/>
              <p:nvPr/>
            </p:nvSpPr>
            <p:spPr>
              <a:xfrm>
                <a:off x="5116942" y="3653577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0" name="Flowchart: Connector 59">
                <a:extLst>
                  <a:ext uri="{FF2B5EF4-FFF2-40B4-BE49-F238E27FC236}">
                    <a16:creationId xmlns:a16="http://schemas.microsoft.com/office/drawing/2014/main" id="{8A13EF14-5515-4E08-8FE3-CFA4C1132C26}"/>
                  </a:ext>
                </a:extLst>
              </p:cNvPr>
              <p:cNvSpPr/>
              <p:nvPr/>
            </p:nvSpPr>
            <p:spPr>
              <a:xfrm>
                <a:off x="5192615" y="3729250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4954FD46-8EA4-4963-B700-0858D4244EAA}"/>
              </a:ext>
            </a:extLst>
          </p:cNvPr>
          <p:cNvGrpSpPr/>
          <p:nvPr/>
        </p:nvGrpSpPr>
        <p:grpSpPr>
          <a:xfrm>
            <a:off x="2646219" y="3643746"/>
            <a:ext cx="863989" cy="1747204"/>
            <a:chOff x="1984664" y="2732809"/>
            <a:chExt cx="647992" cy="1310403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6404DCC-90AE-4AC9-83E7-DFA8E7886A6C}"/>
                </a:ext>
              </a:extLst>
            </p:cNvPr>
            <p:cNvCxnSpPr>
              <a:cxnSpLocks/>
              <a:endCxn id="53" idx="1"/>
            </p:cNvCxnSpPr>
            <p:nvPr/>
          </p:nvCxnSpPr>
          <p:spPr>
            <a:xfrm>
              <a:off x="1984664" y="2732809"/>
              <a:ext cx="332647" cy="995058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E3B0A1DC-D93B-4ACB-96CE-86D22A8C5C1F}"/>
                </a:ext>
              </a:extLst>
            </p:cNvPr>
            <p:cNvGrpSpPr/>
            <p:nvPr/>
          </p:nvGrpSpPr>
          <p:grpSpPr>
            <a:xfrm>
              <a:off x="2263206" y="3673762"/>
              <a:ext cx="369450" cy="369450"/>
              <a:chOff x="2263206" y="3673762"/>
              <a:chExt cx="369450" cy="369450"/>
            </a:xfrm>
          </p:grpSpPr>
          <p:sp>
            <p:nvSpPr>
              <p:cNvPr id="53" name="Flowchart: Connector 52">
                <a:extLst>
                  <a:ext uri="{FF2B5EF4-FFF2-40B4-BE49-F238E27FC236}">
                    <a16:creationId xmlns:a16="http://schemas.microsoft.com/office/drawing/2014/main" id="{BC2155B0-99EE-4940-BB15-1641641349DF}"/>
                  </a:ext>
                </a:extLst>
              </p:cNvPr>
              <p:cNvSpPr/>
              <p:nvPr/>
            </p:nvSpPr>
            <p:spPr>
              <a:xfrm>
                <a:off x="2263206" y="367376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4" name="Flowchart: Connector 53">
                <a:extLst>
                  <a:ext uri="{FF2B5EF4-FFF2-40B4-BE49-F238E27FC236}">
                    <a16:creationId xmlns:a16="http://schemas.microsoft.com/office/drawing/2014/main" id="{299F4F19-09D0-441A-832B-5BB13748F1C2}"/>
                  </a:ext>
                </a:extLst>
              </p:cNvPr>
              <p:cNvSpPr/>
              <p:nvPr/>
            </p:nvSpPr>
            <p:spPr>
              <a:xfrm>
                <a:off x="2338879" y="374943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499F41B4-F665-44DC-8E57-27AB5BE7593B}"/>
              </a:ext>
            </a:extLst>
          </p:cNvPr>
          <p:cNvGrpSpPr/>
          <p:nvPr/>
        </p:nvGrpSpPr>
        <p:grpSpPr>
          <a:xfrm>
            <a:off x="1318288" y="3406424"/>
            <a:ext cx="1580517" cy="492600"/>
            <a:chOff x="988716" y="2554818"/>
            <a:chExt cx="1185388" cy="369450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A711515-B5AD-42F7-BA7A-103BF873B44D}"/>
                </a:ext>
              </a:extLst>
            </p:cNvPr>
            <p:cNvCxnSpPr>
              <a:cxnSpLocks/>
              <a:endCxn id="48" idx="2"/>
            </p:cNvCxnSpPr>
            <p:nvPr/>
          </p:nvCxnSpPr>
          <p:spPr>
            <a:xfrm>
              <a:off x="988716" y="2729344"/>
              <a:ext cx="815938" cy="10199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B8764121-7611-471D-AB48-40AD6B92DDC2}"/>
                </a:ext>
              </a:extLst>
            </p:cNvPr>
            <p:cNvGrpSpPr/>
            <p:nvPr/>
          </p:nvGrpSpPr>
          <p:grpSpPr>
            <a:xfrm>
              <a:off x="1804654" y="2554818"/>
              <a:ext cx="369450" cy="369450"/>
              <a:chOff x="1804654" y="2554818"/>
              <a:chExt cx="369450" cy="369450"/>
            </a:xfrm>
          </p:grpSpPr>
          <p:sp>
            <p:nvSpPr>
              <p:cNvPr id="48" name="Flowchart: Connector 47">
                <a:extLst>
                  <a:ext uri="{FF2B5EF4-FFF2-40B4-BE49-F238E27FC236}">
                    <a16:creationId xmlns:a16="http://schemas.microsoft.com/office/drawing/2014/main" id="{2F574874-E1C0-4C85-B566-25D1AD6D3AD5}"/>
                  </a:ext>
                </a:extLst>
              </p:cNvPr>
              <p:cNvSpPr/>
              <p:nvPr/>
            </p:nvSpPr>
            <p:spPr>
              <a:xfrm>
                <a:off x="1804654" y="2554818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0" name="Flowchart: Connector 49">
                <a:extLst>
                  <a:ext uri="{FF2B5EF4-FFF2-40B4-BE49-F238E27FC236}">
                    <a16:creationId xmlns:a16="http://schemas.microsoft.com/office/drawing/2014/main" id="{EFC55BE7-8058-4977-B413-25CBEF541600}"/>
                  </a:ext>
                </a:extLst>
              </p:cNvPr>
              <p:cNvSpPr/>
              <p:nvPr/>
            </p:nvSpPr>
            <p:spPr>
              <a:xfrm>
                <a:off x="1880327" y="2630491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70" name="Speech Bubble: Rectangle 69">
            <a:extLst>
              <a:ext uri="{FF2B5EF4-FFF2-40B4-BE49-F238E27FC236}">
                <a16:creationId xmlns:a16="http://schemas.microsoft.com/office/drawing/2014/main" id="{47EF2117-A65E-48F9-8436-8184A203B80D}"/>
              </a:ext>
            </a:extLst>
          </p:cNvPr>
          <p:cNvSpPr/>
          <p:nvPr/>
        </p:nvSpPr>
        <p:spPr>
          <a:xfrm>
            <a:off x="5507188" y="2238974"/>
            <a:ext cx="3355001" cy="1366628"/>
          </a:xfrm>
          <a:prstGeom prst="wedgeRectCallout">
            <a:avLst>
              <a:gd name="adj1" fmla="val -80635"/>
              <a:gd name="adj2" fmla="val -37585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When it’s done, it automatically registers the model!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D37FA6A5-3385-41CC-8E30-826DA5660B5F}"/>
              </a:ext>
            </a:extLst>
          </p:cNvPr>
          <p:cNvSpPr txBox="1"/>
          <p:nvPr/>
        </p:nvSpPr>
        <p:spPr>
          <a:xfrm>
            <a:off x="503239" y="1912390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1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815F2955-D2A2-4403-9347-1D485B5EB38B}"/>
              </a:ext>
            </a:extLst>
          </p:cNvPr>
          <p:cNvSpPr txBox="1"/>
          <p:nvPr/>
        </p:nvSpPr>
        <p:spPr>
          <a:xfrm>
            <a:off x="503239" y="4680813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2</a:t>
            </a:r>
          </a:p>
        </p:txBody>
      </p:sp>
    </p:spTree>
    <p:extLst>
      <p:ext uri="{BB962C8B-B14F-4D97-AF65-F5344CB8AC3E}">
        <p14:creationId xmlns:p14="http://schemas.microsoft.com/office/powerpoint/2010/main" val="971723210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3269C01-B6AC-438D-BB0F-E70F1872184E}"/>
              </a:ext>
            </a:extLst>
          </p:cNvPr>
          <p:cNvCxnSpPr>
            <a:cxnSpLocks/>
          </p:cNvCxnSpPr>
          <p:nvPr/>
        </p:nvCxnSpPr>
        <p:spPr>
          <a:xfrm>
            <a:off x="9520376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E0FB0A3-AADE-4077-A759-EF749264C5B8}"/>
              </a:ext>
            </a:extLst>
          </p:cNvPr>
          <p:cNvCxnSpPr>
            <a:cxnSpLocks/>
          </p:cNvCxnSpPr>
          <p:nvPr/>
        </p:nvCxnSpPr>
        <p:spPr>
          <a:xfrm>
            <a:off x="2985660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5FB6D0-4D6A-4C25-A810-A2FAC650BCBE}"/>
              </a:ext>
            </a:extLst>
          </p:cNvPr>
          <p:cNvCxnSpPr>
            <a:cxnSpLocks/>
          </p:cNvCxnSpPr>
          <p:nvPr/>
        </p:nvCxnSpPr>
        <p:spPr>
          <a:xfrm>
            <a:off x="5163899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7EA124-03FA-4FD3-A58C-F248DE952643}"/>
              </a:ext>
            </a:extLst>
          </p:cNvPr>
          <p:cNvCxnSpPr>
            <a:cxnSpLocks/>
          </p:cNvCxnSpPr>
          <p:nvPr/>
        </p:nvCxnSpPr>
        <p:spPr>
          <a:xfrm>
            <a:off x="7342137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al World Multi-Cloud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D05D419-647C-4C08-AB87-C0E88BC251C2}"/>
              </a:ext>
            </a:extLst>
          </p:cNvPr>
          <p:cNvSpPr/>
          <p:nvPr/>
        </p:nvSpPr>
        <p:spPr>
          <a:xfrm>
            <a:off x="2410697" y="3425161"/>
            <a:ext cx="9415696" cy="43944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CI/CD Pipeli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DC7B87-74B9-4A19-8C6C-776003FFDDD0}"/>
              </a:ext>
            </a:extLst>
          </p:cNvPr>
          <p:cNvSpPr txBox="1"/>
          <p:nvPr/>
        </p:nvSpPr>
        <p:spPr>
          <a:xfrm>
            <a:off x="3328949" y="923899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Proces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90ECCFB-6104-4612-932E-28033DE94809}"/>
              </a:ext>
            </a:extLst>
          </p:cNvPr>
          <p:cNvSpPr txBox="1"/>
          <p:nvPr/>
        </p:nvSpPr>
        <p:spPr>
          <a:xfrm>
            <a:off x="5507187" y="916010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rai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7FF49F-D288-42AC-82F0-A661457EFD0D}"/>
              </a:ext>
            </a:extLst>
          </p:cNvPr>
          <p:cNvSpPr txBox="1"/>
          <p:nvPr/>
        </p:nvSpPr>
        <p:spPr>
          <a:xfrm>
            <a:off x="7685426" y="906261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tag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D2D4D4-7FD8-405A-9B26-A3FFBCF5B652}"/>
              </a:ext>
            </a:extLst>
          </p:cNvPr>
          <p:cNvSpPr txBox="1"/>
          <p:nvPr/>
        </p:nvSpPr>
        <p:spPr>
          <a:xfrm>
            <a:off x="9863662" y="881622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erve</a:t>
            </a: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7FFC6E1C-E113-411F-8F13-6FF737A37D5E}"/>
              </a:ext>
            </a:extLst>
          </p:cNvPr>
          <p:cNvGrpSpPr/>
          <p:nvPr/>
        </p:nvGrpSpPr>
        <p:grpSpPr>
          <a:xfrm>
            <a:off x="3246608" y="4909323"/>
            <a:ext cx="2199376" cy="492600"/>
            <a:chOff x="2434956" y="3681992"/>
            <a:chExt cx="1649532" cy="369450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3D231B7E-5932-4004-936C-7163D7BB7D27}"/>
                </a:ext>
              </a:extLst>
            </p:cNvPr>
            <p:cNvCxnSpPr>
              <a:cxnSpLocks/>
              <a:endCxn id="56" idx="2"/>
            </p:cNvCxnSpPr>
            <p:nvPr/>
          </p:nvCxnSpPr>
          <p:spPr>
            <a:xfrm>
              <a:off x="2434956" y="3864552"/>
              <a:ext cx="1280082" cy="2165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4FA9C2D7-89FB-4F86-88A2-FAB403AE4AFA}"/>
                </a:ext>
              </a:extLst>
            </p:cNvPr>
            <p:cNvGrpSpPr/>
            <p:nvPr/>
          </p:nvGrpSpPr>
          <p:grpSpPr>
            <a:xfrm>
              <a:off x="3715038" y="3681992"/>
              <a:ext cx="369450" cy="369450"/>
              <a:chOff x="3715038" y="3681992"/>
              <a:chExt cx="369450" cy="369450"/>
            </a:xfrm>
          </p:grpSpPr>
          <p:sp>
            <p:nvSpPr>
              <p:cNvPr id="56" name="Flowchart: Connector 55">
                <a:extLst>
                  <a:ext uri="{FF2B5EF4-FFF2-40B4-BE49-F238E27FC236}">
                    <a16:creationId xmlns:a16="http://schemas.microsoft.com/office/drawing/2014/main" id="{5A6F129A-65A5-4F8E-B24C-FEB3687B1C0C}"/>
                  </a:ext>
                </a:extLst>
              </p:cNvPr>
              <p:cNvSpPr/>
              <p:nvPr/>
            </p:nvSpPr>
            <p:spPr>
              <a:xfrm>
                <a:off x="3715038" y="368199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7" name="Flowchart: Connector 56">
                <a:extLst>
                  <a:ext uri="{FF2B5EF4-FFF2-40B4-BE49-F238E27FC236}">
                    <a16:creationId xmlns:a16="http://schemas.microsoft.com/office/drawing/2014/main" id="{BE0A6164-A927-4D6E-929D-9589F9CF26C8}"/>
                  </a:ext>
                </a:extLst>
              </p:cNvPr>
              <p:cNvSpPr/>
              <p:nvPr/>
            </p:nvSpPr>
            <p:spPr>
              <a:xfrm>
                <a:off x="3790711" y="375766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7F448ED7-F170-47E9-A273-90774EDB6BD2}"/>
              </a:ext>
            </a:extLst>
          </p:cNvPr>
          <p:cNvSpPr/>
          <p:nvPr/>
        </p:nvSpPr>
        <p:spPr>
          <a:xfrm>
            <a:off x="3635024" y="5774267"/>
            <a:ext cx="3187561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</a:p>
        </p:txBody>
      </p: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7547D423-7ED6-4D73-B241-B1C26F5CCC36}"/>
              </a:ext>
            </a:extLst>
          </p:cNvPr>
          <p:cNvSpPr/>
          <p:nvPr/>
        </p:nvSpPr>
        <p:spPr>
          <a:xfrm>
            <a:off x="7951003" y="1373831"/>
            <a:ext cx="3539200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istributed Cloud</a:t>
            </a:r>
          </a:p>
        </p:txBody>
      </p:sp>
      <p:grpSp>
        <p:nvGrpSpPr>
          <p:cNvPr id="4096" name="Group 4095">
            <a:extLst>
              <a:ext uri="{FF2B5EF4-FFF2-40B4-BE49-F238E27FC236}">
                <a16:creationId xmlns:a16="http://schemas.microsoft.com/office/drawing/2014/main" id="{0C5B832A-E4FB-4C1A-80D4-B524DED41654}"/>
              </a:ext>
            </a:extLst>
          </p:cNvPr>
          <p:cNvGrpSpPr/>
          <p:nvPr/>
        </p:nvGrpSpPr>
        <p:grpSpPr>
          <a:xfrm>
            <a:off x="9581443" y="4200236"/>
            <a:ext cx="2348549" cy="2813372"/>
            <a:chOff x="7186082" y="3150177"/>
            <a:chExt cx="1761412" cy="2110029"/>
          </a:xfrm>
        </p:grpSpPr>
        <p:pic>
          <p:nvPicPr>
            <p:cNvPr id="116" name="Picture 3" descr="https://lh6.googleusercontent.com/OJj71FP6p8alxoeZCl0ns4zYnjFOn6y28cZcvjrPJHXhgeoGVXk0MW_gcWiwsRHly1neENoXZ7u29zGp4Mtnt1id7SCBfG7mjSMGyIIfMHkv1S8HHTgZnD-FYyB9wWZOCXGocgSWzsI">
              <a:extLst>
                <a:ext uri="{FF2B5EF4-FFF2-40B4-BE49-F238E27FC236}">
                  <a16:creationId xmlns:a16="http://schemas.microsoft.com/office/drawing/2014/main" id="{AF85649F-B9BD-42A8-B83D-879F491924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2413" y="3150177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EF0C545E-EAD6-4DC3-812B-C8498E644CDE}"/>
                </a:ext>
              </a:extLst>
            </p:cNvPr>
            <p:cNvSpPr/>
            <p:nvPr/>
          </p:nvSpPr>
          <p:spPr>
            <a:xfrm>
              <a:off x="7186082" y="4636958"/>
              <a:ext cx="1761412" cy="623248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  <a:cs typeface="Google Sans" panose="020B0604020202020204" charset="0"/>
                </a:rPr>
                <a:t>SRE/ML Engineers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D3277620-A393-4D4E-A9A1-3FC4910E9310}"/>
              </a:ext>
            </a:extLst>
          </p:cNvPr>
          <p:cNvGrpSpPr/>
          <p:nvPr/>
        </p:nvGrpSpPr>
        <p:grpSpPr>
          <a:xfrm>
            <a:off x="3309712" y="1537862"/>
            <a:ext cx="1988233" cy="2366665"/>
            <a:chOff x="2482283" y="1153396"/>
            <a:chExt cx="1491175" cy="1774999"/>
          </a:xfrm>
        </p:grpSpPr>
        <p:pic>
          <p:nvPicPr>
            <p:cNvPr id="115" name="Picture 2" descr="https://lh3.googleusercontent.com/W5ZorUwdr19lfnMl5uUIjqSG-FazB-7D7ieSNS3wqmm3Jpeuprqi1ry1PWeUxD_3-O4TII-bvIGyK1vBeS3HPxs3LxAB1mB3Or6UZVOI4QGRZANHBW31j3VauHZH8hpX55UhYNVWYEY">
              <a:extLst>
                <a:ext uri="{FF2B5EF4-FFF2-40B4-BE49-F238E27FC236}">
                  <a16:creationId xmlns:a16="http://schemas.microsoft.com/office/drawing/2014/main" id="{B4199A15-AF88-4CC1-84CE-CA9866C00A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2284" y="1153396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303620CE-DA58-4B44-A558-B048E4CE10C7}"/>
                </a:ext>
              </a:extLst>
            </p:cNvPr>
            <p:cNvSpPr/>
            <p:nvPr/>
          </p:nvSpPr>
          <p:spPr>
            <a:xfrm>
              <a:off x="2482283" y="2582146"/>
              <a:ext cx="1491175" cy="346249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</a:rPr>
                <a:t>Data Scientist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pic>
        <p:nvPicPr>
          <p:cNvPr id="4098" name="Picture 2" descr="Image result for github logo">
            <a:extLst>
              <a:ext uri="{FF2B5EF4-FFF2-40B4-BE49-F238E27FC236}">
                <a16:creationId xmlns:a16="http://schemas.microsoft.com/office/drawing/2014/main" id="{FF95E88C-B28A-4CA5-BAAF-53ED36E48B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609" y="3124735"/>
            <a:ext cx="838052" cy="838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3" name="Group 122">
            <a:extLst>
              <a:ext uri="{FF2B5EF4-FFF2-40B4-BE49-F238E27FC236}">
                <a16:creationId xmlns:a16="http://schemas.microsoft.com/office/drawing/2014/main" id="{D59CED50-8211-4005-AC40-E6D4A150CCA0}"/>
              </a:ext>
            </a:extLst>
          </p:cNvPr>
          <p:cNvGrpSpPr/>
          <p:nvPr/>
        </p:nvGrpSpPr>
        <p:grpSpPr>
          <a:xfrm>
            <a:off x="7399869" y="2009973"/>
            <a:ext cx="722351" cy="1647628"/>
            <a:chOff x="5549901" y="1507479"/>
            <a:chExt cx="541763" cy="1235721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DE57D4-6214-4478-BC9F-C82255B66D0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549901" y="1871133"/>
              <a:ext cx="275166" cy="872067"/>
            </a:xfrm>
            <a:prstGeom prst="line">
              <a:avLst/>
            </a:prstGeom>
            <a:ln w="101600">
              <a:headEnd type="triangl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55E2614B-B9E4-4466-B017-1CBB6FEB91EA}"/>
                </a:ext>
              </a:extLst>
            </p:cNvPr>
            <p:cNvGrpSpPr/>
            <p:nvPr/>
          </p:nvGrpSpPr>
          <p:grpSpPr>
            <a:xfrm>
              <a:off x="5722214" y="1507479"/>
              <a:ext cx="369450" cy="369450"/>
              <a:chOff x="5723529" y="1508988"/>
              <a:chExt cx="369450" cy="369450"/>
            </a:xfrm>
          </p:grpSpPr>
          <p:sp>
            <p:nvSpPr>
              <p:cNvPr id="65" name="Flowchart: Connector 64">
                <a:extLst>
                  <a:ext uri="{FF2B5EF4-FFF2-40B4-BE49-F238E27FC236}">
                    <a16:creationId xmlns:a16="http://schemas.microsoft.com/office/drawing/2014/main" id="{7ABF41FC-A42E-4C42-88BA-7DF03B142DBB}"/>
                  </a:ext>
                </a:extLst>
              </p:cNvPr>
              <p:cNvSpPr/>
              <p:nvPr/>
            </p:nvSpPr>
            <p:spPr>
              <a:xfrm>
                <a:off x="5723529" y="1508988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6" name="Flowchart: Connector 65">
                <a:extLst>
                  <a:ext uri="{FF2B5EF4-FFF2-40B4-BE49-F238E27FC236}">
                    <a16:creationId xmlns:a16="http://schemas.microsoft.com/office/drawing/2014/main" id="{78C58395-A4E6-4CD9-AF97-681B5644C47F}"/>
                  </a:ext>
                </a:extLst>
              </p:cNvPr>
              <p:cNvSpPr/>
              <p:nvPr/>
            </p:nvSpPr>
            <p:spPr>
              <a:xfrm>
                <a:off x="5799202" y="1584661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C7FD450C-D210-426F-B4AF-624A2044C403}"/>
              </a:ext>
            </a:extLst>
          </p:cNvPr>
          <p:cNvGrpSpPr/>
          <p:nvPr/>
        </p:nvGrpSpPr>
        <p:grpSpPr>
          <a:xfrm>
            <a:off x="7061969" y="3392826"/>
            <a:ext cx="587537" cy="1765684"/>
            <a:chOff x="5296476" y="2544619"/>
            <a:chExt cx="440653" cy="1324263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99D4FA34-D6A5-4556-8E16-CA144FC9C6D6}"/>
                </a:ext>
              </a:extLst>
            </p:cNvPr>
            <p:cNvCxnSpPr>
              <a:cxnSpLocks/>
              <a:stCxn id="62" idx="4"/>
            </p:cNvCxnSpPr>
            <p:nvPr/>
          </p:nvCxnSpPr>
          <p:spPr>
            <a:xfrm flipH="1">
              <a:off x="5296476" y="2914069"/>
              <a:ext cx="255928" cy="954813"/>
            </a:xfrm>
            <a:prstGeom prst="line">
              <a:avLst/>
            </a:prstGeom>
            <a:ln w="101600">
              <a:headEnd type="triangl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15B2B652-8EC9-4F50-8697-2029004FDDEF}"/>
                </a:ext>
              </a:extLst>
            </p:cNvPr>
            <p:cNvGrpSpPr/>
            <p:nvPr/>
          </p:nvGrpSpPr>
          <p:grpSpPr>
            <a:xfrm>
              <a:off x="5367679" y="2544619"/>
              <a:ext cx="369450" cy="369450"/>
              <a:chOff x="5367679" y="2544619"/>
              <a:chExt cx="369450" cy="369450"/>
            </a:xfrm>
          </p:grpSpPr>
          <p:sp>
            <p:nvSpPr>
              <p:cNvPr id="62" name="Flowchart: Connector 61">
                <a:extLst>
                  <a:ext uri="{FF2B5EF4-FFF2-40B4-BE49-F238E27FC236}">
                    <a16:creationId xmlns:a16="http://schemas.microsoft.com/office/drawing/2014/main" id="{0586BC68-3312-45AE-AF82-9F8A694EE363}"/>
                  </a:ext>
                </a:extLst>
              </p:cNvPr>
              <p:cNvSpPr/>
              <p:nvPr/>
            </p:nvSpPr>
            <p:spPr>
              <a:xfrm>
                <a:off x="5367679" y="2544619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3" name="Flowchart: Connector 62">
                <a:extLst>
                  <a:ext uri="{FF2B5EF4-FFF2-40B4-BE49-F238E27FC236}">
                    <a16:creationId xmlns:a16="http://schemas.microsoft.com/office/drawing/2014/main" id="{2817CED9-3BEC-4524-B8A9-FDBC3A6CD25D}"/>
                  </a:ext>
                </a:extLst>
              </p:cNvPr>
              <p:cNvSpPr/>
              <p:nvPr/>
            </p:nvSpPr>
            <p:spPr>
              <a:xfrm>
                <a:off x="5443352" y="2620292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A392F682-267D-4A84-8D93-BD3C537E78F8}"/>
              </a:ext>
            </a:extLst>
          </p:cNvPr>
          <p:cNvGrpSpPr/>
          <p:nvPr/>
        </p:nvGrpSpPr>
        <p:grpSpPr>
          <a:xfrm>
            <a:off x="5345087" y="4906436"/>
            <a:ext cx="1970101" cy="492600"/>
            <a:chOff x="4008815" y="3679827"/>
            <a:chExt cx="1477576" cy="369450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6796C23C-8804-4245-A74E-0FD2746E859A}"/>
                </a:ext>
              </a:extLst>
            </p:cNvPr>
            <p:cNvCxnSpPr>
              <a:cxnSpLocks/>
              <a:stCxn id="57" idx="6"/>
              <a:endCxn id="59" idx="2"/>
            </p:cNvCxnSpPr>
            <p:nvPr/>
          </p:nvCxnSpPr>
          <p:spPr>
            <a:xfrm flipV="1">
              <a:off x="4008815" y="3864552"/>
              <a:ext cx="1108126" cy="2165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0233CCD1-9405-4FA4-A7D4-4EF763DB124F}"/>
                </a:ext>
              </a:extLst>
            </p:cNvPr>
            <p:cNvGrpSpPr/>
            <p:nvPr/>
          </p:nvGrpSpPr>
          <p:grpSpPr>
            <a:xfrm>
              <a:off x="5116941" y="3679827"/>
              <a:ext cx="369450" cy="369450"/>
              <a:chOff x="5116942" y="3653577"/>
              <a:chExt cx="369450" cy="369450"/>
            </a:xfrm>
          </p:grpSpPr>
          <p:sp>
            <p:nvSpPr>
              <p:cNvPr id="59" name="Flowchart: Connector 58">
                <a:extLst>
                  <a:ext uri="{FF2B5EF4-FFF2-40B4-BE49-F238E27FC236}">
                    <a16:creationId xmlns:a16="http://schemas.microsoft.com/office/drawing/2014/main" id="{53ED20BB-8180-41BB-BA55-FA82D54EB1A1}"/>
                  </a:ext>
                </a:extLst>
              </p:cNvPr>
              <p:cNvSpPr/>
              <p:nvPr/>
            </p:nvSpPr>
            <p:spPr>
              <a:xfrm>
                <a:off x="5116942" y="3653577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0" name="Flowchart: Connector 59">
                <a:extLst>
                  <a:ext uri="{FF2B5EF4-FFF2-40B4-BE49-F238E27FC236}">
                    <a16:creationId xmlns:a16="http://schemas.microsoft.com/office/drawing/2014/main" id="{8A13EF14-5515-4E08-8FE3-CFA4C1132C26}"/>
                  </a:ext>
                </a:extLst>
              </p:cNvPr>
              <p:cNvSpPr/>
              <p:nvPr/>
            </p:nvSpPr>
            <p:spPr>
              <a:xfrm>
                <a:off x="5192615" y="3729250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4954FD46-8EA4-4963-B700-0858D4244EAA}"/>
              </a:ext>
            </a:extLst>
          </p:cNvPr>
          <p:cNvGrpSpPr/>
          <p:nvPr/>
        </p:nvGrpSpPr>
        <p:grpSpPr>
          <a:xfrm>
            <a:off x="2646219" y="3643746"/>
            <a:ext cx="863989" cy="1747204"/>
            <a:chOff x="1984664" y="2732809"/>
            <a:chExt cx="647992" cy="1310403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6404DCC-90AE-4AC9-83E7-DFA8E7886A6C}"/>
                </a:ext>
              </a:extLst>
            </p:cNvPr>
            <p:cNvCxnSpPr>
              <a:cxnSpLocks/>
              <a:endCxn id="53" idx="1"/>
            </p:cNvCxnSpPr>
            <p:nvPr/>
          </p:nvCxnSpPr>
          <p:spPr>
            <a:xfrm>
              <a:off x="1984664" y="2732809"/>
              <a:ext cx="332647" cy="995058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E3B0A1DC-D93B-4ACB-96CE-86D22A8C5C1F}"/>
                </a:ext>
              </a:extLst>
            </p:cNvPr>
            <p:cNvGrpSpPr/>
            <p:nvPr/>
          </p:nvGrpSpPr>
          <p:grpSpPr>
            <a:xfrm>
              <a:off x="2263206" y="3673762"/>
              <a:ext cx="369450" cy="369450"/>
              <a:chOff x="2263206" y="3673762"/>
              <a:chExt cx="369450" cy="369450"/>
            </a:xfrm>
          </p:grpSpPr>
          <p:sp>
            <p:nvSpPr>
              <p:cNvPr id="53" name="Flowchart: Connector 52">
                <a:extLst>
                  <a:ext uri="{FF2B5EF4-FFF2-40B4-BE49-F238E27FC236}">
                    <a16:creationId xmlns:a16="http://schemas.microsoft.com/office/drawing/2014/main" id="{BC2155B0-99EE-4940-BB15-1641641349DF}"/>
                  </a:ext>
                </a:extLst>
              </p:cNvPr>
              <p:cNvSpPr/>
              <p:nvPr/>
            </p:nvSpPr>
            <p:spPr>
              <a:xfrm>
                <a:off x="2263206" y="367376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4" name="Flowchart: Connector 53">
                <a:extLst>
                  <a:ext uri="{FF2B5EF4-FFF2-40B4-BE49-F238E27FC236}">
                    <a16:creationId xmlns:a16="http://schemas.microsoft.com/office/drawing/2014/main" id="{299F4F19-09D0-441A-832B-5BB13748F1C2}"/>
                  </a:ext>
                </a:extLst>
              </p:cNvPr>
              <p:cNvSpPr/>
              <p:nvPr/>
            </p:nvSpPr>
            <p:spPr>
              <a:xfrm>
                <a:off x="2338879" y="374943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499F41B4-F665-44DC-8E57-27AB5BE7593B}"/>
              </a:ext>
            </a:extLst>
          </p:cNvPr>
          <p:cNvGrpSpPr/>
          <p:nvPr/>
        </p:nvGrpSpPr>
        <p:grpSpPr>
          <a:xfrm>
            <a:off x="1318288" y="3406424"/>
            <a:ext cx="1580517" cy="492600"/>
            <a:chOff x="988716" y="2554818"/>
            <a:chExt cx="1185388" cy="369450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A711515-B5AD-42F7-BA7A-103BF873B44D}"/>
                </a:ext>
              </a:extLst>
            </p:cNvPr>
            <p:cNvCxnSpPr>
              <a:cxnSpLocks/>
              <a:endCxn id="48" idx="2"/>
            </p:cNvCxnSpPr>
            <p:nvPr/>
          </p:nvCxnSpPr>
          <p:spPr>
            <a:xfrm>
              <a:off x="988716" y="2729344"/>
              <a:ext cx="815938" cy="10199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B8764121-7611-471D-AB48-40AD6B92DDC2}"/>
                </a:ext>
              </a:extLst>
            </p:cNvPr>
            <p:cNvGrpSpPr/>
            <p:nvPr/>
          </p:nvGrpSpPr>
          <p:grpSpPr>
            <a:xfrm>
              <a:off x="1804654" y="2554818"/>
              <a:ext cx="369450" cy="369450"/>
              <a:chOff x="1804654" y="2554818"/>
              <a:chExt cx="369450" cy="369450"/>
            </a:xfrm>
          </p:grpSpPr>
          <p:sp>
            <p:nvSpPr>
              <p:cNvPr id="48" name="Flowchart: Connector 47">
                <a:extLst>
                  <a:ext uri="{FF2B5EF4-FFF2-40B4-BE49-F238E27FC236}">
                    <a16:creationId xmlns:a16="http://schemas.microsoft.com/office/drawing/2014/main" id="{2F574874-E1C0-4C85-B566-25D1AD6D3AD5}"/>
                  </a:ext>
                </a:extLst>
              </p:cNvPr>
              <p:cNvSpPr/>
              <p:nvPr/>
            </p:nvSpPr>
            <p:spPr>
              <a:xfrm>
                <a:off x="1804654" y="2554818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0" name="Flowchart: Connector 49">
                <a:extLst>
                  <a:ext uri="{FF2B5EF4-FFF2-40B4-BE49-F238E27FC236}">
                    <a16:creationId xmlns:a16="http://schemas.microsoft.com/office/drawing/2014/main" id="{EFC55BE7-8058-4977-B413-25CBEF541600}"/>
                  </a:ext>
                </a:extLst>
              </p:cNvPr>
              <p:cNvSpPr/>
              <p:nvPr/>
            </p:nvSpPr>
            <p:spPr>
              <a:xfrm>
                <a:off x="1880327" y="2630491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70" name="Speech Bubble: Rectangle 69">
            <a:extLst>
              <a:ext uri="{FF2B5EF4-FFF2-40B4-BE49-F238E27FC236}">
                <a16:creationId xmlns:a16="http://schemas.microsoft.com/office/drawing/2014/main" id="{E8CE4525-8BA7-48FB-B042-A50E43020D09}"/>
              </a:ext>
            </a:extLst>
          </p:cNvPr>
          <p:cNvSpPr/>
          <p:nvPr/>
        </p:nvSpPr>
        <p:spPr>
          <a:xfrm>
            <a:off x="5664637" y="4596761"/>
            <a:ext cx="3355001" cy="1366628"/>
          </a:xfrm>
          <a:prstGeom prst="wedgeRectCallout">
            <a:avLst>
              <a:gd name="adj1" fmla="val 101064"/>
              <a:gd name="adj2" fmla="val -16037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ake the registered model and provision a staging endpoint.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761B0CA-EF95-4EBA-BF6A-825D5AFF1E57}"/>
              </a:ext>
            </a:extLst>
          </p:cNvPr>
          <p:cNvSpPr txBox="1"/>
          <p:nvPr/>
        </p:nvSpPr>
        <p:spPr>
          <a:xfrm>
            <a:off x="503239" y="1912390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1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67B1B0BE-A10A-4215-B31E-8AE491468FBF}"/>
              </a:ext>
            </a:extLst>
          </p:cNvPr>
          <p:cNvSpPr txBox="1"/>
          <p:nvPr/>
        </p:nvSpPr>
        <p:spPr>
          <a:xfrm>
            <a:off x="503239" y="4680813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2</a:t>
            </a:r>
          </a:p>
        </p:txBody>
      </p:sp>
    </p:spTree>
    <p:extLst>
      <p:ext uri="{BB962C8B-B14F-4D97-AF65-F5344CB8AC3E}">
        <p14:creationId xmlns:p14="http://schemas.microsoft.com/office/powerpoint/2010/main" val="1193652359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3269C01-B6AC-438D-BB0F-E70F1872184E}"/>
              </a:ext>
            </a:extLst>
          </p:cNvPr>
          <p:cNvCxnSpPr>
            <a:cxnSpLocks/>
          </p:cNvCxnSpPr>
          <p:nvPr/>
        </p:nvCxnSpPr>
        <p:spPr>
          <a:xfrm>
            <a:off x="9520376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E0FB0A3-AADE-4077-A759-EF749264C5B8}"/>
              </a:ext>
            </a:extLst>
          </p:cNvPr>
          <p:cNvCxnSpPr>
            <a:cxnSpLocks/>
          </p:cNvCxnSpPr>
          <p:nvPr/>
        </p:nvCxnSpPr>
        <p:spPr>
          <a:xfrm>
            <a:off x="2985660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5FB6D0-4D6A-4C25-A810-A2FAC650BCBE}"/>
              </a:ext>
            </a:extLst>
          </p:cNvPr>
          <p:cNvCxnSpPr>
            <a:cxnSpLocks/>
          </p:cNvCxnSpPr>
          <p:nvPr/>
        </p:nvCxnSpPr>
        <p:spPr>
          <a:xfrm>
            <a:off x="5163899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7EA124-03FA-4FD3-A58C-F248DE952643}"/>
              </a:ext>
            </a:extLst>
          </p:cNvPr>
          <p:cNvCxnSpPr>
            <a:cxnSpLocks/>
          </p:cNvCxnSpPr>
          <p:nvPr/>
        </p:nvCxnSpPr>
        <p:spPr>
          <a:xfrm>
            <a:off x="7342137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al World Multi-Cloud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D05D419-647C-4C08-AB87-C0E88BC251C2}"/>
              </a:ext>
            </a:extLst>
          </p:cNvPr>
          <p:cNvSpPr/>
          <p:nvPr/>
        </p:nvSpPr>
        <p:spPr>
          <a:xfrm>
            <a:off x="2410697" y="3425161"/>
            <a:ext cx="9415696" cy="43944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CI/CD Pipeli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DC7B87-74B9-4A19-8C6C-776003FFDDD0}"/>
              </a:ext>
            </a:extLst>
          </p:cNvPr>
          <p:cNvSpPr txBox="1"/>
          <p:nvPr/>
        </p:nvSpPr>
        <p:spPr>
          <a:xfrm>
            <a:off x="3328949" y="923899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Proces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90ECCFB-6104-4612-932E-28033DE94809}"/>
              </a:ext>
            </a:extLst>
          </p:cNvPr>
          <p:cNvSpPr txBox="1"/>
          <p:nvPr/>
        </p:nvSpPr>
        <p:spPr>
          <a:xfrm>
            <a:off x="5507187" y="916010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rai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7FF49F-D288-42AC-82F0-A661457EFD0D}"/>
              </a:ext>
            </a:extLst>
          </p:cNvPr>
          <p:cNvSpPr txBox="1"/>
          <p:nvPr/>
        </p:nvSpPr>
        <p:spPr>
          <a:xfrm>
            <a:off x="7685426" y="906261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tag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D2D4D4-7FD8-405A-9B26-A3FFBCF5B652}"/>
              </a:ext>
            </a:extLst>
          </p:cNvPr>
          <p:cNvSpPr txBox="1"/>
          <p:nvPr/>
        </p:nvSpPr>
        <p:spPr>
          <a:xfrm>
            <a:off x="9863662" y="881622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erve</a:t>
            </a: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7FFC6E1C-E113-411F-8F13-6FF737A37D5E}"/>
              </a:ext>
            </a:extLst>
          </p:cNvPr>
          <p:cNvGrpSpPr/>
          <p:nvPr/>
        </p:nvGrpSpPr>
        <p:grpSpPr>
          <a:xfrm>
            <a:off x="3246608" y="4909323"/>
            <a:ext cx="2199376" cy="492600"/>
            <a:chOff x="2434956" y="3681992"/>
            <a:chExt cx="1649532" cy="369450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3D231B7E-5932-4004-936C-7163D7BB7D27}"/>
                </a:ext>
              </a:extLst>
            </p:cNvPr>
            <p:cNvCxnSpPr>
              <a:cxnSpLocks/>
              <a:endCxn id="56" idx="2"/>
            </p:cNvCxnSpPr>
            <p:nvPr/>
          </p:nvCxnSpPr>
          <p:spPr>
            <a:xfrm>
              <a:off x="2434956" y="3864552"/>
              <a:ext cx="1280082" cy="2165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4FA9C2D7-89FB-4F86-88A2-FAB403AE4AFA}"/>
                </a:ext>
              </a:extLst>
            </p:cNvPr>
            <p:cNvGrpSpPr/>
            <p:nvPr/>
          </p:nvGrpSpPr>
          <p:grpSpPr>
            <a:xfrm>
              <a:off x="3715038" y="3681992"/>
              <a:ext cx="369450" cy="369450"/>
              <a:chOff x="3715038" y="3681992"/>
              <a:chExt cx="369450" cy="369450"/>
            </a:xfrm>
          </p:grpSpPr>
          <p:sp>
            <p:nvSpPr>
              <p:cNvPr id="56" name="Flowchart: Connector 55">
                <a:extLst>
                  <a:ext uri="{FF2B5EF4-FFF2-40B4-BE49-F238E27FC236}">
                    <a16:creationId xmlns:a16="http://schemas.microsoft.com/office/drawing/2014/main" id="{5A6F129A-65A5-4F8E-B24C-FEB3687B1C0C}"/>
                  </a:ext>
                </a:extLst>
              </p:cNvPr>
              <p:cNvSpPr/>
              <p:nvPr/>
            </p:nvSpPr>
            <p:spPr>
              <a:xfrm>
                <a:off x="3715038" y="368199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7" name="Flowchart: Connector 56">
                <a:extLst>
                  <a:ext uri="{FF2B5EF4-FFF2-40B4-BE49-F238E27FC236}">
                    <a16:creationId xmlns:a16="http://schemas.microsoft.com/office/drawing/2014/main" id="{BE0A6164-A927-4D6E-929D-9589F9CF26C8}"/>
                  </a:ext>
                </a:extLst>
              </p:cNvPr>
              <p:cNvSpPr/>
              <p:nvPr/>
            </p:nvSpPr>
            <p:spPr>
              <a:xfrm>
                <a:off x="3790711" y="375766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7F448ED7-F170-47E9-A273-90774EDB6BD2}"/>
              </a:ext>
            </a:extLst>
          </p:cNvPr>
          <p:cNvSpPr/>
          <p:nvPr/>
        </p:nvSpPr>
        <p:spPr>
          <a:xfrm>
            <a:off x="3635024" y="5774267"/>
            <a:ext cx="3187561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</a:p>
        </p:txBody>
      </p: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7547D423-7ED6-4D73-B241-B1C26F5CCC36}"/>
              </a:ext>
            </a:extLst>
          </p:cNvPr>
          <p:cNvSpPr/>
          <p:nvPr/>
        </p:nvSpPr>
        <p:spPr>
          <a:xfrm>
            <a:off x="7951003" y="1373831"/>
            <a:ext cx="3539200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istributed Cloud</a:t>
            </a:r>
          </a:p>
        </p:txBody>
      </p:sp>
      <p:grpSp>
        <p:nvGrpSpPr>
          <p:cNvPr id="4096" name="Group 4095">
            <a:extLst>
              <a:ext uri="{FF2B5EF4-FFF2-40B4-BE49-F238E27FC236}">
                <a16:creationId xmlns:a16="http://schemas.microsoft.com/office/drawing/2014/main" id="{0C5B832A-E4FB-4C1A-80D4-B524DED41654}"/>
              </a:ext>
            </a:extLst>
          </p:cNvPr>
          <p:cNvGrpSpPr/>
          <p:nvPr/>
        </p:nvGrpSpPr>
        <p:grpSpPr>
          <a:xfrm>
            <a:off x="9581443" y="4200236"/>
            <a:ext cx="2348549" cy="2813372"/>
            <a:chOff x="7186082" y="3150177"/>
            <a:chExt cx="1761412" cy="2110029"/>
          </a:xfrm>
        </p:grpSpPr>
        <p:pic>
          <p:nvPicPr>
            <p:cNvPr id="116" name="Picture 3" descr="https://lh6.googleusercontent.com/OJj71FP6p8alxoeZCl0ns4zYnjFOn6y28cZcvjrPJHXhgeoGVXk0MW_gcWiwsRHly1neENoXZ7u29zGp4Mtnt1id7SCBfG7mjSMGyIIfMHkv1S8HHTgZnD-FYyB9wWZOCXGocgSWzsI">
              <a:extLst>
                <a:ext uri="{FF2B5EF4-FFF2-40B4-BE49-F238E27FC236}">
                  <a16:creationId xmlns:a16="http://schemas.microsoft.com/office/drawing/2014/main" id="{AF85649F-B9BD-42A8-B83D-879F491924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2413" y="3150177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EF0C545E-EAD6-4DC3-812B-C8498E644CDE}"/>
                </a:ext>
              </a:extLst>
            </p:cNvPr>
            <p:cNvSpPr/>
            <p:nvPr/>
          </p:nvSpPr>
          <p:spPr>
            <a:xfrm>
              <a:off x="7186082" y="4636958"/>
              <a:ext cx="1761412" cy="623248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  <a:cs typeface="Google Sans" panose="020B0604020202020204" charset="0"/>
                </a:rPr>
                <a:t>SRE/ML Engineers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D3277620-A393-4D4E-A9A1-3FC4910E9310}"/>
              </a:ext>
            </a:extLst>
          </p:cNvPr>
          <p:cNvGrpSpPr/>
          <p:nvPr/>
        </p:nvGrpSpPr>
        <p:grpSpPr>
          <a:xfrm>
            <a:off x="3309712" y="1537862"/>
            <a:ext cx="1988233" cy="2366665"/>
            <a:chOff x="2482283" y="1153396"/>
            <a:chExt cx="1491175" cy="1774999"/>
          </a:xfrm>
        </p:grpSpPr>
        <p:pic>
          <p:nvPicPr>
            <p:cNvPr id="115" name="Picture 2" descr="https://lh3.googleusercontent.com/W5ZorUwdr19lfnMl5uUIjqSG-FazB-7D7ieSNS3wqmm3Jpeuprqi1ry1PWeUxD_3-O4TII-bvIGyK1vBeS3HPxs3LxAB1mB3Or6UZVOI4QGRZANHBW31j3VauHZH8hpX55UhYNVWYEY">
              <a:extLst>
                <a:ext uri="{FF2B5EF4-FFF2-40B4-BE49-F238E27FC236}">
                  <a16:creationId xmlns:a16="http://schemas.microsoft.com/office/drawing/2014/main" id="{B4199A15-AF88-4CC1-84CE-CA9866C00A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2284" y="1153396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303620CE-DA58-4B44-A558-B048E4CE10C7}"/>
                </a:ext>
              </a:extLst>
            </p:cNvPr>
            <p:cNvSpPr/>
            <p:nvPr/>
          </p:nvSpPr>
          <p:spPr>
            <a:xfrm>
              <a:off x="2482283" y="2582146"/>
              <a:ext cx="1491175" cy="346249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</a:rPr>
                <a:t>Data Scientist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pic>
        <p:nvPicPr>
          <p:cNvPr id="4098" name="Picture 2" descr="Image result for github logo">
            <a:extLst>
              <a:ext uri="{FF2B5EF4-FFF2-40B4-BE49-F238E27FC236}">
                <a16:creationId xmlns:a16="http://schemas.microsoft.com/office/drawing/2014/main" id="{FF95E88C-B28A-4CA5-BAAF-53ED36E48B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609" y="3124735"/>
            <a:ext cx="838052" cy="838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4" name="Group 123">
            <a:extLst>
              <a:ext uri="{FF2B5EF4-FFF2-40B4-BE49-F238E27FC236}">
                <a16:creationId xmlns:a16="http://schemas.microsoft.com/office/drawing/2014/main" id="{4F6DAF94-EC59-48A2-9889-4BD10A2A86EB}"/>
              </a:ext>
            </a:extLst>
          </p:cNvPr>
          <p:cNvGrpSpPr/>
          <p:nvPr/>
        </p:nvGrpSpPr>
        <p:grpSpPr>
          <a:xfrm>
            <a:off x="7730516" y="2003516"/>
            <a:ext cx="1554840" cy="492600"/>
            <a:chOff x="5797887" y="1502637"/>
            <a:chExt cx="1166130" cy="369450"/>
          </a:xfrm>
        </p:grpSpPr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F25F6568-0EAB-4CD6-8E3D-75A955F0AEC8}"/>
                </a:ext>
              </a:extLst>
            </p:cNvPr>
            <p:cNvCxnSpPr>
              <a:cxnSpLocks/>
              <a:stCxn id="66" idx="2"/>
              <a:endCxn id="68" idx="2"/>
            </p:cNvCxnSpPr>
            <p:nvPr/>
          </p:nvCxnSpPr>
          <p:spPr>
            <a:xfrm flipV="1">
              <a:off x="5797887" y="1687362"/>
              <a:ext cx="796680" cy="4842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3BF652D5-D625-4EA9-AF32-1D58E3817038}"/>
                </a:ext>
              </a:extLst>
            </p:cNvPr>
            <p:cNvGrpSpPr/>
            <p:nvPr/>
          </p:nvGrpSpPr>
          <p:grpSpPr>
            <a:xfrm>
              <a:off x="6594567" y="1502637"/>
              <a:ext cx="369450" cy="369450"/>
              <a:chOff x="6716678" y="1504205"/>
              <a:chExt cx="369450" cy="369450"/>
            </a:xfrm>
          </p:grpSpPr>
          <p:sp>
            <p:nvSpPr>
              <p:cNvPr id="68" name="Flowchart: Connector 67">
                <a:extLst>
                  <a:ext uri="{FF2B5EF4-FFF2-40B4-BE49-F238E27FC236}">
                    <a16:creationId xmlns:a16="http://schemas.microsoft.com/office/drawing/2014/main" id="{CC9F6E5A-1E2B-47E6-84F1-5AC9651D0533}"/>
                  </a:ext>
                </a:extLst>
              </p:cNvPr>
              <p:cNvSpPr/>
              <p:nvPr/>
            </p:nvSpPr>
            <p:spPr>
              <a:xfrm>
                <a:off x="6716678" y="1504205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9" name="Flowchart: Connector 68">
                <a:extLst>
                  <a:ext uri="{FF2B5EF4-FFF2-40B4-BE49-F238E27FC236}">
                    <a16:creationId xmlns:a16="http://schemas.microsoft.com/office/drawing/2014/main" id="{94E507CA-9F1C-4179-B947-A40D06F96F75}"/>
                  </a:ext>
                </a:extLst>
              </p:cNvPr>
              <p:cNvSpPr/>
              <p:nvPr/>
            </p:nvSpPr>
            <p:spPr>
              <a:xfrm>
                <a:off x="6792351" y="1579878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D59CED50-8211-4005-AC40-E6D4A150CCA0}"/>
              </a:ext>
            </a:extLst>
          </p:cNvPr>
          <p:cNvGrpSpPr/>
          <p:nvPr/>
        </p:nvGrpSpPr>
        <p:grpSpPr>
          <a:xfrm>
            <a:off x="7399869" y="2009973"/>
            <a:ext cx="722351" cy="1647628"/>
            <a:chOff x="5549901" y="1507479"/>
            <a:chExt cx="541763" cy="1235721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DE57D4-6214-4478-BC9F-C82255B66D0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549901" y="1871133"/>
              <a:ext cx="275166" cy="872067"/>
            </a:xfrm>
            <a:prstGeom prst="line">
              <a:avLst/>
            </a:prstGeom>
            <a:ln w="101600">
              <a:headEnd type="triangl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55E2614B-B9E4-4466-B017-1CBB6FEB91EA}"/>
                </a:ext>
              </a:extLst>
            </p:cNvPr>
            <p:cNvGrpSpPr/>
            <p:nvPr/>
          </p:nvGrpSpPr>
          <p:grpSpPr>
            <a:xfrm>
              <a:off x="5722214" y="1507479"/>
              <a:ext cx="369450" cy="369450"/>
              <a:chOff x="5723529" y="1508988"/>
              <a:chExt cx="369450" cy="369450"/>
            </a:xfrm>
          </p:grpSpPr>
          <p:sp>
            <p:nvSpPr>
              <p:cNvPr id="65" name="Flowchart: Connector 64">
                <a:extLst>
                  <a:ext uri="{FF2B5EF4-FFF2-40B4-BE49-F238E27FC236}">
                    <a16:creationId xmlns:a16="http://schemas.microsoft.com/office/drawing/2014/main" id="{7ABF41FC-A42E-4C42-88BA-7DF03B142DBB}"/>
                  </a:ext>
                </a:extLst>
              </p:cNvPr>
              <p:cNvSpPr/>
              <p:nvPr/>
            </p:nvSpPr>
            <p:spPr>
              <a:xfrm>
                <a:off x="5723529" y="1508988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6" name="Flowchart: Connector 65">
                <a:extLst>
                  <a:ext uri="{FF2B5EF4-FFF2-40B4-BE49-F238E27FC236}">
                    <a16:creationId xmlns:a16="http://schemas.microsoft.com/office/drawing/2014/main" id="{78C58395-A4E6-4CD9-AF97-681B5644C47F}"/>
                  </a:ext>
                </a:extLst>
              </p:cNvPr>
              <p:cNvSpPr/>
              <p:nvPr/>
            </p:nvSpPr>
            <p:spPr>
              <a:xfrm>
                <a:off x="5799202" y="1584661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C7FD450C-D210-426F-B4AF-624A2044C403}"/>
              </a:ext>
            </a:extLst>
          </p:cNvPr>
          <p:cNvGrpSpPr/>
          <p:nvPr/>
        </p:nvGrpSpPr>
        <p:grpSpPr>
          <a:xfrm>
            <a:off x="7061969" y="3392826"/>
            <a:ext cx="587537" cy="1765684"/>
            <a:chOff x="5296476" y="2544619"/>
            <a:chExt cx="440653" cy="1324263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99D4FA34-D6A5-4556-8E16-CA144FC9C6D6}"/>
                </a:ext>
              </a:extLst>
            </p:cNvPr>
            <p:cNvCxnSpPr>
              <a:cxnSpLocks/>
              <a:stCxn id="62" idx="4"/>
            </p:cNvCxnSpPr>
            <p:nvPr/>
          </p:nvCxnSpPr>
          <p:spPr>
            <a:xfrm flipH="1">
              <a:off x="5296476" y="2914069"/>
              <a:ext cx="255928" cy="954813"/>
            </a:xfrm>
            <a:prstGeom prst="line">
              <a:avLst/>
            </a:prstGeom>
            <a:ln w="101600">
              <a:headEnd type="triangl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15B2B652-8EC9-4F50-8697-2029004FDDEF}"/>
                </a:ext>
              </a:extLst>
            </p:cNvPr>
            <p:cNvGrpSpPr/>
            <p:nvPr/>
          </p:nvGrpSpPr>
          <p:grpSpPr>
            <a:xfrm>
              <a:off x="5367679" y="2544619"/>
              <a:ext cx="369450" cy="369450"/>
              <a:chOff x="5367679" y="2544619"/>
              <a:chExt cx="369450" cy="369450"/>
            </a:xfrm>
          </p:grpSpPr>
          <p:sp>
            <p:nvSpPr>
              <p:cNvPr id="62" name="Flowchart: Connector 61">
                <a:extLst>
                  <a:ext uri="{FF2B5EF4-FFF2-40B4-BE49-F238E27FC236}">
                    <a16:creationId xmlns:a16="http://schemas.microsoft.com/office/drawing/2014/main" id="{0586BC68-3312-45AE-AF82-9F8A694EE363}"/>
                  </a:ext>
                </a:extLst>
              </p:cNvPr>
              <p:cNvSpPr/>
              <p:nvPr/>
            </p:nvSpPr>
            <p:spPr>
              <a:xfrm>
                <a:off x="5367679" y="2544619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3" name="Flowchart: Connector 62">
                <a:extLst>
                  <a:ext uri="{FF2B5EF4-FFF2-40B4-BE49-F238E27FC236}">
                    <a16:creationId xmlns:a16="http://schemas.microsoft.com/office/drawing/2014/main" id="{2817CED9-3BEC-4524-B8A9-FDBC3A6CD25D}"/>
                  </a:ext>
                </a:extLst>
              </p:cNvPr>
              <p:cNvSpPr/>
              <p:nvPr/>
            </p:nvSpPr>
            <p:spPr>
              <a:xfrm>
                <a:off x="5443352" y="2620292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A392F682-267D-4A84-8D93-BD3C537E78F8}"/>
              </a:ext>
            </a:extLst>
          </p:cNvPr>
          <p:cNvGrpSpPr/>
          <p:nvPr/>
        </p:nvGrpSpPr>
        <p:grpSpPr>
          <a:xfrm>
            <a:off x="5345087" y="4906436"/>
            <a:ext cx="1970101" cy="492600"/>
            <a:chOff x="4008815" y="3679827"/>
            <a:chExt cx="1477576" cy="369450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6796C23C-8804-4245-A74E-0FD2746E859A}"/>
                </a:ext>
              </a:extLst>
            </p:cNvPr>
            <p:cNvCxnSpPr>
              <a:cxnSpLocks/>
              <a:stCxn id="57" idx="6"/>
              <a:endCxn id="59" idx="2"/>
            </p:cNvCxnSpPr>
            <p:nvPr/>
          </p:nvCxnSpPr>
          <p:spPr>
            <a:xfrm flipV="1">
              <a:off x="4008815" y="3864552"/>
              <a:ext cx="1108126" cy="2165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0233CCD1-9405-4FA4-A7D4-4EF763DB124F}"/>
                </a:ext>
              </a:extLst>
            </p:cNvPr>
            <p:cNvGrpSpPr/>
            <p:nvPr/>
          </p:nvGrpSpPr>
          <p:grpSpPr>
            <a:xfrm>
              <a:off x="5116941" y="3679827"/>
              <a:ext cx="369450" cy="369450"/>
              <a:chOff x="5116942" y="3653577"/>
              <a:chExt cx="369450" cy="369450"/>
            </a:xfrm>
          </p:grpSpPr>
          <p:sp>
            <p:nvSpPr>
              <p:cNvPr id="59" name="Flowchart: Connector 58">
                <a:extLst>
                  <a:ext uri="{FF2B5EF4-FFF2-40B4-BE49-F238E27FC236}">
                    <a16:creationId xmlns:a16="http://schemas.microsoft.com/office/drawing/2014/main" id="{53ED20BB-8180-41BB-BA55-FA82D54EB1A1}"/>
                  </a:ext>
                </a:extLst>
              </p:cNvPr>
              <p:cNvSpPr/>
              <p:nvPr/>
            </p:nvSpPr>
            <p:spPr>
              <a:xfrm>
                <a:off x="5116942" y="3653577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0" name="Flowchart: Connector 59">
                <a:extLst>
                  <a:ext uri="{FF2B5EF4-FFF2-40B4-BE49-F238E27FC236}">
                    <a16:creationId xmlns:a16="http://schemas.microsoft.com/office/drawing/2014/main" id="{8A13EF14-5515-4E08-8FE3-CFA4C1132C26}"/>
                  </a:ext>
                </a:extLst>
              </p:cNvPr>
              <p:cNvSpPr/>
              <p:nvPr/>
            </p:nvSpPr>
            <p:spPr>
              <a:xfrm>
                <a:off x="5192615" y="3729250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4954FD46-8EA4-4963-B700-0858D4244EAA}"/>
              </a:ext>
            </a:extLst>
          </p:cNvPr>
          <p:cNvGrpSpPr/>
          <p:nvPr/>
        </p:nvGrpSpPr>
        <p:grpSpPr>
          <a:xfrm>
            <a:off x="2646219" y="3643746"/>
            <a:ext cx="863989" cy="1747204"/>
            <a:chOff x="1984664" y="2732809"/>
            <a:chExt cx="647992" cy="1310403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6404DCC-90AE-4AC9-83E7-DFA8E7886A6C}"/>
                </a:ext>
              </a:extLst>
            </p:cNvPr>
            <p:cNvCxnSpPr>
              <a:cxnSpLocks/>
              <a:endCxn id="53" idx="1"/>
            </p:cNvCxnSpPr>
            <p:nvPr/>
          </p:nvCxnSpPr>
          <p:spPr>
            <a:xfrm>
              <a:off x="1984664" y="2732809"/>
              <a:ext cx="332647" cy="995058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E3B0A1DC-D93B-4ACB-96CE-86D22A8C5C1F}"/>
                </a:ext>
              </a:extLst>
            </p:cNvPr>
            <p:cNvGrpSpPr/>
            <p:nvPr/>
          </p:nvGrpSpPr>
          <p:grpSpPr>
            <a:xfrm>
              <a:off x="2263206" y="3673762"/>
              <a:ext cx="369450" cy="369450"/>
              <a:chOff x="2263206" y="3673762"/>
              <a:chExt cx="369450" cy="369450"/>
            </a:xfrm>
          </p:grpSpPr>
          <p:sp>
            <p:nvSpPr>
              <p:cNvPr id="53" name="Flowchart: Connector 52">
                <a:extLst>
                  <a:ext uri="{FF2B5EF4-FFF2-40B4-BE49-F238E27FC236}">
                    <a16:creationId xmlns:a16="http://schemas.microsoft.com/office/drawing/2014/main" id="{BC2155B0-99EE-4940-BB15-1641641349DF}"/>
                  </a:ext>
                </a:extLst>
              </p:cNvPr>
              <p:cNvSpPr/>
              <p:nvPr/>
            </p:nvSpPr>
            <p:spPr>
              <a:xfrm>
                <a:off x="2263206" y="367376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4" name="Flowchart: Connector 53">
                <a:extLst>
                  <a:ext uri="{FF2B5EF4-FFF2-40B4-BE49-F238E27FC236}">
                    <a16:creationId xmlns:a16="http://schemas.microsoft.com/office/drawing/2014/main" id="{299F4F19-09D0-441A-832B-5BB13748F1C2}"/>
                  </a:ext>
                </a:extLst>
              </p:cNvPr>
              <p:cNvSpPr/>
              <p:nvPr/>
            </p:nvSpPr>
            <p:spPr>
              <a:xfrm>
                <a:off x="2338879" y="374943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499F41B4-F665-44DC-8E57-27AB5BE7593B}"/>
              </a:ext>
            </a:extLst>
          </p:cNvPr>
          <p:cNvGrpSpPr/>
          <p:nvPr/>
        </p:nvGrpSpPr>
        <p:grpSpPr>
          <a:xfrm>
            <a:off x="1318288" y="3406424"/>
            <a:ext cx="1580517" cy="492600"/>
            <a:chOff x="988716" y="2554818"/>
            <a:chExt cx="1185388" cy="369450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A711515-B5AD-42F7-BA7A-103BF873B44D}"/>
                </a:ext>
              </a:extLst>
            </p:cNvPr>
            <p:cNvCxnSpPr>
              <a:cxnSpLocks/>
              <a:endCxn id="48" idx="2"/>
            </p:cNvCxnSpPr>
            <p:nvPr/>
          </p:nvCxnSpPr>
          <p:spPr>
            <a:xfrm>
              <a:off x="988716" y="2729344"/>
              <a:ext cx="815938" cy="10199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B8764121-7611-471D-AB48-40AD6B92DDC2}"/>
                </a:ext>
              </a:extLst>
            </p:cNvPr>
            <p:cNvGrpSpPr/>
            <p:nvPr/>
          </p:nvGrpSpPr>
          <p:grpSpPr>
            <a:xfrm>
              <a:off x="1804654" y="2554818"/>
              <a:ext cx="369450" cy="369450"/>
              <a:chOff x="1804654" y="2554818"/>
              <a:chExt cx="369450" cy="369450"/>
            </a:xfrm>
          </p:grpSpPr>
          <p:sp>
            <p:nvSpPr>
              <p:cNvPr id="48" name="Flowchart: Connector 47">
                <a:extLst>
                  <a:ext uri="{FF2B5EF4-FFF2-40B4-BE49-F238E27FC236}">
                    <a16:creationId xmlns:a16="http://schemas.microsoft.com/office/drawing/2014/main" id="{2F574874-E1C0-4C85-B566-25D1AD6D3AD5}"/>
                  </a:ext>
                </a:extLst>
              </p:cNvPr>
              <p:cNvSpPr/>
              <p:nvPr/>
            </p:nvSpPr>
            <p:spPr>
              <a:xfrm>
                <a:off x="1804654" y="2554818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0" name="Flowchart: Connector 49">
                <a:extLst>
                  <a:ext uri="{FF2B5EF4-FFF2-40B4-BE49-F238E27FC236}">
                    <a16:creationId xmlns:a16="http://schemas.microsoft.com/office/drawing/2014/main" id="{EFC55BE7-8058-4977-B413-25CBEF541600}"/>
                  </a:ext>
                </a:extLst>
              </p:cNvPr>
              <p:cNvSpPr/>
              <p:nvPr/>
            </p:nvSpPr>
            <p:spPr>
              <a:xfrm>
                <a:off x="1880327" y="2630491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70" name="Speech Bubble: Rectangle 69">
            <a:extLst>
              <a:ext uri="{FF2B5EF4-FFF2-40B4-BE49-F238E27FC236}">
                <a16:creationId xmlns:a16="http://schemas.microsoft.com/office/drawing/2014/main" id="{0517E1C3-2AA2-4D52-8663-7FFD7F25DFC2}"/>
              </a:ext>
            </a:extLst>
          </p:cNvPr>
          <p:cNvSpPr/>
          <p:nvPr/>
        </p:nvSpPr>
        <p:spPr>
          <a:xfrm>
            <a:off x="5664637" y="4596761"/>
            <a:ext cx="3355001" cy="1366628"/>
          </a:xfrm>
          <a:prstGeom prst="wedgeRectCallout">
            <a:avLst>
              <a:gd name="adj1" fmla="val 101064"/>
              <a:gd name="adj2" fmla="val -16037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Model integration works! Let’s roll out to production.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E193D67B-013A-4E34-B763-3419A6D47ADB}"/>
              </a:ext>
            </a:extLst>
          </p:cNvPr>
          <p:cNvSpPr txBox="1"/>
          <p:nvPr/>
        </p:nvSpPr>
        <p:spPr>
          <a:xfrm>
            <a:off x="503239" y="1912390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1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BE392BFA-AE70-4BB6-BA67-6D11062F9A90}"/>
              </a:ext>
            </a:extLst>
          </p:cNvPr>
          <p:cNvSpPr txBox="1"/>
          <p:nvPr/>
        </p:nvSpPr>
        <p:spPr>
          <a:xfrm>
            <a:off x="503239" y="4680813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2</a:t>
            </a:r>
          </a:p>
        </p:txBody>
      </p:sp>
    </p:spTree>
    <p:extLst>
      <p:ext uri="{BB962C8B-B14F-4D97-AF65-F5344CB8AC3E}">
        <p14:creationId xmlns:p14="http://schemas.microsoft.com/office/powerpoint/2010/main" val="8276598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BB332AC9-33BA-44BB-9E12-974D918DD9B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2015" y="1703388"/>
            <a:ext cx="9526329" cy="3791479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B35D5B0F-E87A-4E54-8A87-E0E66ABE0AEC}"/>
              </a:ext>
            </a:extLst>
          </p:cNvPr>
          <p:cNvSpPr/>
          <p:nvPr/>
        </p:nvSpPr>
        <p:spPr>
          <a:xfrm>
            <a:off x="4731467" y="3391719"/>
            <a:ext cx="3677264" cy="2172929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ng out, communicate, talk, and screenshare with squad members in your squad’s channel</a:t>
            </a:r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0AD4E7E1-032D-4B86-B7BE-3D35DA11AE77}"/>
              </a:ext>
            </a:extLst>
          </p:cNvPr>
          <p:cNvSpPr/>
          <p:nvPr/>
        </p:nvSpPr>
        <p:spPr>
          <a:xfrm rot="9358662">
            <a:off x="3856498" y="4378071"/>
            <a:ext cx="789923" cy="432619"/>
          </a:xfrm>
          <a:prstGeom prst="right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1196A27-6E11-4F00-8D45-888E13D7CDD9}"/>
              </a:ext>
            </a:extLst>
          </p:cNvPr>
          <p:cNvSpPr/>
          <p:nvPr/>
        </p:nvSpPr>
        <p:spPr>
          <a:xfrm>
            <a:off x="5136935" y="3854244"/>
            <a:ext cx="3677264" cy="2172929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URING &amp; after the event, share feedback with the proctors in the Feedback channel.  This will help them improve the event as it progresses and make the next one even better</a:t>
            </a:r>
          </a:p>
        </p:txBody>
      </p:sp>
      <p:sp>
        <p:nvSpPr>
          <p:cNvPr id="19" name="Arrow: Right 18">
            <a:extLst>
              <a:ext uri="{FF2B5EF4-FFF2-40B4-BE49-F238E27FC236}">
                <a16:creationId xmlns:a16="http://schemas.microsoft.com/office/drawing/2014/main" id="{1429F7BE-EB35-4839-AA50-AC5BF0E6C262}"/>
              </a:ext>
            </a:extLst>
          </p:cNvPr>
          <p:cNvSpPr/>
          <p:nvPr/>
        </p:nvSpPr>
        <p:spPr>
          <a:xfrm rot="11487958">
            <a:off x="3267243" y="4358396"/>
            <a:ext cx="1729446" cy="481367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50B6F0D-83A8-4E0C-9094-9AAACC05A219}"/>
              </a:ext>
            </a:extLst>
          </p:cNvPr>
          <p:cNvSpPr/>
          <p:nvPr/>
        </p:nvSpPr>
        <p:spPr>
          <a:xfrm>
            <a:off x="3682258" y="4291328"/>
            <a:ext cx="3677264" cy="2172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nd any files, resources, or code samples, and THIS presentation here!</a:t>
            </a:r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2E97B7C3-214C-44B8-A81A-26A62C5C2AD9}"/>
              </a:ext>
            </a:extLst>
          </p:cNvPr>
          <p:cNvSpPr/>
          <p:nvPr/>
        </p:nvSpPr>
        <p:spPr>
          <a:xfrm rot="17689256">
            <a:off x="5115205" y="3324705"/>
            <a:ext cx="1200629" cy="59571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637B406-9508-4416-8007-A95F87146BCD}"/>
              </a:ext>
            </a:extLst>
          </p:cNvPr>
          <p:cNvSpPr/>
          <p:nvPr/>
        </p:nvSpPr>
        <p:spPr>
          <a:xfrm>
            <a:off x="5982853" y="4319946"/>
            <a:ext cx="3677264" cy="2172929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allenges will be posted here by the proctors throughout the event</a:t>
            </a:r>
          </a:p>
        </p:txBody>
      </p:sp>
      <p:sp>
        <p:nvSpPr>
          <p:cNvPr id="21" name="Arrow: Right 20">
            <a:extLst>
              <a:ext uri="{FF2B5EF4-FFF2-40B4-BE49-F238E27FC236}">
                <a16:creationId xmlns:a16="http://schemas.microsoft.com/office/drawing/2014/main" id="{1C205C81-D602-4BB7-B47A-C622F5582455}"/>
              </a:ext>
            </a:extLst>
          </p:cNvPr>
          <p:cNvSpPr/>
          <p:nvPr/>
        </p:nvSpPr>
        <p:spPr>
          <a:xfrm rot="14366680">
            <a:off x="6269147" y="3352053"/>
            <a:ext cx="1330074" cy="550605"/>
          </a:xfrm>
          <a:prstGeom prst="rightArrow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DF4C41F-AE11-40B6-ABD2-BCD0189FFD65}"/>
              </a:ext>
            </a:extLst>
          </p:cNvPr>
          <p:cNvSpPr/>
          <p:nvPr/>
        </p:nvSpPr>
        <p:spPr>
          <a:xfrm>
            <a:off x="7932794" y="4258812"/>
            <a:ext cx="3677264" cy="2172929"/>
          </a:xfrm>
          <a:prstGeom prst="rect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hare tips, tricks, gotchas (how you solved them), code snippets, and links you learn along the way here with everyone</a:t>
            </a:r>
          </a:p>
        </p:txBody>
      </p:sp>
      <p:sp>
        <p:nvSpPr>
          <p:cNvPr id="22" name="Arrow: Right 21">
            <a:extLst>
              <a:ext uri="{FF2B5EF4-FFF2-40B4-BE49-F238E27FC236}">
                <a16:creationId xmlns:a16="http://schemas.microsoft.com/office/drawing/2014/main" id="{893625FA-F103-4CEA-9A29-6281973DBD17}"/>
              </a:ext>
            </a:extLst>
          </p:cNvPr>
          <p:cNvSpPr/>
          <p:nvPr/>
        </p:nvSpPr>
        <p:spPr>
          <a:xfrm rot="13701248">
            <a:off x="7157459" y="3368186"/>
            <a:ext cx="1460308" cy="461884"/>
          </a:xfrm>
          <a:prstGeom prst="rightArrow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E063F9B-D2F4-4EB0-938F-AE69F75A2499}"/>
              </a:ext>
            </a:extLst>
          </p:cNvPr>
          <p:cNvSpPr txBox="1"/>
          <p:nvPr/>
        </p:nvSpPr>
        <p:spPr>
          <a:xfrm>
            <a:off x="478054" y="284058"/>
            <a:ext cx="9374176" cy="113877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21883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Collaboration</a:t>
            </a:r>
          </a:p>
          <a:p>
            <a:pPr marL="0" marR="0" lvl="0" indent="0" algn="l" defTabSz="121883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Step 3: Collaborate!</a:t>
            </a:r>
          </a:p>
        </p:txBody>
      </p:sp>
    </p:spTree>
    <p:extLst>
      <p:ext uri="{BB962C8B-B14F-4D97-AF65-F5344CB8AC3E}">
        <p14:creationId xmlns:p14="http://schemas.microsoft.com/office/powerpoint/2010/main" val="5554317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3" grpId="1" animBg="1"/>
      <p:bldP spid="18" grpId="0" animBg="1"/>
      <p:bldP spid="18" grpId="1" animBg="1"/>
      <p:bldP spid="14" grpId="0" animBg="1"/>
      <p:bldP spid="14" grpId="1" animBg="1"/>
      <p:bldP spid="19" grpId="0" animBg="1"/>
      <p:bldP spid="19" grpId="1" animBg="1"/>
      <p:bldP spid="8" grpId="0" animBg="1"/>
      <p:bldP spid="8" grpId="1" animBg="1"/>
      <p:bldP spid="20" grpId="0" animBg="1"/>
      <p:bldP spid="20" grpId="1" animBg="1"/>
      <p:bldP spid="9" grpId="0" animBg="1"/>
      <p:bldP spid="9" grpId="1" animBg="1"/>
      <p:bldP spid="21" grpId="0" animBg="1"/>
      <p:bldP spid="21" grpId="1" animBg="1"/>
      <p:bldP spid="12" grpId="0" animBg="1"/>
      <p:bldP spid="22" grpId="0" animBg="1"/>
    </p:bld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3269C01-B6AC-438D-BB0F-E70F1872184E}"/>
              </a:ext>
            </a:extLst>
          </p:cNvPr>
          <p:cNvCxnSpPr>
            <a:cxnSpLocks/>
          </p:cNvCxnSpPr>
          <p:nvPr/>
        </p:nvCxnSpPr>
        <p:spPr>
          <a:xfrm>
            <a:off x="9520376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E0FB0A3-AADE-4077-A759-EF749264C5B8}"/>
              </a:ext>
            </a:extLst>
          </p:cNvPr>
          <p:cNvCxnSpPr>
            <a:cxnSpLocks/>
          </p:cNvCxnSpPr>
          <p:nvPr/>
        </p:nvCxnSpPr>
        <p:spPr>
          <a:xfrm>
            <a:off x="2985660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5FB6D0-4D6A-4C25-A810-A2FAC650BCBE}"/>
              </a:ext>
            </a:extLst>
          </p:cNvPr>
          <p:cNvCxnSpPr>
            <a:cxnSpLocks/>
          </p:cNvCxnSpPr>
          <p:nvPr/>
        </p:nvCxnSpPr>
        <p:spPr>
          <a:xfrm>
            <a:off x="5163899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7EA124-03FA-4FD3-A58C-F248DE952643}"/>
              </a:ext>
            </a:extLst>
          </p:cNvPr>
          <p:cNvCxnSpPr>
            <a:cxnSpLocks/>
          </p:cNvCxnSpPr>
          <p:nvPr/>
        </p:nvCxnSpPr>
        <p:spPr>
          <a:xfrm>
            <a:off x="7342137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al World Multi-Cloud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D05D419-647C-4C08-AB87-C0E88BC251C2}"/>
              </a:ext>
            </a:extLst>
          </p:cNvPr>
          <p:cNvSpPr/>
          <p:nvPr/>
        </p:nvSpPr>
        <p:spPr>
          <a:xfrm>
            <a:off x="2410697" y="3425161"/>
            <a:ext cx="9415696" cy="43944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CI/CD Pipeli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DC7B87-74B9-4A19-8C6C-776003FFDDD0}"/>
              </a:ext>
            </a:extLst>
          </p:cNvPr>
          <p:cNvSpPr txBox="1"/>
          <p:nvPr/>
        </p:nvSpPr>
        <p:spPr>
          <a:xfrm>
            <a:off x="3328949" y="923899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Proces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90ECCFB-6104-4612-932E-28033DE94809}"/>
              </a:ext>
            </a:extLst>
          </p:cNvPr>
          <p:cNvSpPr txBox="1"/>
          <p:nvPr/>
        </p:nvSpPr>
        <p:spPr>
          <a:xfrm>
            <a:off x="5507187" y="916010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rai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7FF49F-D288-42AC-82F0-A661457EFD0D}"/>
              </a:ext>
            </a:extLst>
          </p:cNvPr>
          <p:cNvSpPr txBox="1"/>
          <p:nvPr/>
        </p:nvSpPr>
        <p:spPr>
          <a:xfrm>
            <a:off x="7685426" y="906261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tag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D2D4D4-7FD8-405A-9B26-A3FFBCF5B652}"/>
              </a:ext>
            </a:extLst>
          </p:cNvPr>
          <p:cNvSpPr txBox="1"/>
          <p:nvPr/>
        </p:nvSpPr>
        <p:spPr>
          <a:xfrm>
            <a:off x="9863662" y="881622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erve</a:t>
            </a: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7FFC6E1C-E113-411F-8F13-6FF737A37D5E}"/>
              </a:ext>
            </a:extLst>
          </p:cNvPr>
          <p:cNvGrpSpPr/>
          <p:nvPr/>
        </p:nvGrpSpPr>
        <p:grpSpPr>
          <a:xfrm>
            <a:off x="3246608" y="4909323"/>
            <a:ext cx="2199376" cy="492600"/>
            <a:chOff x="2434956" y="3681992"/>
            <a:chExt cx="1649532" cy="369450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3D231B7E-5932-4004-936C-7163D7BB7D27}"/>
                </a:ext>
              </a:extLst>
            </p:cNvPr>
            <p:cNvCxnSpPr>
              <a:cxnSpLocks/>
              <a:endCxn id="56" idx="2"/>
            </p:cNvCxnSpPr>
            <p:nvPr/>
          </p:nvCxnSpPr>
          <p:spPr>
            <a:xfrm>
              <a:off x="2434956" y="3864552"/>
              <a:ext cx="1280082" cy="2165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4FA9C2D7-89FB-4F86-88A2-FAB403AE4AFA}"/>
                </a:ext>
              </a:extLst>
            </p:cNvPr>
            <p:cNvGrpSpPr/>
            <p:nvPr/>
          </p:nvGrpSpPr>
          <p:grpSpPr>
            <a:xfrm>
              <a:off x="3715038" y="3681992"/>
              <a:ext cx="369450" cy="369450"/>
              <a:chOff x="3715038" y="3681992"/>
              <a:chExt cx="369450" cy="369450"/>
            </a:xfrm>
          </p:grpSpPr>
          <p:sp>
            <p:nvSpPr>
              <p:cNvPr id="56" name="Flowchart: Connector 55">
                <a:extLst>
                  <a:ext uri="{FF2B5EF4-FFF2-40B4-BE49-F238E27FC236}">
                    <a16:creationId xmlns:a16="http://schemas.microsoft.com/office/drawing/2014/main" id="{5A6F129A-65A5-4F8E-B24C-FEB3687B1C0C}"/>
                  </a:ext>
                </a:extLst>
              </p:cNvPr>
              <p:cNvSpPr/>
              <p:nvPr/>
            </p:nvSpPr>
            <p:spPr>
              <a:xfrm>
                <a:off x="3715038" y="368199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7" name="Flowchart: Connector 56">
                <a:extLst>
                  <a:ext uri="{FF2B5EF4-FFF2-40B4-BE49-F238E27FC236}">
                    <a16:creationId xmlns:a16="http://schemas.microsoft.com/office/drawing/2014/main" id="{BE0A6164-A927-4D6E-929D-9589F9CF26C8}"/>
                  </a:ext>
                </a:extLst>
              </p:cNvPr>
              <p:cNvSpPr/>
              <p:nvPr/>
            </p:nvSpPr>
            <p:spPr>
              <a:xfrm>
                <a:off x="3790711" y="375766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7F448ED7-F170-47E9-A273-90774EDB6BD2}"/>
              </a:ext>
            </a:extLst>
          </p:cNvPr>
          <p:cNvSpPr/>
          <p:nvPr/>
        </p:nvSpPr>
        <p:spPr>
          <a:xfrm>
            <a:off x="3635024" y="5774267"/>
            <a:ext cx="3187561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</a:p>
        </p:txBody>
      </p: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7547D423-7ED6-4D73-B241-B1C26F5CCC36}"/>
              </a:ext>
            </a:extLst>
          </p:cNvPr>
          <p:cNvSpPr/>
          <p:nvPr/>
        </p:nvSpPr>
        <p:spPr>
          <a:xfrm>
            <a:off x="7951003" y="1373831"/>
            <a:ext cx="3539200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istributed Cloud</a:t>
            </a:r>
          </a:p>
        </p:txBody>
      </p:sp>
      <p:grpSp>
        <p:nvGrpSpPr>
          <p:cNvPr id="4096" name="Group 4095">
            <a:extLst>
              <a:ext uri="{FF2B5EF4-FFF2-40B4-BE49-F238E27FC236}">
                <a16:creationId xmlns:a16="http://schemas.microsoft.com/office/drawing/2014/main" id="{0C5B832A-E4FB-4C1A-80D4-B524DED41654}"/>
              </a:ext>
            </a:extLst>
          </p:cNvPr>
          <p:cNvGrpSpPr/>
          <p:nvPr/>
        </p:nvGrpSpPr>
        <p:grpSpPr>
          <a:xfrm>
            <a:off x="9581443" y="4200236"/>
            <a:ext cx="2348549" cy="2813372"/>
            <a:chOff x="7186082" y="3150177"/>
            <a:chExt cx="1761412" cy="2110029"/>
          </a:xfrm>
        </p:grpSpPr>
        <p:pic>
          <p:nvPicPr>
            <p:cNvPr id="116" name="Picture 3" descr="https://lh6.googleusercontent.com/OJj71FP6p8alxoeZCl0ns4zYnjFOn6y28cZcvjrPJHXhgeoGVXk0MW_gcWiwsRHly1neENoXZ7u29zGp4Mtnt1id7SCBfG7mjSMGyIIfMHkv1S8HHTgZnD-FYyB9wWZOCXGocgSWzsI">
              <a:extLst>
                <a:ext uri="{FF2B5EF4-FFF2-40B4-BE49-F238E27FC236}">
                  <a16:creationId xmlns:a16="http://schemas.microsoft.com/office/drawing/2014/main" id="{AF85649F-B9BD-42A8-B83D-879F491924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2413" y="3150177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EF0C545E-EAD6-4DC3-812B-C8498E644CDE}"/>
                </a:ext>
              </a:extLst>
            </p:cNvPr>
            <p:cNvSpPr/>
            <p:nvPr/>
          </p:nvSpPr>
          <p:spPr>
            <a:xfrm>
              <a:off x="7186082" y="4636958"/>
              <a:ext cx="1761412" cy="623248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  <a:cs typeface="Google Sans" panose="020B0604020202020204" charset="0"/>
                </a:rPr>
                <a:t>SRE/ML Engineers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D3277620-A393-4D4E-A9A1-3FC4910E9310}"/>
              </a:ext>
            </a:extLst>
          </p:cNvPr>
          <p:cNvGrpSpPr/>
          <p:nvPr/>
        </p:nvGrpSpPr>
        <p:grpSpPr>
          <a:xfrm>
            <a:off x="3309712" y="1537862"/>
            <a:ext cx="1988233" cy="2366665"/>
            <a:chOff x="2482283" y="1153396"/>
            <a:chExt cx="1491175" cy="1774999"/>
          </a:xfrm>
        </p:grpSpPr>
        <p:pic>
          <p:nvPicPr>
            <p:cNvPr id="115" name="Picture 2" descr="https://lh3.googleusercontent.com/W5ZorUwdr19lfnMl5uUIjqSG-FazB-7D7ieSNS3wqmm3Jpeuprqi1ry1PWeUxD_3-O4TII-bvIGyK1vBeS3HPxs3LxAB1mB3Or6UZVOI4QGRZANHBW31j3VauHZH8hpX55UhYNVWYEY">
              <a:extLst>
                <a:ext uri="{FF2B5EF4-FFF2-40B4-BE49-F238E27FC236}">
                  <a16:creationId xmlns:a16="http://schemas.microsoft.com/office/drawing/2014/main" id="{B4199A15-AF88-4CC1-84CE-CA9866C00A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2284" y="1153396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303620CE-DA58-4B44-A558-B048E4CE10C7}"/>
                </a:ext>
              </a:extLst>
            </p:cNvPr>
            <p:cNvSpPr/>
            <p:nvPr/>
          </p:nvSpPr>
          <p:spPr>
            <a:xfrm>
              <a:off x="2482283" y="2582146"/>
              <a:ext cx="1491175" cy="346249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</a:rPr>
                <a:t>Data Scientist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pic>
        <p:nvPicPr>
          <p:cNvPr id="4098" name="Picture 2" descr="Image result for github logo">
            <a:extLst>
              <a:ext uri="{FF2B5EF4-FFF2-40B4-BE49-F238E27FC236}">
                <a16:creationId xmlns:a16="http://schemas.microsoft.com/office/drawing/2014/main" id="{FF95E88C-B28A-4CA5-BAAF-53ED36E48B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609" y="3124735"/>
            <a:ext cx="838052" cy="838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5" name="Group 124">
            <a:extLst>
              <a:ext uri="{FF2B5EF4-FFF2-40B4-BE49-F238E27FC236}">
                <a16:creationId xmlns:a16="http://schemas.microsoft.com/office/drawing/2014/main" id="{9897031C-11D8-49A1-B83B-C53458C26BEB}"/>
              </a:ext>
            </a:extLst>
          </p:cNvPr>
          <p:cNvGrpSpPr/>
          <p:nvPr/>
        </p:nvGrpSpPr>
        <p:grpSpPr>
          <a:xfrm>
            <a:off x="9036756" y="2269067"/>
            <a:ext cx="742243" cy="1617875"/>
            <a:chOff x="6777567" y="1701800"/>
            <a:chExt cx="556682" cy="1213406"/>
          </a:xfrm>
        </p:grpSpPr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781E7821-DA7C-49F3-8330-F1DFFBD48D05}"/>
                </a:ext>
              </a:extLst>
            </p:cNvPr>
            <p:cNvCxnSpPr>
              <a:cxnSpLocks/>
              <a:endCxn id="71" idx="1"/>
            </p:cNvCxnSpPr>
            <p:nvPr/>
          </p:nvCxnSpPr>
          <p:spPr>
            <a:xfrm>
              <a:off x="6777567" y="1701800"/>
              <a:ext cx="241337" cy="898061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7DBC96FC-5C66-42BC-9965-E4D5E94F3DC3}"/>
                </a:ext>
              </a:extLst>
            </p:cNvPr>
            <p:cNvGrpSpPr/>
            <p:nvPr/>
          </p:nvGrpSpPr>
          <p:grpSpPr>
            <a:xfrm>
              <a:off x="6964799" y="2545756"/>
              <a:ext cx="369450" cy="369450"/>
              <a:chOff x="7028296" y="2579622"/>
              <a:chExt cx="369450" cy="369450"/>
            </a:xfrm>
          </p:grpSpPr>
          <p:sp>
            <p:nvSpPr>
              <p:cNvPr id="71" name="Flowchart: Connector 70">
                <a:extLst>
                  <a:ext uri="{FF2B5EF4-FFF2-40B4-BE49-F238E27FC236}">
                    <a16:creationId xmlns:a16="http://schemas.microsoft.com/office/drawing/2014/main" id="{7C84B5BB-7EC4-4195-978F-D7DF9C1F8538}"/>
                  </a:ext>
                </a:extLst>
              </p:cNvPr>
              <p:cNvSpPr/>
              <p:nvPr/>
            </p:nvSpPr>
            <p:spPr>
              <a:xfrm>
                <a:off x="7028296" y="257962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72" name="Flowchart: Connector 71">
                <a:extLst>
                  <a:ext uri="{FF2B5EF4-FFF2-40B4-BE49-F238E27FC236}">
                    <a16:creationId xmlns:a16="http://schemas.microsoft.com/office/drawing/2014/main" id="{A006F225-E7E5-4128-A467-D85528E3E56B}"/>
                  </a:ext>
                </a:extLst>
              </p:cNvPr>
              <p:cNvSpPr/>
              <p:nvPr/>
            </p:nvSpPr>
            <p:spPr>
              <a:xfrm>
                <a:off x="7103969" y="265529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4F6DAF94-EC59-48A2-9889-4BD10A2A86EB}"/>
              </a:ext>
            </a:extLst>
          </p:cNvPr>
          <p:cNvGrpSpPr/>
          <p:nvPr/>
        </p:nvGrpSpPr>
        <p:grpSpPr>
          <a:xfrm>
            <a:off x="7730516" y="2003516"/>
            <a:ext cx="1554840" cy="492600"/>
            <a:chOff x="5797887" y="1502637"/>
            <a:chExt cx="1166130" cy="369450"/>
          </a:xfrm>
        </p:grpSpPr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F25F6568-0EAB-4CD6-8E3D-75A955F0AEC8}"/>
                </a:ext>
              </a:extLst>
            </p:cNvPr>
            <p:cNvCxnSpPr>
              <a:cxnSpLocks/>
              <a:stCxn id="66" idx="2"/>
              <a:endCxn id="68" idx="2"/>
            </p:cNvCxnSpPr>
            <p:nvPr/>
          </p:nvCxnSpPr>
          <p:spPr>
            <a:xfrm flipV="1">
              <a:off x="5797887" y="1687362"/>
              <a:ext cx="796680" cy="4842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3BF652D5-D625-4EA9-AF32-1D58E3817038}"/>
                </a:ext>
              </a:extLst>
            </p:cNvPr>
            <p:cNvGrpSpPr/>
            <p:nvPr/>
          </p:nvGrpSpPr>
          <p:grpSpPr>
            <a:xfrm>
              <a:off x="6594567" y="1502637"/>
              <a:ext cx="369450" cy="369450"/>
              <a:chOff x="6716678" y="1504205"/>
              <a:chExt cx="369450" cy="369450"/>
            </a:xfrm>
          </p:grpSpPr>
          <p:sp>
            <p:nvSpPr>
              <p:cNvPr id="68" name="Flowchart: Connector 67">
                <a:extLst>
                  <a:ext uri="{FF2B5EF4-FFF2-40B4-BE49-F238E27FC236}">
                    <a16:creationId xmlns:a16="http://schemas.microsoft.com/office/drawing/2014/main" id="{CC9F6E5A-1E2B-47E6-84F1-5AC9651D0533}"/>
                  </a:ext>
                </a:extLst>
              </p:cNvPr>
              <p:cNvSpPr/>
              <p:nvPr/>
            </p:nvSpPr>
            <p:spPr>
              <a:xfrm>
                <a:off x="6716678" y="1504205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9" name="Flowchart: Connector 68">
                <a:extLst>
                  <a:ext uri="{FF2B5EF4-FFF2-40B4-BE49-F238E27FC236}">
                    <a16:creationId xmlns:a16="http://schemas.microsoft.com/office/drawing/2014/main" id="{94E507CA-9F1C-4179-B947-A40D06F96F75}"/>
                  </a:ext>
                </a:extLst>
              </p:cNvPr>
              <p:cNvSpPr/>
              <p:nvPr/>
            </p:nvSpPr>
            <p:spPr>
              <a:xfrm>
                <a:off x="6792351" y="1579878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D59CED50-8211-4005-AC40-E6D4A150CCA0}"/>
              </a:ext>
            </a:extLst>
          </p:cNvPr>
          <p:cNvGrpSpPr/>
          <p:nvPr/>
        </p:nvGrpSpPr>
        <p:grpSpPr>
          <a:xfrm>
            <a:off x="7399869" y="2009973"/>
            <a:ext cx="722351" cy="1647628"/>
            <a:chOff x="5549901" y="1507479"/>
            <a:chExt cx="541763" cy="1235721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DE57D4-6214-4478-BC9F-C82255B66D0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549901" y="1871133"/>
              <a:ext cx="275166" cy="872067"/>
            </a:xfrm>
            <a:prstGeom prst="line">
              <a:avLst/>
            </a:prstGeom>
            <a:ln w="101600">
              <a:headEnd type="triangl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55E2614B-B9E4-4466-B017-1CBB6FEB91EA}"/>
                </a:ext>
              </a:extLst>
            </p:cNvPr>
            <p:cNvGrpSpPr/>
            <p:nvPr/>
          </p:nvGrpSpPr>
          <p:grpSpPr>
            <a:xfrm>
              <a:off x="5722214" y="1507479"/>
              <a:ext cx="369450" cy="369450"/>
              <a:chOff x="5723529" y="1508988"/>
              <a:chExt cx="369450" cy="369450"/>
            </a:xfrm>
          </p:grpSpPr>
          <p:sp>
            <p:nvSpPr>
              <p:cNvPr id="65" name="Flowchart: Connector 64">
                <a:extLst>
                  <a:ext uri="{FF2B5EF4-FFF2-40B4-BE49-F238E27FC236}">
                    <a16:creationId xmlns:a16="http://schemas.microsoft.com/office/drawing/2014/main" id="{7ABF41FC-A42E-4C42-88BA-7DF03B142DBB}"/>
                  </a:ext>
                </a:extLst>
              </p:cNvPr>
              <p:cNvSpPr/>
              <p:nvPr/>
            </p:nvSpPr>
            <p:spPr>
              <a:xfrm>
                <a:off x="5723529" y="1508988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6" name="Flowchart: Connector 65">
                <a:extLst>
                  <a:ext uri="{FF2B5EF4-FFF2-40B4-BE49-F238E27FC236}">
                    <a16:creationId xmlns:a16="http://schemas.microsoft.com/office/drawing/2014/main" id="{78C58395-A4E6-4CD9-AF97-681B5644C47F}"/>
                  </a:ext>
                </a:extLst>
              </p:cNvPr>
              <p:cNvSpPr/>
              <p:nvPr/>
            </p:nvSpPr>
            <p:spPr>
              <a:xfrm>
                <a:off x="5799202" y="1584661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C7FD450C-D210-426F-B4AF-624A2044C403}"/>
              </a:ext>
            </a:extLst>
          </p:cNvPr>
          <p:cNvGrpSpPr/>
          <p:nvPr/>
        </p:nvGrpSpPr>
        <p:grpSpPr>
          <a:xfrm>
            <a:off x="7061969" y="3392826"/>
            <a:ext cx="587537" cy="1765684"/>
            <a:chOff x="5296476" y="2544619"/>
            <a:chExt cx="440653" cy="1324263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99D4FA34-D6A5-4556-8E16-CA144FC9C6D6}"/>
                </a:ext>
              </a:extLst>
            </p:cNvPr>
            <p:cNvCxnSpPr>
              <a:cxnSpLocks/>
              <a:stCxn id="62" idx="4"/>
            </p:cNvCxnSpPr>
            <p:nvPr/>
          </p:nvCxnSpPr>
          <p:spPr>
            <a:xfrm flipH="1">
              <a:off x="5296476" y="2914069"/>
              <a:ext cx="255928" cy="954813"/>
            </a:xfrm>
            <a:prstGeom prst="line">
              <a:avLst/>
            </a:prstGeom>
            <a:ln w="101600">
              <a:headEnd type="triangl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15B2B652-8EC9-4F50-8697-2029004FDDEF}"/>
                </a:ext>
              </a:extLst>
            </p:cNvPr>
            <p:cNvGrpSpPr/>
            <p:nvPr/>
          </p:nvGrpSpPr>
          <p:grpSpPr>
            <a:xfrm>
              <a:off x="5367679" y="2544619"/>
              <a:ext cx="369450" cy="369450"/>
              <a:chOff x="5367679" y="2544619"/>
              <a:chExt cx="369450" cy="369450"/>
            </a:xfrm>
          </p:grpSpPr>
          <p:sp>
            <p:nvSpPr>
              <p:cNvPr id="62" name="Flowchart: Connector 61">
                <a:extLst>
                  <a:ext uri="{FF2B5EF4-FFF2-40B4-BE49-F238E27FC236}">
                    <a16:creationId xmlns:a16="http://schemas.microsoft.com/office/drawing/2014/main" id="{0586BC68-3312-45AE-AF82-9F8A694EE363}"/>
                  </a:ext>
                </a:extLst>
              </p:cNvPr>
              <p:cNvSpPr/>
              <p:nvPr/>
            </p:nvSpPr>
            <p:spPr>
              <a:xfrm>
                <a:off x="5367679" y="2544619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3" name="Flowchart: Connector 62">
                <a:extLst>
                  <a:ext uri="{FF2B5EF4-FFF2-40B4-BE49-F238E27FC236}">
                    <a16:creationId xmlns:a16="http://schemas.microsoft.com/office/drawing/2014/main" id="{2817CED9-3BEC-4524-B8A9-FDBC3A6CD25D}"/>
                  </a:ext>
                </a:extLst>
              </p:cNvPr>
              <p:cNvSpPr/>
              <p:nvPr/>
            </p:nvSpPr>
            <p:spPr>
              <a:xfrm>
                <a:off x="5443352" y="2620292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A392F682-267D-4A84-8D93-BD3C537E78F8}"/>
              </a:ext>
            </a:extLst>
          </p:cNvPr>
          <p:cNvGrpSpPr/>
          <p:nvPr/>
        </p:nvGrpSpPr>
        <p:grpSpPr>
          <a:xfrm>
            <a:off x="5345087" y="4906436"/>
            <a:ext cx="1970101" cy="492600"/>
            <a:chOff x="4008815" y="3679827"/>
            <a:chExt cx="1477576" cy="369450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6796C23C-8804-4245-A74E-0FD2746E859A}"/>
                </a:ext>
              </a:extLst>
            </p:cNvPr>
            <p:cNvCxnSpPr>
              <a:cxnSpLocks/>
              <a:stCxn id="57" idx="6"/>
              <a:endCxn id="59" idx="2"/>
            </p:cNvCxnSpPr>
            <p:nvPr/>
          </p:nvCxnSpPr>
          <p:spPr>
            <a:xfrm flipV="1">
              <a:off x="4008815" y="3864552"/>
              <a:ext cx="1108126" cy="2165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0233CCD1-9405-4FA4-A7D4-4EF763DB124F}"/>
                </a:ext>
              </a:extLst>
            </p:cNvPr>
            <p:cNvGrpSpPr/>
            <p:nvPr/>
          </p:nvGrpSpPr>
          <p:grpSpPr>
            <a:xfrm>
              <a:off x="5116941" y="3679827"/>
              <a:ext cx="369450" cy="369450"/>
              <a:chOff x="5116942" y="3653577"/>
              <a:chExt cx="369450" cy="369450"/>
            </a:xfrm>
          </p:grpSpPr>
          <p:sp>
            <p:nvSpPr>
              <p:cNvPr id="59" name="Flowchart: Connector 58">
                <a:extLst>
                  <a:ext uri="{FF2B5EF4-FFF2-40B4-BE49-F238E27FC236}">
                    <a16:creationId xmlns:a16="http://schemas.microsoft.com/office/drawing/2014/main" id="{53ED20BB-8180-41BB-BA55-FA82D54EB1A1}"/>
                  </a:ext>
                </a:extLst>
              </p:cNvPr>
              <p:cNvSpPr/>
              <p:nvPr/>
            </p:nvSpPr>
            <p:spPr>
              <a:xfrm>
                <a:off x="5116942" y="3653577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0" name="Flowchart: Connector 59">
                <a:extLst>
                  <a:ext uri="{FF2B5EF4-FFF2-40B4-BE49-F238E27FC236}">
                    <a16:creationId xmlns:a16="http://schemas.microsoft.com/office/drawing/2014/main" id="{8A13EF14-5515-4E08-8FE3-CFA4C1132C26}"/>
                  </a:ext>
                </a:extLst>
              </p:cNvPr>
              <p:cNvSpPr/>
              <p:nvPr/>
            </p:nvSpPr>
            <p:spPr>
              <a:xfrm>
                <a:off x="5192615" y="3729250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4954FD46-8EA4-4963-B700-0858D4244EAA}"/>
              </a:ext>
            </a:extLst>
          </p:cNvPr>
          <p:cNvGrpSpPr/>
          <p:nvPr/>
        </p:nvGrpSpPr>
        <p:grpSpPr>
          <a:xfrm>
            <a:off x="2646219" y="3643746"/>
            <a:ext cx="863989" cy="1747204"/>
            <a:chOff x="1984664" y="2732809"/>
            <a:chExt cx="647992" cy="1310403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6404DCC-90AE-4AC9-83E7-DFA8E7886A6C}"/>
                </a:ext>
              </a:extLst>
            </p:cNvPr>
            <p:cNvCxnSpPr>
              <a:cxnSpLocks/>
              <a:endCxn id="53" idx="1"/>
            </p:cNvCxnSpPr>
            <p:nvPr/>
          </p:nvCxnSpPr>
          <p:spPr>
            <a:xfrm>
              <a:off x="1984664" y="2732809"/>
              <a:ext cx="332647" cy="995058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E3B0A1DC-D93B-4ACB-96CE-86D22A8C5C1F}"/>
                </a:ext>
              </a:extLst>
            </p:cNvPr>
            <p:cNvGrpSpPr/>
            <p:nvPr/>
          </p:nvGrpSpPr>
          <p:grpSpPr>
            <a:xfrm>
              <a:off x="2263206" y="3673762"/>
              <a:ext cx="369450" cy="369450"/>
              <a:chOff x="2263206" y="3673762"/>
              <a:chExt cx="369450" cy="369450"/>
            </a:xfrm>
          </p:grpSpPr>
          <p:sp>
            <p:nvSpPr>
              <p:cNvPr id="53" name="Flowchart: Connector 52">
                <a:extLst>
                  <a:ext uri="{FF2B5EF4-FFF2-40B4-BE49-F238E27FC236}">
                    <a16:creationId xmlns:a16="http://schemas.microsoft.com/office/drawing/2014/main" id="{BC2155B0-99EE-4940-BB15-1641641349DF}"/>
                  </a:ext>
                </a:extLst>
              </p:cNvPr>
              <p:cNvSpPr/>
              <p:nvPr/>
            </p:nvSpPr>
            <p:spPr>
              <a:xfrm>
                <a:off x="2263206" y="367376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4" name="Flowchart: Connector 53">
                <a:extLst>
                  <a:ext uri="{FF2B5EF4-FFF2-40B4-BE49-F238E27FC236}">
                    <a16:creationId xmlns:a16="http://schemas.microsoft.com/office/drawing/2014/main" id="{299F4F19-09D0-441A-832B-5BB13748F1C2}"/>
                  </a:ext>
                </a:extLst>
              </p:cNvPr>
              <p:cNvSpPr/>
              <p:nvPr/>
            </p:nvSpPr>
            <p:spPr>
              <a:xfrm>
                <a:off x="2338879" y="374943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499F41B4-F665-44DC-8E57-27AB5BE7593B}"/>
              </a:ext>
            </a:extLst>
          </p:cNvPr>
          <p:cNvGrpSpPr/>
          <p:nvPr/>
        </p:nvGrpSpPr>
        <p:grpSpPr>
          <a:xfrm>
            <a:off x="1318288" y="3406424"/>
            <a:ext cx="1580517" cy="492600"/>
            <a:chOff x="988716" y="2554818"/>
            <a:chExt cx="1185388" cy="369450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A711515-B5AD-42F7-BA7A-103BF873B44D}"/>
                </a:ext>
              </a:extLst>
            </p:cNvPr>
            <p:cNvCxnSpPr>
              <a:cxnSpLocks/>
              <a:endCxn id="48" idx="2"/>
            </p:cNvCxnSpPr>
            <p:nvPr/>
          </p:nvCxnSpPr>
          <p:spPr>
            <a:xfrm>
              <a:off x="988716" y="2729344"/>
              <a:ext cx="815938" cy="10199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B8764121-7611-471D-AB48-40AD6B92DDC2}"/>
                </a:ext>
              </a:extLst>
            </p:cNvPr>
            <p:cNvGrpSpPr/>
            <p:nvPr/>
          </p:nvGrpSpPr>
          <p:grpSpPr>
            <a:xfrm>
              <a:off x="1804654" y="2554818"/>
              <a:ext cx="369450" cy="369450"/>
              <a:chOff x="1804654" y="2554818"/>
              <a:chExt cx="369450" cy="369450"/>
            </a:xfrm>
          </p:grpSpPr>
          <p:sp>
            <p:nvSpPr>
              <p:cNvPr id="48" name="Flowchart: Connector 47">
                <a:extLst>
                  <a:ext uri="{FF2B5EF4-FFF2-40B4-BE49-F238E27FC236}">
                    <a16:creationId xmlns:a16="http://schemas.microsoft.com/office/drawing/2014/main" id="{2F574874-E1C0-4C85-B566-25D1AD6D3AD5}"/>
                  </a:ext>
                </a:extLst>
              </p:cNvPr>
              <p:cNvSpPr/>
              <p:nvPr/>
            </p:nvSpPr>
            <p:spPr>
              <a:xfrm>
                <a:off x="1804654" y="2554818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0" name="Flowchart: Connector 49">
                <a:extLst>
                  <a:ext uri="{FF2B5EF4-FFF2-40B4-BE49-F238E27FC236}">
                    <a16:creationId xmlns:a16="http://schemas.microsoft.com/office/drawing/2014/main" id="{EFC55BE7-8058-4977-B413-25CBEF541600}"/>
                  </a:ext>
                </a:extLst>
              </p:cNvPr>
              <p:cNvSpPr/>
              <p:nvPr/>
            </p:nvSpPr>
            <p:spPr>
              <a:xfrm>
                <a:off x="1880327" y="2630491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79" name="Speech Bubble: Rectangle 78">
            <a:extLst>
              <a:ext uri="{FF2B5EF4-FFF2-40B4-BE49-F238E27FC236}">
                <a16:creationId xmlns:a16="http://schemas.microsoft.com/office/drawing/2014/main" id="{A0D9C008-9CEA-4C12-8501-3A4CB020B09B}"/>
              </a:ext>
            </a:extLst>
          </p:cNvPr>
          <p:cNvSpPr/>
          <p:nvPr/>
        </p:nvSpPr>
        <p:spPr>
          <a:xfrm>
            <a:off x="5664637" y="4596761"/>
            <a:ext cx="3355001" cy="1366628"/>
          </a:xfrm>
          <a:prstGeom prst="wedgeRectCallout">
            <a:avLst>
              <a:gd name="adj1" fmla="val 101064"/>
              <a:gd name="adj2" fmla="val -16037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rigger the CI/CD pipeline one last time.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4B341424-1592-44CC-97EF-10C13BAAE23A}"/>
              </a:ext>
            </a:extLst>
          </p:cNvPr>
          <p:cNvSpPr txBox="1"/>
          <p:nvPr/>
        </p:nvSpPr>
        <p:spPr>
          <a:xfrm>
            <a:off x="503239" y="1912390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1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D74C4F40-B25F-4DB4-B103-FD690D2DA64B}"/>
              </a:ext>
            </a:extLst>
          </p:cNvPr>
          <p:cNvSpPr txBox="1"/>
          <p:nvPr/>
        </p:nvSpPr>
        <p:spPr>
          <a:xfrm>
            <a:off x="503239" y="4680813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2</a:t>
            </a:r>
          </a:p>
        </p:txBody>
      </p:sp>
    </p:spTree>
    <p:extLst>
      <p:ext uri="{BB962C8B-B14F-4D97-AF65-F5344CB8AC3E}">
        <p14:creationId xmlns:p14="http://schemas.microsoft.com/office/powerpoint/2010/main" val="712789627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3269C01-B6AC-438D-BB0F-E70F1872184E}"/>
              </a:ext>
            </a:extLst>
          </p:cNvPr>
          <p:cNvCxnSpPr>
            <a:cxnSpLocks/>
          </p:cNvCxnSpPr>
          <p:nvPr/>
        </p:nvCxnSpPr>
        <p:spPr>
          <a:xfrm>
            <a:off x="9520376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E0FB0A3-AADE-4077-A759-EF749264C5B8}"/>
              </a:ext>
            </a:extLst>
          </p:cNvPr>
          <p:cNvCxnSpPr>
            <a:cxnSpLocks/>
          </p:cNvCxnSpPr>
          <p:nvPr/>
        </p:nvCxnSpPr>
        <p:spPr>
          <a:xfrm>
            <a:off x="2985660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5FB6D0-4D6A-4C25-A810-A2FAC650BCBE}"/>
              </a:ext>
            </a:extLst>
          </p:cNvPr>
          <p:cNvCxnSpPr>
            <a:cxnSpLocks/>
          </p:cNvCxnSpPr>
          <p:nvPr/>
        </p:nvCxnSpPr>
        <p:spPr>
          <a:xfrm>
            <a:off x="5163899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7EA124-03FA-4FD3-A58C-F248DE952643}"/>
              </a:ext>
            </a:extLst>
          </p:cNvPr>
          <p:cNvCxnSpPr>
            <a:cxnSpLocks/>
          </p:cNvCxnSpPr>
          <p:nvPr/>
        </p:nvCxnSpPr>
        <p:spPr>
          <a:xfrm>
            <a:off x="7342137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al World Multi-Cloud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D05D419-647C-4C08-AB87-C0E88BC251C2}"/>
              </a:ext>
            </a:extLst>
          </p:cNvPr>
          <p:cNvSpPr/>
          <p:nvPr/>
        </p:nvSpPr>
        <p:spPr>
          <a:xfrm>
            <a:off x="2410697" y="3425161"/>
            <a:ext cx="9415696" cy="43944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CI/CD Pipeli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DC7B87-74B9-4A19-8C6C-776003FFDDD0}"/>
              </a:ext>
            </a:extLst>
          </p:cNvPr>
          <p:cNvSpPr txBox="1"/>
          <p:nvPr/>
        </p:nvSpPr>
        <p:spPr>
          <a:xfrm>
            <a:off x="3328949" y="923899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Proces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90ECCFB-6104-4612-932E-28033DE94809}"/>
              </a:ext>
            </a:extLst>
          </p:cNvPr>
          <p:cNvSpPr txBox="1"/>
          <p:nvPr/>
        </p:nvSpPr>
        <p:spPr>
          <a:xfrm>
            <a:off x="5507187" y="916010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rai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7FF49F-D288-42AC-82F0-A661457EFD0D}"/>
              </a:ext>
            </a:extLst>
          </p:cNvPr>
          <p:cNvSpPr txBox="1"/>
          <p:nvPr/>
        </p:nvSpPr>
        <p:spPr>
          <a:xfrm>
            <a:off x="7685426" y="906261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tag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D2D4D4-7FD8-405A-9B26-A3FFBCF5B652}"/>
              </a:ext>
            </a:extLst>
          </p:cNvPr>
          <p:cNvSpPr txBox="1"/>
          <p:nvPr/>
        </p:nvSpPr>
        <p:spPr>
          <a:xfrm>
            <a:off x="9863662" y="881622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erve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8251936F-83BE-4E1D-BC3E-78A74B69241F}"/>
              </a:ext>
            </a:extLst>
          </p:cNvPr>
          <p:cNvCxnSpPr>
            <a:cxnSpLocks/>
          </p:cNvCxnSpPr>
          <p:nvPr/>
        </p:nvCxnSpPr>
        <p:spPr>
          <a:xfrm flipV="1">
            <a:off x="10048861" y="2246749"/>
            <a:ext cx="1529760" cy="18471"/>
          </a:xfrm>
          <a:prstGeom prst="line">
            <a:avLst/>
          </a:prstGeom>
          <a:ln w="101600"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7FFC6E1C-E113-411F-8F13-6FF737A37D5E}"/>
              </a:ext>
            </a:extLst>
          </p:cNvPr>
          <p:cNvGrpSpPr/>
          <p:nvPr/>
        </p:nvGrpSpPr>
        <p:grpSpPr>
          <a:xfrm>
            <a:off x="3246608" y="4909323"/>
            <a:ext cx="2199376" cy="492600"/>
            <a:chOff x="2434956" y="3681992"/>
            <a:chExt cx="1649532" cy="369450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3D231B7E-5932-4004-936C-7163D7BB7D27}"/>
                </a:ext>
              </a:extLst>
            </p:cNvPr>
            <p:cNvCxnSpPr>
              <a:cxnSpLocks/>
              <a:endCxn id="56" idx="2"/>
            </p:cNvCxnSpPr>
            <p:nvPr/>
          </p:nvCxnSpPr>
          <p:spPr>
            <a:xfrm>
              <a:off x="2434956" y="3864552"/>
              <a:ext cx="1280082" cy="2165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4FA9C2D7-89FB-4F86-88A2-FAB403AE4AFA}"/>
                </a:ext>
              </a:extLst>
            </p:cNvPr>
            <p:cNvGrpSpPr/>
            <p:nvPr/>
          </p:nvGrpSpPr>
          <p:grpSpPr>
            <a:xfrm>
              <a:off x="3715038" y="3681992"/>
              <a:ext cx="369450" cy="369450"/>
              <a:chOff x="3715038" y="3681992"/>
              <a:chExt cx="369450" cy="369450"/>
            </a:xfrm>
          </p:grpSpPr>
          <p:sp>
            <p:nvSpPr>
              <p:cNvPr id="56" name="Flowchart: Connector 55">
                <a:extLst>
                  <a:ext uri="{FF2B5EF4-FFF2-40B4-BE49-F238E27FC236}">
                    <a16:creationId xmlns:a16="http://schemas.microsoft.com/office/drawing/2014/main" id="{5A6F129A-65A5-4F8E-B24C-FEB3687B1C0C}"/>
                  </a:ext>
                </a:extLst>
              </p:cNvPr>
              <p:cNvSpPr/>
              <p:nvPr/>
            </p:nvSpPr>
            <p:spPr>
              <a:xfrm>
                <a:off x="3715038" y="368199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7" name="Flowchart: Connector 56">
                <a:extLst>
                  <a:ext uri="{FF2B5EF4-FFF2-40B4-BE49-F238E27FC236}">
                    <a16:creationId xmlns:a16="http://schemas.microsoft.com/office/drawing/2014/main" id="{BE0A6164-A927-4D6E-929D-9589F9CF26C8}"/>
                  </a:ext>
                </a:extLst>
              </p:cNvPr>
              <p:cNvSpPr/>
              <p:nvPr/>
            </p:nvSpPr>
            <p:spPr>
              <a:xfrm>
                <a:off x="3790711" y="375766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DB006B21-3E24-4AC5-9405-8EEF8EC54C48}"/>
              </a:ext>
            </a:extLst>
          </p:cNvPr>
          <p:cNvGrpSpPr/>
          <p:nvPr/>
        </p:nvGrpSpPr>
        <p:grpSpPr>
          <a:xfrm>
            <a:off x="9516533" y="2003516"/>
            <a:ext cx="742235" cy="1676661"/>
            <a:chOff x="7137400" y="1502637"/>
            <a:chExt cx="556676" cy="1257496"/>
          </a:xfrm>
        </p:grpSpPr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28382FCF-3CD0-4485-98F5-A4C89BB5E60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137400" y="1875365"/>
              <a:ext cx="322256" cy="884768"/>
            </a:xfrm>
            <a:prstGeom prst="line">
              <a:avLst/>
            </a:prstGeom>
            <a:ln w="101600">
              <a:headEnd type="triangl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F2670B2E-80A9-4842-8A3E-C709F461BFFF}"/>
                </a:ext>
              </a:extLst>
            </p:cNvPr>
            <p:cNvGrpSpPr/>
            <p:nvPr/>
          </p:nvGrpSpPr>
          <p:grpSpPr>
            <a:xfrm>
              <a:off x="7324626" y="1502637"/>
              <a:ext cx="369450" cy="369450"/>
              <a:chOff x="7324626" y="1502637"/>
              <a:chExt cx="369450" cy="369450"/>
            </a:xfrm>
          </p:grpSpPr>
          <p:sp>
            <p:nvSpPr>
              <p:cNvPr id="74" name="Flowchart: Connector 73">
                <a:extLst>
                  <a:ext uri="{FF2B5EF4-FFF2-40B4-BE49-F238E27FC236}">
                    <a16:creationId xmlns:a16="http://schemas.microsoft.com/office/drawing/2014/main" id="{0AAD8E47-E6B4-47A6-AB14-67F40D20B0AE}"/>
                  </a:ext>
                </a:extLst>
              </p:cNvPr>
              <p:cNvSpPr/>
              <p:nvPr/>
            </p:nvSpPr>
            <p:spPr>
              <a:xfrm>
                <a:off x="7324626" y="1502637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75" name="Flowchart: Connector 74">
                <a:extLst>
                  <a:ext uri="{FF2B5EF4-FFF2-40B4-BE49-F238E27FC236}">
                    <a16:creationId xmlns:a16="http://schemas.microsoft.com/office/drawing/2014/main" id="{58A68BD3-2C2B-4FC1-862B-7CAC96026C58}"/>
                  </a:ext>
                </a:extLst>
              </p:cNvPr>
              <p:cNvSpPr/>
              <p:nvPr/>
            </p:nvSpPr>
            <p:spPr>
              <a:xfrm>
                <a:off x="7400299" y="1578310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7F448ED7-F170-47E9-A273-90774EDB6BD2}"/>
              </a:ext>
            </a:extLst>
          </p:cNvPr>
          <p:cNvSpPr/>
          <p:nvPr/>
        </p:nvSpPr>
        <p:spPr>
          <a:xfrm>
            <a:off x="3635024" y="5774267"/>
            <a:ext cx="3187561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</a:p>
        </p:txBody>
      </p: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7547D423-7ED6-4D73-B241-B1C26F5CCC36}"/>
              </a:ext>
            </a:extLst>
          </p:cNvPr>
          <p:cNvSpPr/>
          <p:nvPr/>
        </p:nvSpPr>
        <p:spPr>
          <a:xfrm>
            <a:off x="7951003" y="1373831"/>
            <a:ext cx="3539200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istributed Cloud</a:t>
            </a:r>
          </a:p>
        </p:txBody>
      </p:sp>
      <p:grpSp>
        <p:nvGrpSpPr>
          <p:cNvPr id="4096" name="Group 4095">
            <a:extLst>
              <a:ext uri="{FF2B5EF4-FFF2-40B4-BE49-F238E27FC236}">
                <a16:creationId xmlns:a16="http://schemas.microsoft.com/office/drawing/2014/main" id="{0C5B832A-E4FB-4C1A-80D4-B524DED41654}"/>
              </a:ext>
            </a:extLst>
          </p:cNvPr>
          <p:cNvGrpSpPr/>
          <p:nvPr/>
        </p:nvGrpSpPr>
        <p:grpSpPr>
          <a:xfrm>
            <a:off x="9581443" y="4200236"/>
            <a:ext cx="2348549" cy="2813372"/>
            <a:chOff x="7186082" y="3150177"/>
            <a:chExt cx="1761412" cy="2110029"/>
          </a:xfrm>
        </p:grpSpPr>
        <p:pic>
          <p:nvPicPr>
            <p:cNvPr id="116" name="Picture 3" descr="https://lh6.googleusercontent.com/OJj71FP6p8alxoeZCl0ns4zYnjFOn6y28cZcvjrPJHXhgeoGVXk0MW_gcWiwsRHly1neENoXZ7u29zGp4Mtnt1id7SCBfG7mjSMGyIIfMHkv1S8HHTgZnD-FYyB9wWZOCXGocgSWzsI">
              <a:extLst>
                <a:ext uri="{FF2B5EF4-FFF2-40B4-BE49-F238E27FC236}">
                  <a16:creationId xmlns:a16="http://schemas.microsoft.com/office/drawing/2014/main" id="{AF85649F-B9BD-42A8-B83D-879F491924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2413" y="3150177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EF0C545E-EAD6-4DC3-812B-C8498E644CDE}"/>
                </a:ext>
              </a:extLst>
            </p:cNvPr>
            <p:cNvSpPr/>
            <p:nvPr/>
          </p:nvSpPr>
          <p:spPr>
            <a:xfrm>
              <a:off x="7186082" y="4636958"/>
              <a:ext cx="1761412" cy="623248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  <a:cs typeface="Google Sans" panose="020B0604020202020204" charset="0"/>
                </a:rPr>
                <a:t>SRE/ML Engineers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D3277620-A393-4D4E-A9A1-3FC4910E9310}"/>
              </a:ext>
            </a:extLst>
          </p:cNvPr>
          <p:cNvGrpSpPr/>
          <p:nvPr/>
        </p:nvGrpSpPr>
        <p:grpSpPr>
          <a:xfrm>
            <a:off x="3309712" y="1537862"/>
            <a:ext cx="1988233" cy="2366665"/>
            <a:chOff x="2482283" y="1153396"/>
            <a:chExt cx="1491175" cy="1774999"/>
          </a:xfrm>
        </p:grpSpPr>
        <p:pic>
          <p:nvPicPr>
            <p:cNvPr id="115" name="Picture 2" descr="https://lh3.googleusercontent.com/W5ZorUwdr19lfnMl5uUIjqSG-FazB-7D7ieSNS3wqmm3Jpeuprqi1ry1PWeUxD_3-O4TII-bvIGyK1vBeS3HPxs3LxAB1mB3Or6UZVOI4QGRZANHBW31j3VauHZH8hpX55UhYNVWYEY">
              <a:extLst>
                <a:ext uri="{FF2B5EF4-FFF2-40B4-BE49-F238E27FC236}">
                  <a16:creationId xmlns:a16="http://schemas.microsoft.com/office/drawing/2014/main" id="{B4199A15-AF88-4CC1-84CE-CA9866C00A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2284" y="1153396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303620CE-DA58-4B44-A558-B048E4CE10C7}"/>
                </a:ext>
              </a:extLst>
            </p:cNvPr>
            <p:cNvSpPr/>
            <p:nvPr/>
          </p:nvSpPr>
          <p:spPr>
            <a:xfrm>
              <a:off x="2482283" y="2582146"/>
              <a:ext cx="1491175" cy="346249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</a:rPr>
                <a:t>Data Scientist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pic>
        <p:nvPicPr>
          <p:cNvPr id="4098" name="Picture 2" descr="Image result for github logo">
            <a:extLst>
              <a:ext uri="{FF2B5EF4-FFF2-40B4-BE49-F238E27FC236}">
                <a16:creationId xmlns:a16="http://schemas.microsoft.com/office/drawing/2014/main" id="{FF95E88C-B28A-4CA5-BAAF-53ED36E48B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609" y="3124735"/>
            <a:ext cx="838052" cy="838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5" name="Group 124">
            <a:extLst>
              <a:ext uri="{FF2B5EF4-FFF2-40B4-BE49-F238E27FC236}">
                <a16:creationId xmlns:a16="http://schemas.microsoft.com/office/drawing/2014/main" id="{9897031C-11D8-49A1-B83B-C53458C26BEB}"/>
              </a:ext>
            </a:extLst>
          </p:cNvPr>
          <p:cNvGrpSpPr/>
          <p:nvPr/>
        </p:nvGrpSpPr>
        <p:grpSpPr>
          <a:xfrm>
            <a:off x="9036756" y="2269067"/>
            <a:ext cx="742243" cy="1617875"/>
            <a:chOff x="6777567" y="1701800"/>
            <a:chExt cx="556682" cy="1213406"/>
          </a:xfrm>
        </p:grpSpPr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781E7821-DA7C-49F3-8330-F1DFFBD48D05}"/>
                </a:ext>
              </a:extLst>
            </p:cNvPr>
            <p:cNvCxnSpPr>
              <a:cxnSpLocks/>
              <a:endCxn id="71" idx="1"/>
            </p:cNvCxnSpPr>
            <p:nvPr/>
          </p:nvCxnSpPr>
          <p:spPr>
            <a:xfrm>
              <a:off x="6777567" y="1701800"/>
              <a:ext cx="241337" cy="898061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7DBC96FC-5C66-42BC-9965-E4D5E94F3DC3}"/>
                </a:ext>
              </a:extLst>
            </p:cNvPr>
            <p:cNvGrpSpPr/>
            <p:nvPr/>
          </p:nvGrpSpPr>
          <p:grpSpPr>
            <a:xfrm>
              <a:off x="6964799" y="2545756"/>
              <a:ext cx="369450" cy="369450"/>
              <a:chOff x="7028296" y="2579622"/>
              <a:chExt cx="369450" cy="369450"/>
            </a:xfrm>
          </p:grpSpPr>
          <p:sp>
            <p:nvSpPr>
              <p:cNvPr id="71" name="Flowchart: Connector 70">
                <a:extLst>
                  <a:ext uri="{FF2B5EF4-FFF2-40B4-BE49-F238E27FC236}">
                    <a16:creationId xmlns:a16="http://schemas.microsoft.com/office/drawing/2014/main" id="{7C84B5BB-7EC4-4195-978F-D7DF9C1F8538}"/>
                  </a:ext>
                </a:extLst>
              </p:cNvPr>
              <p:cNvSpPr/>
              <p:nvPr/>
            </p:nvSpPr>
            <p:spPr>
              <a:xfrm>
                <a:off x="7028296" y="257962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72" name="Flowchart: Connector 71">
                <a:extLst>
                  <a:ext uri="{FF2B5EF4-FFF2-40B4-BE49-F238E27FC236}">
                    <a16:creationId xmlns:a16="http://schemas.microsoft.com/office/drawing/2014/main" id="{A006F225-E7E5-4128-A467-D85528E3E56B}"/>
                  </a:ext>
                </a:extLst>
              </p:cNvPr>
              <p:cNvSpPr/>
              <p:nvPr/>
            </p:nvSpPr>
            <p:spPr>
              <a:xfrm>
                <a:off x="7103969" y="265529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4F6DAF94-EC59-48A2-9889-4BD10A2A86EB}"/>
              </a:ext>
            </a:extLst>
          </p:cNvPr>
          <p:cNvGrpSpPr/>
          <p:nvPr/>
        </p:nvGrpSpPr>
        <p:grpSpPr>
          <a:xfrm>
            <a:off x="7730516" y="2003516"/>
            <a:ext cx="1554840" cy="492600"/>
            <a:chOff x="5797887" y="1502637"/>
            <a:chExt cx="1166130" cy="369450"/>
          </a:xfrm>
        </p:grpSpPr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F25F6568-0EAB-4CD6-8E3D-75A955F0AEC8}"/>
                </a:ext>
              </a:extLst>
            </p:cNvPr>
            <p:cNvCxnSpPr>
              <a:cxnSpLocks/>
              <a:stCxn id="66" idx="2"/>
              <a:endCxn id="68" idx="2"/>
            </p:cNvCxnSpPr>
            <p:nvPr/>
          </p:nvCxnSpPr>
          <p:spPr>
            <a:xfrm flipV="1">
              <a:off x="5797887" y="1687362"/>
              <a:ext cx="796680" cy="4842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3BF652D5-D625-4EA9-AF32-1D58E3817038}"/>
                </a:ext>
              </a:extLst>
            </p:cNvPr>
            <p:cNvGrpSpPr/>
            <p:nvPr/>
          </p:nvGrpSpPr>
          <p:grpSpPr>
            <a:xfrm>
              <a:off x="6594567" y="1502637"/>
              <a:ext cx="369450" cy="369450"/>
              <a:chOff x="6716678" y="1504205"/>
              <a:chExt cx="369450" cy="369450"/>
            </a:xfrm>
          </p:grpSpPr>
          <p:sp>
            <p:nvSpPr>
              <p:cNvPr id="68" name="Flowchart: Connector 67">
                <a:extLst>
                  <a:ext uri="{FF2B5EF4-FFF2-40B4-BE49-F238E27FC236}">
                    <a16:creationId xmlns:a16="http://schemas.microsoft.com/office/drawing/2014/main" id="{CC9F6E5A-1E2B-47E6-84F1-5AC9651D0533}"/>
                  </a:ext>
                </a:extLst>
              </p:cNvPr>
              <p:cNvSpPr/>
              <p:nvPr/>
            </p:nvSpPr>
            <p:spPr>
              <a:xfrm>
                <a:off x="6716678" y="1504205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9" name="Flowchart: Connector 68">
                <a:extLst>
                  <a:ext uri="{FF2B5EF4-FFF2-40B4-BE49-F238E27FC236}">
                    <a16:creationId xmlns:a16="http://schemas.microsoft.com/office/drawing/2014/main" id="{94E507CA-9F1C-4179-B947-A40D06F96F75}"/>
                  </a:ext>
                </a:extLst>
              </p:cNvPr>
              <p:cNvSpPr/>
              <p:nvPr/>
            </p:nvSpPr>
            <p:spPr>
              <a:xfrm>
                <a:off x="6792351" y="1579878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D59CED50-8211-4005-AC40-E6D4A150CCA0}"/>
              </a:ext>
            </a:extLst>
          </p:cNvPr>
          <p:cNvGrpSpPr/>
          <p:nvPr/>
        </p:nvGrpSpPr>
        <p:grpSpPr>
          <a:xfrm>
            <a:off x="7399869" y="2009973"/>
            <a:ext cx="722351" cy="1647628"/>
            <a:chOff x="5549901" y="1507479"/>
            <a:chExt cx="541763" cy="1235721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DE57D4-6214-4478-BC9F-C82255B66D0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549901" y="1871133"/>
              <a:ext cx="275166" cy="872067"/>
            </a:xfrm>
            <a:prstGeom prst="line">
              <a:avLst/>
            </a:prstGeom>
            <a:ln w="101600">
              <a:headEnd type="triangl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55E2614B-B9E4-4466-B017-1CBB6FEB91EA}"/>
                </a:ext>
              </a:extLst>
            </p:cNvPr>
            <p:cNvGrpSpPr/>
            <p:nvPr/>
          </p:nvGrpSpPr>
          <p:grpSpPr>
            <a:xfrm>
              <a:off x="5722214" y="1507479"/>
              <a:ext cx="369450" cy="369450"/>
              <a:chOff x="5723529" y="1508988"/>
              <a:chExt cx="369450" cy="369450"/>
            </a:xfrm>
          </p:grpSpPr>
          <p:sp>
            <p:nvSpPr>
              <p:cNvPr id="65" name="Flowchart: Connector 64">
                <a:extLst>
                  <a:ext uri="{FF2B5EF4-FFF2-40B4-BE49-F238E27FC236}">
                    <a16:creationId xmlns:a16="http://schemas.microsoft.com/office/drawing/2014/main" id="{7ABF41FC-A42E-4C42-88BA-7DF03B142DBB}"/>
                  </a:ext>
                </a:extLst>
              </p:cNvPr>
              <p:cNvSpPr/>
              <p:nvPr/>
            </p:nvSpPr>
            <p:spPr>
              <a:xfrm>
                <a:off x="5723529" y="1508988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6" name="Flowchart: Connector 65">
                <a:extLst>
                  <a:ext uri="{FF2B5EF4-FFF2-40B4-BE49-F238E27FC236}">
                    <a16:creationId xmlns:a16="http://schemas.microsoft.com/office/drawing/2014/main" id="{78C58395-A4E6-4CD9-AF97-681B5644C47F}"/>
                  </a:ext>
                </a:extLst>
              </p:cNvPr>
              <p:cNvSpPr/>
              <p:nvPr/>
            </p:nvSpPr>
            <p:spPr>
              <a:xfrm>
                <a:off x="5799202" y="1584661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C7FD450C-D210-426F-B4AF-624A2044C403}"/>
              </a:ext>
            </a:extLst>
          </p:cNvPr>
          <p:cNvGrpSpPr/>
          <p:nvPr/>
        </p:nvGrpSpPr>
        <p:grpSpPr>
          <a:xfrm>
            <a:off x="7061969" y="3392826"/>
            <a:ext cx="587537" cy="1765684"/>
            <a:chOff x="5296476" y="2544619"/>
            <a:chExt cx="440653" cy="1324263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99D4FA34-D6A5-4556-8E16-CA144FC9C6D6}"/>
                </a:ext>
              </a:extLst>
            </p:cNvPr>
            <p:cNvCxnSpPr>
              <a:cxnSpLocks/>
              <a:stCxn id="62" idx="4"/>
            </p:cNvCxnSpPr>
            <p:nvPr/>
          </p:nvCxnSpPr>
          <p:spPr>
            <a:xfrm flipH="1">
              <a:off x="5296476" y="2914069"/>
              <a:ext cx="255928" cy="954813"/>
            </a:xfrm>
            <a:prstGeom prst="line">
              <a:avLst/>
            </a:prstGeom>
            <a:ln w="101600">
              <a:headEnd type="triangl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15B2B652-8EC9-4F50-8697-2029004FDDEF}"/>
                </a:ext>
              </a:extLst>
            </p:cNvPr>
            <p:cNvGrpSpPr/>
            <p:nvPr/>
          </p:nvGrpSpPr>
          <p:grpSpPr>
            <a:xfrm>
              <a:off x="5367679" y="2544619"/>
              <a:ext cx="369450" cy="369450"/>
              <a:chOff x="5367679" y="2544619"/>
              <a:chExt cx="369450" cy="369450"/>
            </a:xfrm>
          </p:grpSpPr>
          <p:sp>
            <p:nvSpPr>
              <p:cNvPr id="62" name="Flowchart: Connector 61">
                <a:extLst>
                  <a:ext uri="{FF2B5EF4-FFF2-40B4-BE49-F238E27FC236}">
                    <a16:creationId xmlns:a16="http://schemas.microsoft.com/office/drawing/2014/main" id="{0586BC68-3312-45AE-AF82-9F8A694EE363}"/>
                  </a:ext>
                </a:extLst>
              </p:cNvPr>
              <p:cNvSpPr/>
              <p:nvPr/>
            </p:nvSpPr>
            <p:spPr>
              <a:xfrm>
                <a:off x="5367679" y="2544619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3" name="Flowchart: Connector 62">
                <a:extLst>
                  <a:ext uri="{FF2B5EF4-FFF2-40B4-BE49-F238E27FC236}">
                    <a16:creationId xmlns:a16="http://schemas.microsoft.com/office/drawing/2014/main" id="{2817CED9-3BEC-4524-B8A9-FDBC3A6CD25D}"/>
                  </a:ext>
                </a:extLst>
              </p:cNvPr>
              <p:cNvSpPr/>
              <p:nvPr/>
            </p:nvSpPr>
            <p:spPr>
              <a:xfrm>
                <a:off x="5443352" y="2620292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A392F682-267D-4A84-8D93-BD3C537E78F8}"/>
              </a:ext>
            </a:extLst>
          </p:cNvPr>
          <p:cNvGrpSpPr/>
          <p:nvPr/>
        </p:nvGrpSpPr>
        <p:grpSpPr>
          <a:xfrm>
            <a:off x="5345087" y="4906436"/>
            <a:ext cx="1970101" cy="492600"/>
            <a:chOff x="4008815" y="3679827"/>
            <a:chExt cx="1477576" cy="369450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6796C23C-8804-4245-A74E-0FD2746E859A}"/>
                </a:ext>
              </a:extLst>
            </p:cNvPr>
            <p:cNvCxnSpPr>
              <a:cxnSpLocks/>
              <a:stCxn id="57" idx="6"/>
              <a:endCxn id="59" idx="2"/>
            </p:cNvCxnSpPr>
            <p:nvPr/>
          </p:nvCxnSpPr>
          <p:spPr>
            <a:xfrm flipV="1">
              <a:off x="4008815" y="3864552"/>
              <a:ext cx="1108126" cy="2165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0233CCD1-9405-4FA4-A7D4-4EF763DB124F}"/>
                </a:ext>
              </a:extLst>
            </p:cNvPr>
            <p:cNvGrpSpPr/>
            <p:nvPr/>
          </p:nvGrpSpPr>
          <p:grpSpPr>
            <a:xfrm>
              <a:off x="5116941" y="3679827"/>
              <a:ext cx="369450" cy="369450"/>
              <a:chOff x="5116942" y="3653577"/>
              <a:chExt cx="369450" cy="369450"/>
            </a:xfrm>
          </p:grpSpPr>
          <p:sp>
            <p:nvSpPr>
              <p:cNvPr id="59" name="Flowchart: Connector 58">
                <a:extLst>
                  <a:ext uri="{FF2B5EF4-FFF2-40B4-BE49-F238E27FC236}">
                    <a16:creationId xmlns:a16="http://schemas.microsoft.com/office/drawing/2014/main" id="{53ED20BB-8180-41BB-BA55-FA82D54EB1A1}"/>
                  </a:ext>
                </a:extLst>
              </p:cNvPr>
              <p:cNvSpPr/>
              <p:nvPr/>
            </p:nvSpPr>
            <p:spPr>
              <a:xfrm>
                <a:off x="5116942" y="3653577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0" name="Flowchart: Connector 59">
                <a:extLst>
                  <a:ext uri="{FF2B5EF4-FFF2-40B4-BE49-F238E27FC236}">
                    <a16:creationId xmlns:a16="http://schemas.microsoft.com/office/drawing/2014/main" id="{8A13EF14-5515-4E08-8FE3-CFA4C1132C26}"/>
                  </a:ext>
                </a:extLst>
              </p:cNvPr>
              <p:cNvSpPr/>
              <p:nvPr/>
            </p:nvSpPr>
            <p:spPr>
              <a:xfrm>
                <a:off x="5192615" y="3729250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4954FD46-8EA4-4963-B700-0858D4244EAA}"/>
              </a:ext>
            </a:extLst>
          </p:cNvPr>
          <p:cNvGrpSpPr/>
          <p:nvPr/>
        </p:nvGrpSpPr>
        <p:grpSpPr>
          <a:xfrm>
            <a:off x="2646219" y="3643746"/>
            <a:ext cx="863989" cy="1747204"/>
            <a:chOff x="1984664" y="2732809"/>
            <a:chExt cx="647992" cy="1310403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6404DCC-90AE-4AC9-83E7-DFA8E7886A6C}"/>
                </a:ext>
              </a:extLst>
            </p:cNvPr>
            <p:cNvCxnSpPr>
              <a:cxnSpLocks/>
              <a:endCxn id="53" idx="1"/>
            </p:cNvCxnSpPr>
            <p:nvPr/>
          </p:nvCxnSpPr>
          <p:spPr>
            <a:xfrm>
              <a:off x="1984664" y="2732809"/>
              <a:ext cx="332647" cy="995058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E3B0A1DC-D93B-4ACB-96CE-86D22A8C5C1F}"/>
                </a:ext>
              </a:extLst>
            </p:cNvPr>
            <p:cNvGrpSpPr/>
            <p:nvPr/>
          </p:nvGrpSpPr>
          <p:grpSpPr>
            <a:xfrm>
              <a:off x="2263206" y="3673762"/>
              <a:ext cx="369450" cy="369450"/>
              <a:chOff x="2263206" y="3673762"/>
              <a:chExt cx="369450" cy="369450"/>
            </a:xfrm>
          </p:grpSpPr>
          <p:sp>
            <p:nvSpPr>
              <p:cNvPr id="53" name="Flowchart: Connector 52">
                <a:extLst>
                  <a:ext uri="{FF2B5EF4-FFF2-40B4-BE49-F238E27FC236}">
                    <a16:creationId xmlns:a16="http://schemas.microsoft.com/office/drawing/2014/main" id="{BC2155B0-99EE-4940-BB15-1641641349DF}"/>
                  </a:ext>
                </a:extLst>
              </p:cNvPr>
              <p:cNvSpPr/>
              <p:nvPr/>
            </p:nvSpPr>
            <p:spPr>
              <a:xfrm>
                <a:off x="2263206" y="367376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4" name="Flowchart: Connector 53">
                <a:extLst>
                  <a:ext uri="{FF2B5EF4-FFF2-40B4-BE49-F238E27FC236}">
                    <a16:creationId xmlns:a16="http://schemas.microsoft.com/office/drawing/2014/main" id="{299F4F19-09D0-441A-832B-5BB13748F1C2}"/>
                  </a:ext>
                </a:extLst>
              </p:cNvPr>
              <p:cNvSpPr/>
              <p:nvPr/>
            </p:nvSpPr>
            <p:spPr>
              <a:xfrm>
                <a:off x="2338879" y="374943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499F41B4-F665-44DC-8E57-27AB5BE7593B}"/>
              </a:ext>
            </a:extLst>
          </p:cNvPr>
          <p:cNvGrpSpPr/>
          <p:nvPr/>
        </p:nvGrpSpPr>
        <p:grpSpPr>
          <a:xfrm>
            <a:off x="1318288" y="3406424"/>
            <a:ext cx="1580517" cy="492600"/>
            <a:chOff x="988716" y="2554818"/>
            <a:chExt cx="1185388" cy="369450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A711515-B5AD-42F7-BA7A-103BF873B44D}"/>
                </a:ext>
              </a:extLst>
            </p:cNvPr>
            <p:cNvCxnSpPr>
              <a:cxnSpLocks/>
              <a:endCxn id="48" idx="2"/>
            </p:cNvCxnSpPr>
            <p:nvPr/>
          </p:nvCxnSpPr>
          <p:spPr>
            <a:xfrm>
              <a:off x="988716" y="2729344"/>
              <a:ext cx="815938" cy="10199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B8764121-7611-471D-AB48-40AD6B92DDC2}"/>
                </a:ext>
              </a:extLst>
            </p:cNvPr>
            <p:cNvGrpSpPr/>
            <p:nvPr/>
          </p:nvGrpSpPr>
          <p:grpSpPr>
            <a:xfrm>
              <a:off x="1804654" y="2554818"/>
              <a:ext cx="369450" cy="369450"/>
              <a:chOff x="1804654" y="2554818"/>
              <a:chExt cx="369450" cy="369450"/>
            </a:xfrm>
          </p:grpSpPr>
          <p:sp>
            <p:nvSpPr>
              <p:cNvPr id="48" name="Flowchart: Connector 47">
                <a:extLst>
                  <a:ext uri="{FF2B5EF4-FFF2-40B4-BE49-F238E27FC236}">
                    <a16:creationId xmlns:a16="http://schemas.microsoft.com/office/drawing/2014/main" id="{2F574874-E1C0-4C85-B566-25D1AD6D3AD5}"/>
                  </a:ext>
                </a:extLst>
              </p:cNvPr>
              <p:cNvSpPr/>
              <p:nvPr/>
            </p:nvSpPr>
            <p:spPr>
              <a:xfrm>
                <a:off x="1804654" y="2554818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0" name="Flowchart: Connector 49">
                <a:extLst>
                  <a:ext uri="{FF2B5EF4-FFF2-40B4-BE49-F238E27FC236}">
                    <a16:creationId xmlns:a16="http://schemas.microsoft.com/office/drawing/2014/main" id="{EFC55BE7-8058-4977-B413-25CBEF541600}"/>
                  </a:ext>
                </a:extLst>
              </p:cNvPr>
              <p:cNvSpPr/>
              <p:nvPr/>
            </p:nvSpPr>
            <p:spPr>
              <a:xfrm>
                <a:off x="1880327" y="2630491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70" name="Speech Bubble: Rectangle 69">
            <a:extLst>
              <a:ext uri="{FF2B5EF4-FFF2-40B4-BE49-F238E27FC236}">
                <a16:creationId xmlns:a16="http://schemas.microsoft.com/office/drawing/2014/main" id="{2B22FEB4-1301-4E00-AF13-D94EBC84FCD4}"/>
              </a:ext>
            </a:extLst>
          </p:cNvPr>
          <p:cNvSpPr/>
          <p:nvPr/>
        </p:nvSpPr>
        <p:spPr>
          <a:xfrm>
            <a:off x="5664637" y="4596761"/>
            <a:ext cx="3355001" cy="1366628"/>
          </a:xfrm>
          <a:prstGeom prst="wedgeRectCallout">
            <a:avLst>
              <a:gd name="adj1" fmla="val 101064"/>
              <a:gd name="adj2" fmla="val -16037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And roll out</a:t>
            </a:r>
            <a:b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o the world!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1F8EB8FF-1F8F-4FD9-AB87-42EF84B5888C}"/>
              </a:ext>
            </a:extLst>
          </p:cNvPr>
          <p:cNvSpPr txBox="1"/>
          <p:nvPr/>
        </p:nvSpPr>
        <p:spPr>
          <a:xfrm>
            <a:off x="503239" y="1912390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1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FD3D067C-355D-418B-A83E-6CCA29304D3E}"/>
              </a:ext>
            </a:extLst>
          </p:cNvPr>
          <p:cNvSpPr txBox="1"/>
          <p:nvPr/>
        </p:nvSpPr>
        <p:spPr>
          <a:xfrm>
            <a:off x="503239" y="4680813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2</a:t>
            </a:r>
          </a:p>
        </p:txBody>
      </p:sp>
    </p:spTree>
    <p:extLst>
      <p:ext uri="{BB962C8B-B14F-4D97-AF65-F5344CB8AC3E}">
        <p14:creationId xmlns:p14="http://schemas.microsoft.com/office/powerpoint/2010/main" val="1875107059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3269C01-B6AC-438D-BB0F-E70F1872184E}"/>
              </a:ext>
            </a:extLst>
          </p:cNvPr>
          <p:cNvCxnSpPr>
            <a:cxnSpLocks/>
          </p:cNvCxnSpPr>
          <p:nvPr/>
        </p:nvCxnSpPr>
        <p:spPr>
          <a:xfrm>
            <a:off x="9520376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E0FB0A3-AADE-4077-A759-EF749264C5B8}"/>
              </a:ext>
            </a:extLst>
          </p:cNvPr>
          <p:cNvCxnSpPr>
            <a:cxnSpLocks/>
          </p:cNvCxnSpPr>
          <p:nvPr/>
        </p:nvCxnSpPr>
        <p:spPr>
          <a:xfrm>
            <a:off x="2985660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5FB6D0-4D6A-4C25-A810-A2FAC650BCBE}"/>
              </a:ext>
            </a:extLst>
          </p:cNvPr>
          <p:cNvCxnSpPr>
            <a:cxnSpLocks/>
          </p:cNvCxnSpPr>
          <p:nvPr/>
        </p:nvCxnSpPr>
        <p:spPr>
          <a:xfrm>
            <a:off x="5163899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7EA124-03FA-4FD3-A58C-F248DE952643}"/>
              </a:ext>
            </a:extLst>
          </p:cNvPr>
          <p:cNvCxnSpPr>
            <a:cxnSpLocks/>
          </p:cNvCxnSpPr>
          <p:nvPr/>
        </p:nvCxnSpPr>
        <p:spPr>
          <a:xfrm>
            <a:off x="7342137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al World Multi-Cloud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D05D419-647C-4C08-AB87-C0E88BC251C2}"/>
              </a:ext>
            </a:extLst>
          </p:cNvPr>
          <p:cNvSpPr/>
          <p:nvPr/>
        </p:nvSpPr>
        <p:spPr>
          <a:xfrm>
            <a:off x="2410697" y="3425161"/>
            <a:ext cx="9415696" cy="43944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CI/CD Pipeli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DC7B87-74B9-4A19-8C6C-776003FFDDD0}"/>
              </a:ext>
            </a:extLst>
          </p:cNvPr>
          <p:cNvSpPr txBox="1"/>
          <p:nvPr/>
        </p:nvSpPr>
        <p:spPr>
          <a:xfrm>
            <a:off x="3328949" y="923899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Proces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90ECCFB-6104-4612-932E-28033DE94809}"/>
              </a:ext>
            </a:extLst>
          </p:cNvPr>
          <p:cNvSpPr txBox="1"/>
          <p:nvPr/>
        </p:nvSpPr>
        <p:spPr>
          <a:xfrm>
            <a:off x="5507187" y="916010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rai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7FF49F-D288-42AC-82F0-A661457EFD0D}"/>
              </a:ext>
            </a:extLst>
          </p:cNvPr>
          <p:cNvSpPr txBox="1"/>
          <p:nvPr/>
        </p:nvSpPr>
        <p:spPr>
          <a:xfrm>
            <a:off x="7685426" y="906261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tag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D2D4D4-7FD8-405A-9B26-A3FFBCF5B652}"/>
              </a:ext>
            </a:extLst>
          </p:cNvPr>
          <p:cNvSpPr txBox="1"/>
          <p:nvPr/>
        </p:nvSpPr>
        <p:spPr>
          <a:xfrm>
            <a:off x="9863662" y="881622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erve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8251936F-83BE-4E1D-BC3E-78A74B69241F}"/>
              </a:ext>
            </a:extLst>
          </p:cNvPr>
          <p:cNvCxnSpPr>
            <a:cxnSpLocks/>
          </p:cNvCxnSpPr>
          <p:nvPr/>
        </p:nvCxnSpPr>
        <p:spPr>
          <a:xfrm flipV="1">
            <a:off x="10048861" y="2246749"/>
            <a:ext cx="1529760" cy="18471"/>
          </a:xfrm>
          <a:prstGeom prst="line">
            <a:avLst/>
          </a:prstGeom>
          <a:ln w="101600"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7FFC6E1C-E113-411F-8F13-6FF737A37D5E}"/>
              </a:ext>
            </a:extLst>
          </p:cNvPr>
          <p:cNvGrpSpPr/>
          <p:nvPr/>
        </p:nvGrpSpPr>
        <p:grpSpPr>
          <a:xfrm>
            <a:off x="3246608" y="4909323"/>
            <a:ext cx="2199376" cy="492600"/>
            <a:chOff x="2434956" y="3681992"/>
            <a:chExt cx="1649532" cy="369450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3D231B7E-5932-4004-936C-7163D7BB7D27}"/>
                </a:ext>
              </a:extLst>
            </p:cNvPr>
            <p:cNvCxnSpPr>
              <a:cxnSpLocks/>
              <a:endCxn id="56" idx="2"/>
            </p:cNvCxnSpPr>
            <p:nvPr/>
          </p:nvCxnSpPr>
          <p:spPr>
            <a:xfrm>
              <a:off x="2434956" y="3864552"/>
              <a:ext cx="1280082" cy="2165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4FA9C2D7-89FB-4F86-88A2-FAB403AE4AFA}"/>
                </a:ext>
              </a:extLst>
            </p:cNvPr>
            <p:cNvGrpSpPr/>
            <p:nvPr/>
          </p:nvGrpSpPr>
          <p:grpSpPr>
            <a:xfrm>
              <a:off x="3715038" y="3681992"/>
              <a:ext cx="369450" cy="369450"/>
              <a:chOff x="3715038" y="3681992"/>
              <a:chExt cx="369450" cy="369450"/>
            </a:xfrm>
          </p:grpSpPr>
          <p:sp>
            <p:nvSpPr>
              <p:cNvPr id="56" name="Flowchart: Connector 55">
                <a:extLst>
                  <a:ext uri="{FF2B5EF4-FFF2-40B4-BE49-F238E27FC236}">
                    <a16:creationId xmlns:a16="http://schemas.microsoft.com/office/drawing/2014/main" id="{5A6F129A-65A5-4F8E-B24C-FEB3687B1C0C}"/>
                  </a:ext>
                </a:extLst>
              </p:cNvPr>
              <p:cNvSpPr/>
              <p:nvPr/>
            </p:nvSpPr>
            <p:spPr>
              <a:xfrm>
                <a:off x="3715038" y="368199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7" name="Flowchart: Connector 56">
                <a:extLst>
                  <a:ext uri="{FF2B5EF4-FFF2-40B4-BE49-F238E27FC236}">
                    <a16:creationId xmlns:a16="http://schemas.microsoft.com/office/drawing/2014/main" id="{BE0A6164-A927-4D6E-929D-9589F9CF26C8}"/>
                  </a:ext>
                </a:extLst>
              </p:cNvPr>
              <p:cNvSpPr/>
              <p:nvPr/>
            </p:nvSpPr>
            <p:spPr>
              <a:xfrm>
                <a:off x="3790711" y="375766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DB006B21-3E24-4AC5-9405-8EEF8EC54C48}"/>
              </a:ext>
            </a:extLst>
          </p:cNvPr>
          <p:cNvGrpSpPr/>
          <p:nvPr/>
        </p:nvGrpSpPr>
        <p:grpSpPr>
          <a:xfrm>
            <a:off x="9516533" y="2003516"/>
            <a:ext cx="742235" cy="1676661"/>
            <a:chOff x="7137400" y="1502637"/>
            <a:chExt cx="556676" cy="1257496"/>
          </a:xfrm>
        </p:grpSpPr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28382FCF-3CD0-4485-98F5-A4C89BB5E60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137400" y="1875365"/>
              <a:ext cx="322256" cy="884768"/>
            </a:xfrm>
            <a:prstGeom prst="line">
              <a:avLst/>
            </a:prstGeom>
            <a:ln w="101600">
              <a:headEnd type="triangl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F2670B2E-80A9-4842-8A3E-C709F461BFFF}"/>
                </a:ext>
              </a:extLst>
            </p:cNvPr>
            <p:cNvGrpSpPr/>
            <p:nvPr/>
          </p:nvGrpSpPr>
          <p:grpSpPr>
            <a:xfrm>
              <a:off x="7324626" y="1502637"/>
              <a:ext cx="369450" cy="369450"/>
              <a:chOff x="7324626" y="1502637"/>
              <a:chExt cx="369450" cy="369450"/>
            </a:xfrm>
          </p:grpSpPr>
          <p:sp>
            <p:nvSpPr>
              <p:cNvPr id="74" name="Flowchart: Connector 73">
                <a:extLst>
                  <a:ext uri="{FF2B5EF4-FFF2-40B4-BE49-F238E27FC236}">
                    <a16:creationId xmlns:a16="http://schemas.microsoft.com/office/drawing/2014/main" id="{0AAD8E47-E6B4-47A6-AB14-67F40D20B0AE}"/>
                  </a:ext>
                </a:extLst>
              </p:cNvPr>
              <p:cNvSpPr/>
              <p:nvPr/>
            </p:nvSpPr>
            <p:spPr>
              <a:xfrm>
                <a:off x="7324626" y="1502637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75" name="Flowchart: Connector 74">
                <a:extLst>
                  <a:ext uri="{FF2B5EF4-FFF2-40B4-BE49-F238E27FC236}">
                    <a16:creationId xmlns:a16="http://schemas.microsoft.com/office/drawing/2014/main" id="{58A68BD3-2C2B-4FC1-862B-7CAC96026C58}"/>
                  </a:ext>
                </a:extLst>
              </p:cNvPr>
              <p:cNvSpPr/>
              <p:nvPr/>
            </p:nvSpPr>
            <p:spPr>
              <a:xfrm>
                <a:off x="7400299" y="1578310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7F448ED7-F170-47E9-A273-90774EDB6BD2}"/>
              </a:ext>
            </a:extLst>
          </p:cNvPr>
          <p:cNvSpPr/>
          <p:nvPr/>
        </p:nvSpPr>
        <p:spPr>
          <a:xfrm>
            <a:off x="3635024" y="5774267"/>
            <a:ext cx="3187561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</a:p>
        </p:txBody>
      </p: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7547D423-7ED6-4D73-B241-B1C26F5CCC36}"/>
              </a:ext>
            </a:extLst>
          </p:cNvPr>
          <p:cNvSpPr/>
          <p:nvPr/>
        </p:nvSpPr>
        <p:spPr>
          <a:xfrm>
            <a:off x="7951003" y="1373831"/>
            <a:ext cx="3539200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istributed Cloud</a:t>
            </a:r>
          </a:p>
        </p:txBody>
      </p:sp>
      <p:grpSp>
        <p:nvGrpSpPr>
          <p:cNvPr id="4096" name="Group 4095">
            <a:extLst>
              <a:ext uri="{FF2B5EF4-FFF2-40B4-BE49-F238E27FC236}">
                <a16:creationId xmlns:a16="http://schemas.microsoft.com/office/drawing/2014/main" id="{0C5B832A-E4FB-4C1A-80D4-B524DED41654}"/>
              </a:ext>
            </a:extLst>
          </p:cNvPr>
          <p:cNvGrpSpPr/>
          <p:nvPr/>
        </p:nvGrpSpPr>
        <p:grpSpPr>
          <a:xfrm>
            <a:off x="9581443" y="4200236"/>
            <a:ext cx="2348549" cy="2813372"/>
            <a:chOff x="7186082" y="3150177"/>
            <a:chExt cx="1761412" cy="2110029"/>
          </a:xfrm>
        </p:grpSpPr>
        <p:pic>
          <p:nvPicPr>
            <p:cNvPr id="116" name="Picture 3" descr="https://lh6.googleusercontent.com/OJj71FP6p8alxoeZCl0ns4zYnjFOn6y28cZcvjrPJHXhgeoGVXk0MW_gcWiwsRHly1neENoXZ7u29zGp4Mtnt1id7SCBfG7mjSMGyIIfMHkv1S8HHTgZnD-FYyB9wWZOCXGocgSWzsI">
              <a:extLst>
                <a:ext uri="{FF2B5EF4-FFF2-40B4-BE49-F238E27FC236}">
                  <a16:creationId xmlns:a16="http://schemas.microsoft.com/office/drawing/2014/main" id="{AF85649F-B9BD-42A8-B83D-879F491924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2413" y="3150177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EF0C545E-EAD6-4DC3-812B-C8498E644CDE}"/>
                </a:ext>
              </a:extLst>
            </p:cNvPr>
            <p:cNvSpPr/>
            <p:nvPr/>
          </p:nvSpPr>
          <p:spPr>
            <a:xfrm>
              <a:off x="7186082" y="4636958"/>
              <a:ext cx="1761412" cy="623248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  <a:cs typeface="Google Sans" panose="020B0604020202020204" charset="0"/>
                </a:rPr>
                <a:t>SRE/ML Engineers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D3277620-A393-4D4E-A9A1-3FC4910E9310}"/>
              </a:ext>
            </a:extLst>
          </p:cNvPr>
          <p:cNvGrpSpPr/>
          <p:nvPr/>
        </p:nvGrpSpPr>
        <p:grpSpPr>
          <a:xfrm>
            <a:off x="3309712" y="1537862"/>
            <a:ext cx="1988233" cy="2366665"/>
            <a:chOff x="2482283" y="1153396"/>
            <a:chExt cx="1491175" cy="1774999"/>
          </a:xfrm>
        </p:grpSpPr>
        <p:pic>
          <p:nvPicPr>
            <p:cNvPr id="115" name="Picture 2" descr="https://lh3.googleusercontent.com/W5ZorUwdr19lfnMl5uUIjqSG-FazB-7D7ieSNS3wqmm3Jpeuprqi1ry1PWeUxD_3-O4TII-bvIGyK1vBeS3HPxs3LxAB1mB3Or6UZVOI4QGRZANHBW31j3VauHZH8hpX55UhYNVWYEY">
              <a:extLst>
                <a:ext uri="{FF2B5EF4-FFF2-40B4-BE49-F238E27FC236}">
                  <a16:creationId xmlns:a16="http://schemas.microsoft.com/office/drawing/2014/main" id="{B4199A15-AF88-4CC1-84CE-CA9866C00A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2284" y="1153396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303620CE-DA58-4B44-A558-B048E4CE10C7}"/>
                </a:ext>
              </a:extLst>
            </p:cNvPr>
            <p:cNvSpPr/>
            <p:nvPr/>
          </p:nvSpPr>
          <p:spPr>
            <a:xfrm>
              <a:off x="2482283" y="2582146"/>
              <a:ext cx="1491175" cy="346249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</a:rPr>
                <a:t>Data Scientist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pic>
        <p:nvPicPr>
          <p:cNvPr id="4098" name="Picture 2" descr="Image result for github logo">
            <a:extLst>
              <a:ext uri="{FF2B5EF4-FFF2-40B4-BE49-F238E27FC236}">
                <a16:creationId xmlns:a16="http://schemas.microsoft.com/office/drawing/2014/main" id="{FF95E88C-B28A-4CA5-BAAF-53ED36E48B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609" y="3124735"/>
            <a:ext cx="838052" cy="838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5" name="Group 124">
            <a:extLst>
              <a:ext uri="{FF2B5EF4-FFF2-40B4-BE49-F238E27FC236}">
                <a16:creationId xmlns:a16="http://schemas.microsoft.com/office/drawing/2014/main" id="{9897031C-11D8-49A1-B83B-C53458C26BEB}"/>
              </a:ext>
            </a:extLst>
          </p:cNvPr>
          <p:cNvGrpSpPr/>
          <p:nvPr/>
        </p:nvGrpSpPr>
        <p:grpSpPr>
          <a:xfrm>
            <a:off x="9036756" y="2269067"/>
            <a:ext cx="742243" cy="1617875"/>
            <a:chOff x="6777567" y="1701800"/>
            <a:chExt cx="556682" cy="1213406"/>
          </a:xfrm>
        </p:grpSpPr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781E7821-DA7C-49F3-8330-F1DFFBD48D05}"/>
                </a:ext>
              </a:extLst>
            </p:cNvPr>
            <p:cNvCxnSpPr>
              <a:cxnSpLocks/>
              <a:endCxn id="71" idx="1"/>
            </p:cNvCxnSpPr>
            <p:nvPr/>
          </p:nvCxnSpPr>
          <p:spPr>
            <a:xfrm>
              <a:off x="6777567" y="1701800"/>
              <a:ext cx="241337" cy="898061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7DBC96FC-5C66-42BC-9965-E4D5E94F3DC3}"/>
                </a:ext>
              </a:extLst>
            </p:cNvPr>
            <p:cNvGrpSpPr/>
            <p:nvPr/>
          </p:nvGrpSpPr>
          <p:grpSpPr>
            <a:xfrm>
              <a:off x="6964799" y="2545756"/>
              <a:ext cx="369450" cy="369450"/>
              <a:chOff x="7028296" y="2579622"/>
              <a:chExt cx="369450" cy="369450"/>
            </a:xfrm>
          </p:grpSpPr>
          <p:sp>
            <p:nvSpPr>
              <p:cNvPr id="71" name="Flowchart: Connector 70">
                <a:extLst>
                  <a:ext uri="{FF2B5EF4-FFF2-40B4-BE49-F238E27FC236}">
                    <a16:creationId xmlns:a16="http://schemas.microsoft.com/office/drawing/2014/main" id="{7C84B5BB-7EC4-4195-978F-D7DF9C1F8538}"/>
                  </a:ext>
                </a:extLst>
              </p:cNvPr>
              <p:cNvSpPr/>
              <p:nvPr/>
            </p:nvSpPr>
            <p:spPr>
              <a:xfrm>
                <a:off x="7028296" y="257962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72" name="Flowchart: Connector 71">
                <a:extLst>
                  <a:ext uri="{FF2B5EF4-FFF2-40B4-BE49-F238E27FC236}">
                    <a16:creationId xmlns:a16="http://schemas.microsoft.com/office/drawing/2014/main" id="{A006F225-E7E5-4128-A467-D85528E3E56B}"/>
                  </a:ext>
                </a:extLst>
              </p:cNvPr>
              <p:cNvSpPr/>
              <p:nvPr/>
            </p:nvSpPr>
            <p:spPr>
              <a:xfrm>
                <a:off x="7103969" y="265529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4F6DAF94-EC59-48A2-9889-4BD10A2A86EB}"/>
              </a:ext>
            </a:extLst>
          </p:cNvPr>
          <p:cNvGrpSpPr/>
          <p:nvPr/>
        </p:nvGrpSpPr>
        <p:grpSpPr>
          <a:xfrm>
            <a:off x="7730516" y="2003516"/>
            <a:ext cx="1554840" cy="492600"/>
            <a:chOff x="5797887" y="1502637"/>
            <a:chExt cx="1166130" cy="369450"/>
          </a:xfrm>
        </p:grpSpPr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F25F6568-0EAB-4CD6-8E3D-75A955F0AEC8}"/>
                </a:ext>
              </a:extLst>
            </p:cNvPr>
            <p:cNvCxnSpPr>
              <a:cxnSpLocks/>
              <a:stCxn id="66" idx="2"/>
              <a:endCxn id="68" idx="2"/>
            </p:cNvCxnSpPr>
            <p:nvPr/>
          </p:nvCxnSpPr>
          <p:spPr>
            <a:xfrm flipV="1">
              <a:off x="5797887" y="1687362"/>
              <a:ext cx="796680" cy="4842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3BF652D5-D625-4EA9-AF32-1D58E3817038}"/>
                </a:ext>
              </a:extLst>
            </p:cNvPr>
            <p:cNvGrpSpPr/>
            <p:nvPr/>
          </p:nvGrpSpPr>
          <p:grpSpPr>
            <a:xfrm>
              <a:off x="6594567" y="1502637"/>
              <a:ext cx="369450" cy="369450"/>
              <a:chOff x="6716678" y="1504205"/>
              <a:chExt cx="369450" cy="369450"/>
            </a:xfrm>
          </p:grpSpPr>
          <p:sp>
            <p:nvSpPr>
              <p:cNvPr id="68" name="Flowchart: Connector 67">
                <a:extLst>
                  <a:ext uri="{FF2B5EF4-FFF2-40B4-BE49-F238E27FC236}">
                    <a16:creationId xmlns:a16="http://schemas.microsoft.com/office/drawing/2014/main" id="{CC9F6E5A-1E2B-47E6-84F1-5AC9651D0533}"/>
                  </a:ext>
                </a:extLst>
              </p:cNvPr>
              <p:cNvSpPr/>
              <p:nvPr/>
            </p:nvSpPr>
            <p:spPr>
              <a:xfrm>
                <a:off x="6716678" y="1504205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9" name="Flowchart: Connector 68">
                <a:extLst>
                  <a:ext uri="{FF2B5EF4-FFF2-40B4-BE49-F238E27FC236}">
                    <a16:creationId xmlns:a16="http://schemas.microsoft.com/office/drawing/2014/main" id="{94E507CA-9F1C-4179-B947-A40D06F96F75}"/>
                  </a:ext>
                </a:extLst>
              </p:cNvPr>
              <p:cNvSpPr/>
              <p:nvPr/>
            </p:nvSpPr>
            <p:spPr>
              <a:xfrm>
                <a:off x="6792351" y="1579878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D59CED50-8211-4005-AC40-E6D4A150CCA0}"/>
              </a:ext>
            </a:extLst>
          </p:cNvPr>
          <p:cNvGrpSpPr/>
          <p:nvPr/>
        </p:nvGrpSpPr>
        <p:grpSpPr>
          <a:xfrm>
            <a:off x="7399869" y="2009973"/>
            <a:ext cx="722351" cy="1647628"/>
            <a:chOff x="5549901" y="1507479"/>
            <a:chExt cx="541763" cy="1235721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DE57D4-6214-4478-BC9F-C82255B66D0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549901" y="1871133"/>
              <a:ext cx="275166" cy="872067"/>
            </a:xfrm>
            <a:prstGeom prst="line">
              <a:avLst/>
            </a:prstGeom>
            <a:ln w="101600">
              <a:headEnd type="triangl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55E2614B-B9E4-4466-B017-1CBB6FEB91EA}"/>
                </a:ext>
              </a:extLst>
            </p:cNvPr>
            <p:cNvGrpSpPr/>
            <p:nvPr/>
          </p:nvGrpSpPr>
          <p:grpSpPr>
            <a:xfrm>
              <a:off x="5722214" y="1507479"/>
              <a:ext cx="369450" cy="369450"/>
              <a:chOff x="5723529" y="1508988"/>
              <a:chExt cx="369450" cy="369450"/>
            </a:xfrm>
          </p:grpSpPr>
          <p:sp>
            <p:nvSpPr>
              <p:cNvPr id="65" name="Flowchart: Connector 64">
                <a:extLst>
                  <a:ext uri="{FF2B5EF4-FFF2-40B4-BE49-F238E27FC236}">
                    <a16:creationId xmlns:a16="http://schemas.microsoft.com/office/drawing/2014/main" id="{7ABF41FC-A42E-4C42-88BA-7DF03B142DBB}"/>
                  </a:ext>
                </a:extLst>
              </p:cNvPr>
              <p:cNvSpPr/>
              <p:nvPr/>
            </p:nvSpPr>
            <p:spPr>
              <a:xfrm>
                <a:off x="5723529" y="1508988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6" name="Flowchart: Connector 65">
                <a:extLst>
                  <a:ext uri="{FF2B5EF4-FFF2-40B4-BE49-F238E27FC236}">
                    <a16:creationId xmlns:a16="http://schemas.microsoft.com/office/drawing/2014/main" id="{78C58395-A4E6-4CD9-AF97-681B5644C47F}"/>
                  </a:ext>
                </a:extLst>
              </p:cNvPr>
              <p:cNvSpPr/>
              <p:nvPr/>
            </p:nvSpPr>
            <p:spPr>
              <a:xfrm>
                <a:off x="5799202" y="1584661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C7FD450C-D210-426F-B4AF-624A2044C403}"/>
              </a:ext>
            </a:extLst>
          </p:cNvPr>
          <p:cNvGrpSpPr/>
          <p:nvPr/>
        </p:nvGrpSpPr>
        <p:grpSpPr>
          <a:xfrm>
            <a:off x="7061969" y="3392826"/>
            <a:ext cx="587537" cy="1765684"/>
            <a:chOff x="5296476" y="2544619"/>
            <a:chExt cx="440653" cy="1324263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99D4FA34-D6A5-4556-8E16-CA144FC9C6D6}"/>
                </a:ext>
              </a:extLst>
            </p:cNvPr>
            <p:cNvCxnSpPr>
              <a:cxnSpLocks/>
              <a:stCxn id="62" idx="4"/>
            </p:cNvCxnSpPr>
            <p:nvPr/>
          </p:nvCxnSpPr>
          <p:spPr>
            <a:xfrm flipH="1">
              <a:off x="5296476" y="2914069"/>
              <a:ext cx="255928" cy="954813"/>
            </a:xfrm>
            <a:prstGeom prst="line">
              <a:avLst/>
            </a:prstGeom>
            <a:ln w="101600">
              <a:headEnd type="triangl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15B2B652-8EC9-4F50-8697-2029004FDDEF}"/>
                </a:ext>
              </a:extLst>
            </p:cNvPr>
            <p:cNvGrpSpPr/>
            <p:nvPr/>
          </p:nvGrpSpPr>
          <p:grpSpPr>
            <a:xfrm>
              <a:off x="5367679" y="2544619"/>
              <a:ext cx="369450" cy="369450"/>
              <a:chOff x="5367679" y="2544619"/>
              <a:chExt cx="369450" cy="369450"/>
            </a:xfrm>
          </p:grpSpPr>
          <p:sp>
            <p:nvSpPr>
              <p:cNvPr id="62" name="Flowchart: Connector 61">
                <a:extLst>
                  <a:ext uri="{FF2B5EF4-FFF2-40B4-BE49-F238E27FC236}">
                    <a16:creationId xmlns:a16="http://schemas.microsoft.com/office/drawing/2014/main" id="{0586BC68-3312-45AE-AF82-9F8A694EE363}"/>
                  </a:ext>
                </a:extLst>
              </p:cNvPr>
              <p:cNvSpPr/>
              <p:nvPr/>
            </p:nvSpPr>
            <p:spPr>
              <a:xfrm>
                <a:off x="5367679" y="2544619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3" name="Flowchart: Connector 62">
                <a:extLst>
                  <a:ext uri="{FF2B5EF4-FFF2-40B4-BE49-F238E27FC236}">
                    <a16:creationId xmlns:a16="http://schemas.microsoft.com/office/drawing/2014/main" id="{2817CED9-3BEC-4524-B8A9-FDBC3A6CD25D}"/>
                  </a:ext>
                </a:extLst>
              </p:cNvPr>
              <p:cNvSpPr/>
              <p:nvPr/>
            </p:nvSpPr>
            <p:spPr>
              <a:xfrm>
                <a:off x="5443352" y="2620292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A392F682-267D-4A84-8D93-BD3C537E78F8}"/>
              </a:ext>
            </a:extLst>
          </p:cNvPr>
          <p:cNvGrpSpPr/>
          <p:nvPr/>
        </p:nvGrpSpPr>
        <p:grpSpPr>
          <a:xfrm>
            <a:off x="5345087" y="4906436"/>
            <a:ext cx="1970101" cy="492600"/>
            <a:chOff x="4008815" y="3679827"/>
            <a:chExt cx="1477576" cy="369450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6796C23C-8804-4245-A74E-0FD2746E859A}"/>
                </a:ext>
              </a:extLst>
            </p:cNvPr>
            <p:cNvCxnSpPr>
              <a:cxnSpLocks/>
              <a:stCxn id="57" idx="6"/>
              <a:endCxn id="59" idx="2"/>
            </p:cNvCxnSpPr>
            <p:nvPr/>
          </p:nvCxnSpPr>
          <p:spPr>
            <a:xfrm flipV="1">
              <a:off x="4008815" y="3864552"/>
              <a:ext cx="1108126" cy="2165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0233CCD1-9405-4FA4-A7D4-4EF763DB124F}"/>
                </a:ext>
              </a:extLst>
            </p:cNvPr>
            <p:cNvGrpSpPr/>
            <p:nvPr/>
          </p:nvGrpSpPr>
          <p:grpSpPr>
            <a:xfrm>
              <a:off x="5116941" y="3679827"/>
              <a:ext cx="369450" cy="369450"/>
              <a:chOff x="5116942" y="3653577"/>
              <a:chExt cx="369450" cy="369450"/>
            </a:xfrm>
          </p:grpSpPr>
          <p:sp>
            <p:nvSpPr>
              <p:cNvPr id="59" name="Flowchart: Connector 58">
                <a:extLst>
                  <a:ext uri="{FF2B5EF4-FFF2-40B4-BE49-F238E27FC236}">
                    <a16:creationId xmlns:a16="http://schemas.microsoft.com/office/drawing/2014/main" id="{53ED20BB-8180-41BB-BA55-FA82D54EB1A1}"/>
                  </a:ext>
                </a:extLst>
              </p:cNvPr>
              <p:cNvSpPr/>
              <p:nvPr/>
            </p:nvSpPr>
            <p:spPr>
              <a:xfrm>
                <a:off x="5116942" y="3653577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0" name="Flowchart: Connector 59">
                <a:extLst>
                  <a:ext uri="{FF2B5EF4-FFF2-40B4-BE49-F238E27FC236}">
                    <a16:creationId xmlns:a16="http://schemas.microsoft.com/office/drawing/2014/main" id="{8A13EF14-5515-4E08-8FE3-CFA4C1132C26}"/>
                  </a:ext>
                </a:extLst>
              </p:cNvPr>
              <p:cNvSpPr/>
              <p:nvPr/>
            </p:nvSpPr>
            <p:spPr>
              <a:xfrm>
                <a:off x="5192615" y="3729250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4954FD46-8EA4-4963-B700-0858D4244EAA}"/>
              </a:ext>
            </a:extLst>
          </p:cNvPr>
          <p:cNvGrpSpPr/>
          <p:nvPr/>
        </p:nvGrpSpPr>
        <p:grpSpPr>
          <a:xfrm>
            <a:off x="2646219" y="3643746"/>
            <a:ext cx="863989" cy="1747204"/>
            <a:chOff x="1984664" y="2732809"/>
            <a:chExt cx="647992" cy="1310403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6404DCC-90AE-4AC9-83E7-DFA8E7886A6C}"/>
                </a:ext>
              </a:extLst>
            </p:cNvPr>
            <p:cNvCxnSpPr>
              <a:cxnSpLocks/>
              <a:endCxn id="53" idx="1"/>
            </p:cNvCxnSpPr>
            <p:nvPr/>
          </p:nvCxnSpPr>
          <p:spPr>
            <a:xfrm>
              <a:off x="1984664" y="2732809"/>
              <a:ext cx="332647" cy="995058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E3B0A1DC-D93B-4ACB-96CE-86D22A8C5C1F}"/>
                </a:ext>
              </a:extLst>
            </p:cNvPr>
            <p:cNvGrpSpPr/>
            <p:nvPr/>
          </p:nvGrpSpPr>
          <p:grpSpPr>
            <a:xfrm>
              <a:off x="2263206" y="3673762"/>
              <a:ext cx="369450" cy="369450"/>
              <a:chOff x="2263206" y="3673762"/>
              <a:chExt cx="369450" cy="369450"/>
            </a:xfrm>
          </p:grpSpPr>
          <p:sp>
            <p:nvSpPr>
              <p:cNvPr id="53" name="Flowchart: Connector 52">
                <a:extLst>
                  <a:ext uri="{FF2B5EF4-FFF2-40B4-BE49-F238E27FC236}">
                    <a16:creationId xmlns:a16="http://schemas.microsoft.com/office/drawing/2014/main" id="{BC2155B0-99EE-4940-BB15-1641641349DF}"/>
                  </a:ext>
                </a:extLst>
              </p:cNvPr>
              <p:cNvSpPr/>
              <p:nvPr/>
            </p:nvSpPr>
            <p:spPr>
              <a:xfrm>
                <a:off x="2263206" y="367376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4" name="Flowchart: Connector 53">
                <a:extLst>
                  <a:ext uri="{FF2B5EF4-FFF2-40B4-BE49-F238E27FC236}">
                    <a16:creationId xmlns:a16="http://schemas.microsoft.com/office/drawing/2014/main" id="{299F4F19-09D0-441A-832B-5BB13748F1C2}"/>
                  </a:ext>
                </a:extLst>
              </p:cNvPr>
              <p:cNvSpPr/>
              <p:nvPr/>
            </p:nvSpPr>
            <p:spPr>
              <a:xfrm>
                <a:off x="2338879" y="374943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499F41B4-F665-44DC-8E57-27AB5BE7593B}"/>
              </a:ext>
            </a:extLst>
          </p:cNvPr>
          <p:cNvGrpSpPr/>
          <p:nvPr/>
        </p:nvGrpSpPr>
        <p:grpSpPr>
          <a:xfrm>
            <a:off x="1318288" y="3406424"/>
            <a:ext cx="1580517" cy="492600"/>
            <a:chOff x="988716" y="2554818"/>
            <a:chExt cx="1185388" cy="369450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A711515-B5AD-42F7-BA7A-103BF873B44D}"/>
                </a:ext>
              </a:extLst>
            </p:cNvPr>
            <p:cNvCxnSpPr>
              <a:cxnSpLocks/>
              <a:endCxn id="48" idx="2"/>
            </p:cNvCxnSpPr>
            <p:nvPr/>
          </p:nvCxnSpPr>
          <p:spPr>
            <a:xfrm>
              <a:off x="988716" y="2729344"/>
              <a:ext cx="815938" cy="10199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B8764121-7611-471D-AB48-40AD6B92DDC2}"/>
                </a:ext>
              </a:extLst>
            </p:cNvPr>
            <p:cNvGrpSpPr/>
            <p:nvPr/>
          </p:nvGrpSpPr>
          <p:grpSpPr>
            <a:xfrm>
              <a:off x="1804654" y="2554818"/>
              <a:ext cx="369450" cy="369450"/>
              <a:chOff x="1804654" y="2554818"/>
              <a:chExt cx="369450" cy="369450"/>
            </a:xfrm>
          </p:grpSpPr>
          <p:sp>
            <p:nvSpPr>
              <p:cNvPr id="48" name="Flowchart: Connector 47">
                <a:extLst>
                  <a:ext uri="{FF2B5EF4-FFF2-40B4-BE49-F238E27FC236}">
                    <a16:creationId xmlns:a16="http://schemas.microsoft.com/office/drawing/2014/main" id="{2F574874-E1C0-4C85-B566-25D1AD6D3AD5}"/>
                  </a:ext>
                </a:extLst>
              </p:cNvPr>
              <p:cNvSpPr/>
              <p:nvPr/>
            </p:nvSpPr>
            <p:spPr>
              <a:xfrm>
                <a:off x="1804654" y="2554818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0" name="Flowchart: Connector 49">
                <a:extLst>
                  <a:ext uri="{FF2B5EF4-FFF2-40B4-BE49-F238E27FC236}">
                    <a16:creationId xmlns:a16="http://schemas.microsoft.com/office/drawing/2014/main" id="{EFC55BE7-8058-4977-B413-25CBEF541600}"/>
                  </a:ext>
                </a:extLst>
              </p:cNvPr>
              <p:cNvSpPr/>
              <p:nvPr/>
            </p:nvSpPr>
            <p:spPr>
              <a:xfrm>
                <a:off x="1880327" y="2630491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77" name="TextBox 76">
            <a:extLst>
              <a:ext uri="{FF2B5EF4-FFF2-40B4-BE49-F238E27FC236}">
                <a16:creationId xmlns:a16="http://schemas.microsoft.com/office/drawing/2014/main" id="{F19E3E6B-9D07-46BD-BE56-D3DD72C6DB3B}"/>
              </a:ext>
            </a:extLst>
          </p:cNvPr>
          <p:cNvSpPr txBox="1"/>
          <p:nvPr/>
        </p:nvSpPr>
        <p:spPr>
          <a:xfrm>
            <a:off x="503239" y="1912390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1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E420FF29-250F-44AC-8644-78A8D6A37440}"/>
              </a:ext>
            </a:extLst>
          </p:cNvPr>
          <p:cNvSpPr txBox="1"/>
          <p:nvPr/>
        </p:nvSpPr>
        <p:spPr>
          <a:xfrm>
            <a:off x="503239" y="4680813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2</a:t>
            </a:r>
          </a:p>
        </p:txBody>
      </p:sp>
    </p:spTree>
    <p:extLst>
      <p:ext uri="{BB962C8B-B14F-4D97-AF65-F5344CB8AC3E}">
        <p14:creationId xmlns:p14="http://schemas.microsoft.com/office/powerpoint/2010/main" val="2346000223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itle 2">
            <a:extLst>
              <a:ext uri="{FF2B5EF4-FFF2-40B4-BE49-F238E27FC236}">
                <a16:creationId xmlns:a16="http://schemas.microsoft.com/office/drawing/2014/main" id="{319641BF-0E7B-43CC-8FB6-E346FF269F8F}"/>
              </a:ext>
            </a:extLst>
          </p:cNvPr>
          <p:cNvSpPr txBox="1">
            <a:spLocks/>
          </p:cNvSpPr>
          <p:nvPr/>
        </p:nvSpPr>
        <p:spPr>
          <a:xfrm>
            <a:off x="588263" y="457200"/>
            <a:ext cx="11018520" cy="769441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 algn="l" defTabSz="91419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4" b="0" kern="1200" cap="none" spc="-100" baseline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br>
              <a:rPr lang="en-US"/>
            </a:br>
            <a:endParaRPr lang="en-US" sz="1800" spc="-30">
              <a:solidFill>
                <a:schemeClr val="accent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1CD6BEB-4398-47E0-B836-A2A8DC5C606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6540" y="2094088"/>
            <a:ext cx="4530205" cy="2215991"/>
          </a:xfrm>
        </p:spPr>
        <p:txBody>
          <a:bodyPr/>
          <a:lstStyle/>
          <a:p>
            <a:pPr lvl="1"/>
            <a:r>
              <a:rPr lang="en-US" sz="4800" b="1" u="sng" dirty="0"/>
              <a:t>Azure </a:t>
            </a:r>
            <a:r>
              <a:rPr lang="en-US" sz="4800" b="1" u="sng" dirty="0" err="1"/>
              <a:t>MLOps</a:t>
            </a:r>
            <a:br>
              <a:rPr lang="en-US" sz="4800" b="1" u="sng" dirty="0"/>
            </a:br>
            <a:r>
              <a:rPr lang="en-US" sz="4800" b="1" dirty="0"/>
              <a:t>Brings ML to Production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D36671B2-4E12-4BC1-8BE4-D4F2BCF2BF04}"/>
              </a:ext>
            </a:extLst>
          </p:cNvPr>
          <p:cNvSpPr/>
          <p:nvPr/>
        </p:nvSpPr>
        <p:spPr bwMode="auto">
          <a:xfrm>
            <a:off x="5885322" y="812579"/>
            <a:ext cx="5400839" cy="5400839"/>
          </a:xfrm>
          <a:prstGeom prst="ellipse">
            <a:avLst/>
          </a:prstGeom>
          <a:ln w="12700" cap="sq">
            <a:solidFill>
              <a:schemeClr val="accent1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B76C33A-6A1B-49F3-9D07-E2C6BF2A6241}"/>
              </a:ext>
            </a:extLst>
          </p:cNvPr>
          <p:cNvSpPr/>
          <p:nvPr/>
        </p:nvSpPr>
        <p:spPr bwMode="auto">
          <a:xfrm rot="20621471">
            <a:off x="10628004" y="2018374"/>
            <a:ext cx="702340" cy="1237071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2" name="Rectangle 231">
            <a:extLst>
              <a:ext uri="{FF2B5EF4-FFF2-40B4-BE49-F238E27FC236}">
                <a16:creationId xmlns:a16="http://schemas.microsoft.com/office/drawing/2014/main" id="{6ACD0EFB-3AC7-0D4B-B247-3A3CF740EE93}"/>
              </a:ext>
            </a:extLst>
          </p:cNvPr>
          <p:cNvSpPr/>
          <p:nvPr/>
        </p:nvSpPr>
        <p:spPr bwMode="auto">
          <a:xfrm>
            <a:off x="6431250" y="4720821"/>
            <a:ext cx="1010790" cy="1529594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1" name="Rectangle 230">
            <a:extLst>
              <a:ext uri="{FF2B5EF4-FFF2-40B4-BE49-F238E27FC236}">
                <a16:creationId xmlns:a16="http://schemas.microsoft.com/office/drawing/2014/main" id="{92F9C066-AD08-7A4A-ACC1-A6EE38C27EA2}"/>
              </a:ext>
            </a:extLst>
          </p:cNvPr>
          <p:cNvSpPr/>
          <p:nvPr/>
        </p:nvSpPr>
        <p:spPr bwMode="auto">
          <a:xfrm>
            <a:off x="10210641" y="4977725"/>
            <a:ext cx="1178162" cy="127269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701A103-15AE-AE4A-9B9F-68B0C0A71AEA}"/>
              </a:ext>
            </a:extLst>
          </p:cNvPr>
          <p:cNvSpPr/>
          <p:nvPr/>
        </p:nvSpPr>
        <p:spPr bwMode="auto">
          <a:xfrm>
            <a:off x="5381552" y="2850356"/>
            <a:ext cx="1034727" cy="1200885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0609D5E1-9135-7944-9D38-BB89E4A0E250}"/>
              </a:ext>
            </a:extLst>
          </p:cNvPr>
          <p:cNvSpPr txBox="1"/>
          <p:nvPr/>
        </p:nvSpPr>
        <p:spPr>
          <a:xfrm>
            <a:off x="10267774" y="2745548"/>
            <a:ext cx="1630539" cy="4277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600"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pPr marL="0" marR="0" lvl="0" indent="0" algn="ctr" defTabSz="9140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gister and </a:t>
            </a:r>
            <a:br>
              <a:rPr kumimoji="0" lang="en-US" sz="117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en-US" sz="117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anage Model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8A00FAC3-AEC4-4944-AB77-F6BFB8241EE7}"/>
              </a:ext>
            </a:extLst>
          </p:cNvPr>
          <p:cNvSpPr txBox="1"/>
          <p:nvPr/>
        </p:nvSpPr>
        <p:spPr>
          <a:xfrm>
            <a:off x="10185239" y="5485618"/>
            <a:ext cx="851629" cy="4277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600"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pPr marL="0" marR="0" lvl="0" indent="0" algn="ctr" defTabSz="9140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uild Image</a:t>
            </a: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730F2D3D-4A4E-1846-A0C1-0B556171E2C2}"/>
              </a:ext>
            </a:extLst>
          </p:cNvPr>
          <p:cNvSpPr txBox="1"/>
          <p:nvPr/>
        </p:nvSpPr>
        <p:spPr>
          <a:xfrm>
            <a:off x="4759471" y="3552772"/>
            <a:ext cx="2357986" cy="4984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600"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pPr marL="0" marR="0" lvl="0" indent="0" algn="ctr" defTabSz="9140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uild model </a:t>
            </a:r>
            <a:br>
              <a:rPr kumimoji="0" lang="en-US" sz="137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en-US" sz="137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(your favorite IDE)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746F5C88-567F-5548-98EB-AB897B28E1E7}"/>
              </a:ext>
            </a:extLst>
          </p:cNvPr>
          <p:cNvSpPr txBox="1"/>
          <p:nvPr/>
        </p:nvSpPr>
        <p:spPr>
          <a:xfrm>
            <a:off x="6136061" y="5598699"/>
            <a:ext cx="1678076" cy="4277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600"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pPr marL="0" marR="0" lvl="0" indent="0" algn="ctr" defTabSz="9140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eploy Service</a:t>
            </a:r>
          </a:p>
          <a:p>
            <a:pPr marL="0" marR="0" lvl="0" indent="0" algn="ctr" defTabSz="9140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onitor Model</a:t>
            </a:r>
          </a:p>
        </p:txBody>
      </p:sp>
      <p:grpSp>
        <p:nvGrpSpPr>
          <p:cNvPr id="172" name="Group 171">
            <a:extLst>
              <a:ext uri="{FF2B5EF4-FFF2-40B4-BE49-F238E27FC236}">
                <a16:creationId xmlns:a16="http://schemas.microsoft.com/office/drawing/2014/main" id="{099025A5-4D5D-E740-8A49-61CE2A0DA3C8}"/>
              </a:ext>
            </a:extLst>
          </p:cNvPr>
          <p:cNvGrpSpPr/>
          <p:nvPr/>
        </p:nvGrpSpPr>
        <p:grpSpPr>
          <a:xfrm>
            <a:off x="6581326" y="4939713"/>
            <a:ext cx="627160" cy="555681"/>
            <a:chOff x="10902845" y="2693238"/>
            <a:chExt cx="644231" cy="570807"/>
          </a:xfrm>
        </p:grpSpPr>
        <p:sp>
          <p:nvSpPr>
            <p:cNvPr id="173" name="Freeform 146">
              <a:extLst>
                <a:ext uri="{FF2B5EF4-FFF2-40B4-BE49-F238E27FC236}">
                  <a16:creationId xmlns:a16="http://schemas.microsoft.com/office/drawing/2014/main" id="{FA98D7FB-324E-6042-9CC0-C9155CD3139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902845" y="2693238"/>
              <a:ext cx="644231" cy="407997"/>
            </a:xfrm>
            <a:custGeom>
              <a:avLst/>
              <a:gdLst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246680 w 878349"/>
                <a:gd name="connsiteY17" fmla="*/ 161619 h 545581"/>
                <a:gd name="connsiteX18" fmla="*/ 490507 w 878349"/>
                <a:gd name="connsiteY18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12 h 545593"/>
                <a:gd name="connsiteX1" fmla="*/ 755129 w 878349"/>
                <a:gd name="connsiteY1" fmla="*/ 264634 h 545593"/>
                <a:gd name="connsiteX2" fmla="*/ 753041 w 878349"/>
                <a:gd name="connsiteY2" fmla="*/ 285343 h 545593"/>
                <a:gd name="connsiteX3" fmla="*/ 798544 w 878349"/>
                <a:gd name="connsiteY3" fmla="*/ 294530 h 545593"/>
                <a:gd name="connsiteX4" fmla="*/ 878349 w 878349"/>
                <a:gd name="connsiteY4" fmla="*/ 414927 h 545593"/>
                <a:gd name="connsiteX5" fmla="*/ 798544 w 878349"/>
                <a:gd name="connsiteY5" fmla="*/ 535325 h 545593"/>
                <a:gd name="connsiteX6" fmla="*/ 759827 w 878349"/>
                <a:gd name="connsiteY6" fmla="*/ 543141 h 545593"/>
                <a:gd name="connsiteX7" fmla="*/ 753908 w 878349"/>
                <a:gd name="connsiteY7" fmla="*/ 545593 h 545593"/>
                <a:gd name="connsiteX8" fmla="*/ 747683 w 878349"/>
                <a:gd name="connsiteY8" fmla="*/ 545593 h 545593"/>
                <a:gd name="connsiteX9" fmla="*/ 190471 w 878349"/>
                <a:gd name="connsiteY9" fmla="*/ 545593 h 545593"/>
                <a:gd name="connsiteX10" fmla="*/ 166602 w 878349"/>
                <a:gd name="connsiteY10" fmla="*/ 545593 h 545593"/>
                <a:gd name="connsiteX11" fmla="*/ 158924 w 878349"/>
                <a:gd name="connsiteY11" fmla="*/ 542413 h 545593"/>
                <a:gd name="connsiteX12" fmla="*/ 152084 w 878349"/>
                <a:gd name="connsiteY12" fmla="*/ 541724 h 545593"/>
                <a:gd name="connsiteX13" fmla="*/ 0 w 878349"/>
                <a:gd name="connsiteY13" fmla="*/ 355122 h 545593"/>
                <a:gd name="connsiteX14" fmla="*/ 190471 w 878349"/>
                <a:gd name="connsiteY14" fmla="*/ 164651 h 545593"/>
                <a:gd name="connsiteX15" fmla="*/ 228858 w 878349"/>
                <a:gd name="connsiteY15" fmla="*/ 168521 h 545593"/>
                <a:gd name="connsiteX16" fmla="*/ 244320 w 878349"/>
                <a:gd name="connsiteY16" fmla="*/ 173321 h 545593"/>
                <a:gd name="connsiteX17" fmla="*/ 490507 w 878349"/>
                <a:gd name="connsiteY17" fmla="*/ 12 h 545593"/>
                <a:gd name="connsiteX0" fmla="*/ 490507 w 878349"/>
                <a:gd name="connsiteY0" fmla="*/ 13 h 545594"/>
                <a:gd name="connsiteX1" fmla="*/ 755129 w 878349"/>
                <a:gd name="connsiteY1" fmla="*/ 264635 h 545594"/>
                <a:gd name="connsiteX2" fmla="*/ 753041 w 878349"/>
                <a:gd name="connsiteY2" fmla="*/ 285344 h 545594"/>
                <a:gd name="connsiteX3" fmla="*/ 798544 w 878349"/>
                <a:gd name="connsiteY3" fmla="*/ 294531 h 545594"/>
                <a:gd name="connsiteX4" fmla="*/ 878349 w 878349"/>
                <a:gd name="connsiteY4" fmla="*/ 414928 h 545594"/>
                <a:gd name="connsiteX5" fmla="*/ 798544 w 878349"/>
                <a:gd name="connsiteY5" fmla="*/ 535326 h 545594"/>
                <a:gd name="connsiteX6" fmla="*/ 759827 w 878349"/>
                <a:gd name="connsiteY6" fmla="*/ 543142 h 545594"/>
                <a:gd name="connsiteX7" fmla="*/ 753908 w 878349"/>
                <a:gd name="connsiteY7" fmla="*/ 545594 h 545594"/>
                <a:gd name="connsiteX8" fmla="*/ 747683 w 878349"/>
                <a:gd name="connsiteY8" fmla="*/ 545594 h 545594"/>
                <a:gd name="connsiteX9" fmla="*/ 190471 w 878349"/>
                <a:gd name="connsiteY9" fmla="*/ 545594 h 545594"/>
                <a:gd name="connsiteX10" fmla="*/ 166602 w 878349"/>
                <a:gd name="connsiteY10" fmla="*/ 545594 h 545594"/>
                <a:gd name="connsiteX11" fmla="*/ 158924 w 878349"/>
                <a:gd name="connsiteY11" fmla="*/ 542414 h 545594"/>
                <a:gd name="connsiteX12" fmla="*/ 152084 w 878349"/>
                <a:gd name="connsiteY12" fmla="*/ 541725 h 545594"/>
                <a:gd name="connsiteX13" fmla="*/ 0 w 878349"/>
                <a:gd name="connsiteY13" fmla="*/ 355123 h 545594"/>
                <a:gd name="connsiteX14" fmla="*/ 190471 w 878349"/>
                <a:gd name="connsiteY14" fmla="*/ 164652 h 545594"/>
                <a:gd name="connsiteX15" fmla="*/ 228858 w 878349"/>
                <a:gd name="connsiteY15" fmla="*/ 168522 h 545594"/>
                <a:gd name="connsiteX16" fmla="*/ 244320 w 878349"/>
                <a:gd name="connsiteY16" fmla="*/ 173322 h 545594"/>
                <a:gd name="connsiteX17" fmla="*/ 490507 w 878349"/>
                <a:gd name="connsiteY17" fmla="*/ 13 h 545594"/>
                <a:gd name="connsiteX0" fmla="*/ 490507 w 878349"/>
                <a:gd name="connsiteY0" fmla="*/ 471 h 546052"/>
                <a:gd name="connsiteX1" fmla="*/ 755129 w 878349"/>
                <a:gd name="connsiteY1" fmla="*/ 265093 h 546052"/>
                <a:gd name="connsiteX2" fmla="*/ 753041 w 878349"/>
                <a:gd name="connsiteY2" fmla="*/ 285802 h 546052"/>
                <a:gd name="connsiteX3" fmla="*/ 798544 w 878349"/>
                <a:gd name="connsiteY3" fmla="*/ 294989 h 546052"/>
                <a:gd name="connsiteX4" fmla="*/ 878349 w 878349"/>
                <a:gd name="connsiteY4" fmla="*/ 415386 h 546052"/>
                <a:gd name="connsiteX5" fmla="*/ 798544 w 878349"/>
                <a:gd name="connsiteY5" fmla="*/ 535784 h 546052"/>
                <a:gd name="connsiteX6" fmla="*/ 759827 w 878349"/>
                <a:gd name="connsiteY6" fmla="*/ 543600 h 546052"/>
                <a:gd name="connsiteX7" fmla="*/ 753908 w 878349"/>
                <a:gd name="connsiteY7" fmla="*/ 546052 h 546052"/>
                <a:gd name="connsiteX8" fmla="*/ 747683 w 878349"/>
                <a:gd name="connsiteY8" fmla="*/ 546052 h 546052"/>
                <a:gd name="connsiteX9" fmla="*/ 190471 w 878349"/>
                <a:gd name="connsiteY9" fmla="*/ 546052 h 546052"/>
                <a:gd name="connsiteX10" fmla="*/ 166602 w 878349"/>
                <a:gd name="connsiteY10" fmla="*/ 546052 h 546052"/>
                <a:gd name="connsiteX11" fmla="*/ 158924 w 878349"/>
                <a:gd name="connsiteY11" fmla="*/ 542872 h 546052"/>
                <a:gd name="connsiteX12" fmla="*/ 152084 w 878349"/>
                <a:gd name="connsiteY12" fmla="*/ 542183 h 546052"/>
                <a:gd name="connsiteX13" fmla="*/ 0 w 878349"/>
                <a:gd name="connsiteY13" fmla="*/ 355581 h 546052"/>
                <a:gd name="connsiteX14" fmla="*/ 190471 w 878349"/>
                <a:gd name="connsiteY14" fmla="*/ 165110 h 546052"/>
                <a:gd name="connsiteX15" fmla="*/ 228858 w 878349"/>
                <a:gd name="connsiteY15" fmla="*/ 168980 h 546052"/>
                <a:gd name="connsiteX16" fmla="*/ 244320 w 878349"/>
                <a:gd name="connsiteY16" fmla="*/ 173780 h 546052"/>
                <a:gd name="connsiteX17" fmla="*/ 490507 w 878349"/>
                <a:gd name="connsiteY17" fmla="*/ 471 h 546052"/>
                <a:gd name="connsiteX0" fmla="*/ 490507 w 878349"/>
                <a:gd name="connsiteY0" fmla="*/ 2380 h 547961"/>
                <a:gd name="connsiteX1" fmla="*/ 753041 w 878349"/>
                <a:gd name="connsiteY1" fmla="*/ 287711 h 547961"/>
                <a:gd name="connsiteX2" fmla="*/ 798544 w 878349"/>
                <a:gd name="connsiteY2" fmla="*/ 296898 h 547961"/>
                <a:gd name="connsiteX3" fmla="*/ 878349 w 878349"/>
                <a:gd name="connsiteY3" fmla="*/ 417295 h 547961"/>
                <a:gd name="connsiteX4" fmla="*/ 798544 w 878349"/>
                <a:gd name="connsiteY4" fmla="*/ 537693 h 547961"/>
                <a:gd name="connsiteX5" fmla="*/ 759827 w 878349"/>
                <a:gd name="connsiteY5" fmla="*/ 545509 h 547961"/>
                <a:gd name="connsiteX6" fmla="*/ 753908 w 878349"/>
                <a:gd name="connsiteY6" fmla="*/ 547961 h 547961"/>
                <a:gd name="connsiteX7" fmla="*/ 747683 w 878349"/>
                <a:gd name="connsiteY7" fmla="*/ 547961 h 547961"/>
                <a:gd name="connsiteX8" fmla="*/ 190471 w 878349"/>
                <a:gd name="connsiteY8" fmla="*/ 547961 h 547961"/>
                <a:gd name="connsiteX9" fmla="*/ 166602 w 878349"/>
                <a:gd name="connsiteY9" fmla="*/ 547961 h 547961"/>
                <a:gd name="connsiteX10" fmla="*/ 158924 w 878349"/>
                <a:gd name="connsiteY10" fmla="*/ 544781 h 547961"/>
                <a:gd name="connsiteX11" fmla="*/ 152084 w 878349"/>
                <a:gd name="connsiteY11" fmla="*/ 544092 h 547961"/>
                <a:gd name="connsiteX12" fmla="*/ 0 w 878349"/>
                <a:gd name="connsiteY12" fmla="*/ 357490 h 547961"/>
                <a:gd name="connsiteX13" fmla="*/ 190471 w 878349"/>
                <a:gd name="connsiteY13" fmla="*/ 167019 h 547961"/>
                <a:gd name="connsiteX14" fmla="*/ 228858 w 878349"/>
                <a:gd name="connsiteY14" fmla="*/ 170889 h 547961"/>
                <a:gd name="connsiteX15" fmla="*/ 244320 w 878349"/>
                <a:gd name="connsiteY15" fmla="*/ 175689 h 547961"/>
                <a:gd name="connsiteX16" fmla="*/ 490507 w 878349"/>
                <a:gd name="connsiteY16" fmla="*/ 2380 h 547961"/>
                <a:gd name="connsiteX0" fmla="*/ 490507 w 878349"/>
                <a:gd name="connsiteY0" fmla="*/ 30 h 545611"/>
                <a:gd name="connsiteX1" fmla="*/ 753041 w 878349"/>
                <a:gd name="connsiteY1" fmla="*/ 285361 h 545611"/>
                <a:gd name="connsiteX2" fmla="*/ 798544 w 878349"/>
                <a:gd name="connsiteY2" fmla="*/ 294548 h 545611"/>
                <a:gd name="connsiteX3" fmla="*/ 878349 w 878349"/>
                <a:gd name="connsiteY3" fmla="*/ 414945 h 545611"/>
                <a:gd name="connsiteX4" fmla="*/ 798544 w 878349"/>
                <a:gd name="connsiteY4" fmla="*/ 535343 h 545611"/>
                <a:gd name="connsiteX5" fmla="*/ 759827 w 878349"/>
                <a:gd name="connsiteY5" fmla="*/ 543159 h 545611"/>
                <a:gd name="connsiteX6" fmla="*/ 753908 w 878349"/>
                <a:gd name="connsiteY6" fmla="*/ 545611 h 545611"/>
                <a:gd name="connsiteX7" fmla="*/ 747683 w 878349"/>
                <a:gd name="connsiteY7" fmla="*/ 545611 h 545611"/>
                <a:gd name="connsiteX8" fmla="*/ 190471 w 878349"/>
                <a:gd name="connsiteY8" fmla="*/ 545611 h 545611"/>
                <a:gd name="connsiteX9" fmla="*/ 166602 w 878349"/>
                <a:gd name="connsiteY9" fmla="*/ 545611 h 545611"/>
                <a:gd name="connsiteX10" fmla="*/ 158924 w 878349"/>
                <a:gd name="connsiteY10" fmla="*/ 542431 h 545611"/>
                <a:gd name="connsiteX11" fmla="*/ 152084 w 878349"/>
                <a:gd name="connsiteY11" fmla="*/ 541742 h 545611"/>
                <a:gd name="connsiteX12" fmla="*/ 0 w 878349"/>
                <a:gd name="connsiteY12" fmla="*/ 355140 h 545611"/>
                <a:gd name="connsiteX13" fmla="*/ 190471 w 878349"/>
                <a:gd name="connsiteY13" fmla="*/ 164669 h 545611"/>
                <a:gd name="connsiteX14" fmla="*/ 228858 w 878349"/>
                <a:gd name="connsiteY14" fmla="*/ 168539 h 545611"/>
                <a:gd name="connsiteX15" fmla="*/ 244320 w 878349"/>
                <a:gd name="connsiteY15" fmla="*/ 173339 h 545611"/>
                <a:gd name="connsiteX16" fmla="*/ 490507 w 878349"/>
                <a:gd name="connsiteY16" fmla="*/ 30 h 545611"/>
                <a:gd name="connsiteX0" fmla="*/ 490507 w 878349"/>
                <a:gd name="connsiteY0" fmla="*/ 30 h 545611"/>
                <a:gd name="connsiteX1" fmla="*/ 753041 w 878349"/>
                <a:gd name="connsiteY1" fmla="*/ 285361 h 545611"/>
                <a:gd name="connsiteX2" fmla="*/ 798544 w 878349"/>
                <a:gd name="connsiteY2" fmla="*/ 294548 h 545611"/>
                <a:gd name="connsiteX3" fmla="*/ 878349 w 878349"/>
                <a:gd name="connsiteY3" fmla="*/ 414945 h 545611"/>
                <a:gd name="connsiteX4" fmla="*/ 798544 w 878349"/>
                <a:gd name="connsiteY4" fmla="*/ 535343 h 545611"/>
                <a:gd name="connsiteX5" fmla="*/ 759827 w 878349"/>
                <a:gd name="connsiteY5" fmla="*/ 543159 h 545611"/>
                <a:gd name="connsiteX6" fmla="*/ 753908 w 878349"/>
                <a:gd name="connsiteY6" fmla="*/ 545611 h 545611"/>
                <a:gd name="connsiteX7" fmla="*/ 747683 w 878349"/>
                <a:gd name="connsiteY7" fmla="*/ 545611 h 545611"/>
                <a:gd name="connsiteX8" fmla="*/ 190471 w 878349"/>
                <a:gd name="connsiteY8" fmla="*/ 545611 h 545611"/>
                <a:gd name="connsiteX9" fmla="*/ 166602 w 878349"/>
                <a:gd name="connsiteY9" fmla="*/ 545611 h 545611"/>
                <a:gd name="connsiteX10" fmla="*/ 158924 w 878349"/>
                <a:gd name="connsiteY10" fmla="*/ 542431 h 545611"/>
                <a:gd name="connsiteX11" fmla="*/ 152084 w 878349"/>
                <a:gd name="connsiteY11" fmla="*/ 541742 h 545611"/>
                <a:gd name="connsiteX12" fmla="*/ 0 w 878349"/>
                <a:gd name="connsiteY12" fmla="*/ 355140 h 545611"/>
                <a:gd name="connsiteX13" fmla="*/ 190471 w 878349"/>
                <a:gd name="connsiteY13" fmla="*/ 164669 h 545611"/>
                <a:gd name="connsiteX14" fmla="*/ 228858 w 878349"/>
                <a:gd name="connsiteY14" fmla="*/ 168539 h 545611"/>
                <a:gd name="connsiteX15" fmla="*/ 244320 w 878349"/>
                <a:gd name="connsiteY15" fmla="*/ 173339 h 545611"/>
                <a:gd name="connsiteX16" fmla="*/ 490507 w 878349"/>
                <a:gd name="connsiteY16" fmla="*/ 30 h 545611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526204 w 878349"/>
                <a:gd name="connsiteY0" fmla="*/ 25 h 542852"/>
                <a:gd name="connsiteX1" fmla="*/ 753041 w 878349"/>
                <a:gd name="connsiteY1" fmla="*/ 282602 h 542852"/>
                <a:gd name="connsiteX2" fmla="*/ 798544 w 878349"/>
                <a:gd name="connsiteY2" fmla="*/ 291789 h 542852"/>
                <a:gd name="connsiteX3" fmla="*/ 878349 w 878349"/>
                <a:gd name="connsiteY3" fmla="*/ 412186 h 542852"/>
                <a:gd name="connsiteX4" fmla="*/ 798544 w 878349"/>
                <a:gd name="connsiteY4" fmla="*/ 532584 h 542852"/>
                <a:gd name="connsiteX5" fmla="*/ 759827 w 878349"/>
                <a:gd name="connsiteY5" fmla="*/ 540400 h 542852"/>
                <a:gd name="connsiteX6" fmla="*/ 753908 w 878349"/>
                <a:gd name="connsiteY6" fmla="*/ 542852 h 542852"/>
                <a:gd name="connsiteX7" fmla="*/ 747683 w 878349"/>
                <a:gd name="connsiteY7" fmla="*/ 542852 h 542852"/>
                <a:gd name="connsiteX8" fmla="*/ 190471 w 878349"/>
                <a:gd name="connsiteY8" fmla="*/ 542852 h 542852"/>
                <a:gd name="connsiteX9" fmla="*/ 166602 w 878349"/>
                <a:gd name="connsiteY9" fmla="*/ 542852 h 542852"/>
                <a:gd name="connsiteX10" fmla="*/ 158924 w 878349"/>
                <a:gd name="connsiteY10" fmla="*/ 539672 h 542852"/>
                <a:gd name="connsiteX11" fmla="*/ 152084 w 878349"/>
                <a:gd name="connsiteY11" fmla="*/ 538983 h 542852"/>
                <a:gd name="connsiteX12" fmla="*/ 0 w 878349"/>
                <a:gd name="connsiteY12" fmla="*/ 352381 h 542852"/>
                <a:gd name="connsiteX13" fmla="*/ 190471 w 878349"/>
                <a:gd name="connsiteY13" fmla="*/ 161910 h 542852"/>
                <a:gd name="connsiteX14" fmla="*/ 228858 w 878349"/>
                <a:gd name="connsiteY14" fmla="*/ 165780 h 542852"/>
                <a:gd name="connsiteX15" fmla="*/ 244320 w 878349"/>
                <a:gd name="connsiteY15" fmla="*/ 170580 h 542852"/>
                <a:gd name="connsiteX16" fmla="*/ 526204 w 878349"/>
                <a:gd name="connsiteY16" fmla="*/ 25 h 542852"/>
                <a:gd name="connsiteX0" fmla="*/ 526204 w 878349"/>
                <a:gd name="connsiteY0" fmla="*/ 3284 h 546111"/>
                <a:gd name="connsiteX1" fmla="*/ 753041 w 878349"/>
                <a:gd name="connsiteY1" fmla="*/ 285861 h 546111"/>
                <a:gd name="connsiteX2" fmla="*/ 798544 w 878349"/>
                <a:gd name="connsiteY2" fmla="*/ 295048 h 546111"/>
                <a:gd name="connsiteX3" fmla="*/ 878349 w 878349"/>
                <a:gd name="connsiteY3" fmla="*/ 415445 h 546111"/>
                <a:gd name="connsiteX4" fmla="*/ 798544 w 878349"/>
                <a:gd name="connsiteY4" fmla="*/ 535843 h 546111"/>
                <a:gd name="connsiteX5" fmla="*/ 759827 w 878349"/>
                <a:gd name="connsiteY5" fmla="*/ 543659 h 546111"/>
                <a:gd name="connsiteX6" fmla="*/ 753908 w 878349"/>
                <a:gd name="connsiteY6" fmla="*/ 546111 h 546111"/>
                <a:gd name="connsiteX7" fmla="*/ 747683 w 878349"/>
                <a:gd name="connsiteY7" fmla="*/ 546111 h 546111"/>
                <a:gd name="connsiteX8" fmla="*/ 190471 w 878349"/>
                <a:gd name="connsiteY8" fmla="*/ 546111 h 546111"/>
                <a:gd name="connsiteX9" fmla="*/ 166602 w 878349"/>
                <a:gd name="connsiteY9" fmla="*/ 546111 h 546111"/>
                <a:gd name="connsiteX10" fmla="*/ 158924 w 878349"/>
                <a:gd name="connsiteY10" fmla="*/ 542931 h 546111"/>
                <a:gd name="connsiteX11" fmla="*/ 152084 w 878349"/>
                <a:gd name="connsiteY11" fmla="*/ 542242 h 546111"/>
                <a:gd name="connsiteX12" fmla="*/ 0 w 878349"/>
                <a:gd name="connsiteY12" fmla="*/ 355640 h 546111"/>
                <a:gd name="connsiteX13" fmla="*/ 190471 w 878349"/>
                <a:gd name="connsiteY13" fmla="*/ 165169 h 546111"/>
                <a:gd name="connsiteX14" fmla="*/ 228858 w 878349"/>
                <a:gd name="connsiteY14" fmla="*/ 169039 h 546111"/>
                <a:gd name="connsiteX15" fmla="*/ 244320 w 878349"/>
                <a:gd name="connsiteY15" fmla="*/ 173839 h 546111"/>
                <a:gd name="connsiteX16" fmla="*/ 526204 w 878349"/>
                <a:gd name="connsiteY16" fmla="*/ 3284 h 546111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912 h 543739"/>
                <a:gd name="connsiteX1" fmla="*/ 753041 w 878349"/>
                <a:gd name="connsiteY1" fmla="*/ 283489 h 543739"/>
                <a:gd name="connsiteX2" fmla="*/ 798544 w 878349"/>
                <a:gd name="connsiteY2" fmla="*/ 292676 h 543739"/>
                <a:gd name="connsiteX3" fmla="*/ 878349 w 878349"/>
                <a:gd name="connsiteY3" fmla="*/ 413073 h 543739"/>
                <a:gd name="connsiteX4" fmla="*/ 798544 w 878349"/>
                <a:gd name="connsiteY4" fmla="*/ 533471 h 543739"/>
                <a:gd name="connsiteX5" fmla="*/ 759827 w 878349"/>
                <a:gd name="connsiteY5" fmla="*/ 541287 h 543739"/>
                <a:gd name="connsiteX6" fmla="*/ 753908 w 878349"/>
                <a:gd name="connsiteY6" fmla="*/ 543739 h 543739"/>
                <a:gd name="connsiteX7" fmla="*/ 747683 w 878349"/>
                <a:gd name="connsiteY7" fmla="*/ 543739 h 543739"/>
                <a:gd name="connsiteX8" fmla="*/ 190471 w 878349"/>
                <a:gd name="connsiteY8" fmla="*/ 543739 h 543739"/>
                <a:gd name="connsiteX9" fmla="*/ 166602 w 878349"/>
                <a:gd name="connsiteY9" fmla="*/ 543739 h 543739"/>
                <a:gd name="connsiteX10" fmla="*/ 158924 w 878349"/>
                <a:gd name="connsiteY10" fmla="*/ 540559 h 543739"/>
                <a:gd name="connsiteX11" fmla="*/ 152084 w 878349"/>
                <a:gd name="connsiteY11" fmla="*/ 539870 h 543739"/>
                <a:gd name="connsiteX12" fmla="*/ 0 w 878349"/>
                <a:gd name="connsiteY12" fmla="*/ 353268 h 543739"/>
                <a:gd name="connsiteX13" fmla="*/ 190471 w 878349"/>
                <a:gd name="connsiteY13" fmla="*/ 162797 h 543739"/>
                <a:gd name="connsiteX14" fmla="*/ 228858 w 878349"/>
                <a:gd name="connsiteY14" fmla="*/ 166667 h 543739"/>
                <a:gd name="connsiteX15" fmla="*/ 244320 w 878349"/>
                <a:gd name="connsiteY15" fmla="*/ 171467 h 543739"/>
                <a:gd name="connsiteX16" fmla="*/ 526204 w 878349"/>
                <a:gd name="connsiteY16" fmla="*/ 912 h 543739"/>
                <a:gd name="connsiteX0" fmla="*/ 526204 w 878349"/>
                <a:gd name="connsiteY0" fmla="*/ 2110 h 544937"/>
                <a:gd name="connsiteX1" fmla="*/ 753041 w 878349"/>
                <a:gd name="connsiteY1" fmla="*/ 284687 h 544937"/>
                <a:gd name="connsiteX2" fmla="*/ 798544 w 878349"/>
                <a:gd name="connsiteY2" fmla="*/ 293874 h 544937"/>
                <a:gd name="connsiteX3" fmla="*/ 878349 w 878349"/>
                <a:gd name="connsiteY3" fmla="*/ 414271 h 544937"/>
                <a:gd name="connsiteX4" fmla="*/ 798544 w 878349"/>
                <a:gd name="connsiteY4" fmla="*/ 534669 h 544937"/>
                <a:gd name="connsiteX5" fmla="*/ 759827 w 878349"/>
                <a:gd name="connsiteY5" fmla="*/ 542485 h 544937"/>
                <a:gd name="connsiteX6" fmla="*/ 753908 w 878349"/>
                <a:gd name="connsiteY6" fmla="*/ 544937 h 544937"/>
                <a:gd name="connsiteX7" fmla="*/ 747683 w 878349"/>
                <a:gd name="connsiteY7" fmla="*/ 544937 h 544937"/>
                <a:gd name="connsiteX8" fmla="*/ 190471 w 878349"/>
                <a:gd name="connsiteY8" fmla="*/ 544937 h 544937"/>
                <a:gd name="connsiteX9" fmla="*/ 166602 w 878349"/>
                <a:gd name="connsiteY9" fmla="*/ 544937 h 544937"/>
                <a:gd name="connsiteX10" fmla="*/ 158924 w 878349"/>
                <a:gd name="connsiteY10" fmla="*/ 541757 h 544937"/>
                <a:gd name="connsiteX11" fmla="*/ 152084 w 878349"/>
                <a:gd name="connsiteY11" fmla="*/ 541068 h 544937"/>
                <a:gd name="connsiteX12" fmla="*/ 0 w 878349"/>
                <a:gd name="connsiteY12" fmla="*/ 354466 h 544937"/>
                <a:gd name="connsiteX13" fmla="*/ 190471 w 878349"/>
                <a:gd name="connsiteY13" fmla="*/ 163995 h 544937"/>
                <a:gd name="connsiteX14" fmla="*/ 228858 w 878349"/>
                <a:gd name="connsiteY14" fmla="*/ 167865 h 544937"/>
                <a:gd name="connsiteX15" fmla="*/ 244320 w 878349"/>
                <a:gd name="connsiteY15" fmla="*/ 172665 h 544937"/>
                <a:gd name="connsiteX16" fmla="*/ 526204 w 878349"/>
                <a:gd name="connsiteY16" fmla="*/ 2110 h 544937"/>
                <a:gd name="connsiteX0" fmla="*/ 526204 w 878349"/>
                <a:gd name="connsiteY0" fmla="*/ 2045 h 544872"/>
                <a:gd name="connsiteX1" fmla="*/ 753041 w 878349"/>
                <a:gd name="connsiteY1" fmla="*/ 284622 h 544872"/>
                <a:gd name="connsiteX2" fmla="*/ 798544 w 878349"/>
                <a:gd name="connsiteY2" fmla="*/ 293809 h 544872"/>
                <a:gd name="connsiteX3" fmla="*/ 878349 w 878349"/>
                <a:gd name="connsiteY3" fmla="*/ 414206 h 544872"/>
                <a:gd name="connsiteX4" fmla="*/ 798544 w 878349"/>
                <a:gd name="connsiteY4" fmla="*/ 534604 h 544872"/>
                <a:gd name="connsiteX5" fmla="*/ 759827 w 878349"/>
                <a:gd name="connsiteY5" fmla="*/ 542420 h 544872"/>
                <a:gd name="connsiteX6" fmla="*/ 753908 w 878349"/>
                <a:gd name="connsiteY6" fmla="*/ 544872 h 544872"/>
                <a:gd name="connsiteX7" fmla="*/ 747683 w 878349"/>
                <a:gd name="connsiteY7" fmla="*/ 544872 h 544872"/>
                <a:gd name="connsiteX8" fmla="*/ 190471 w 878349"/>
                <a:gd name="connsiteY8" fmla="*/ 544872 h 544872"/>
                <a:gd name="connsiteX9" fmla="*/ 166602 w 878349"/>
                <a:gd name="connsiteY9" fmla="*/ 544872 h 544872"/>
                <a:gd name="connsiteX10" fmla="*/ 158924 w 878349"/>
                <a:gd name="connsiteY10" fmla="*/ 541692 h 544872"/>
                <a:gd name="connsiteX11" fmla="*/ 152084 w 878349"/>
                <a:gd name="connsiteY11" fmla="*/ 541003 h 544872"/>
                <a:gd name="connsiteX12" fmla="*/ 0 w 878349"/>
                <a:gd name="connsiteY12" fmla="*/ 354401 h 544872"/>
                <a:gd name="connsiteX13" fmla="*/ 190471 w 878349"/>
                <a:gd name="connsiteY13" fmla="*/ 163930 h 544872"/>
                <a:gd name="connsiteX14" fmla="*/ 228858 w 878349"/>
                <a:gd name="connsiteY14" fmla="*/ 167800 h 544872"/>
                <a:gd name="connsiteX15" fmla="*/ 244320 w 878349"/>
                <a:gd name="connsiteY15" fmla="*/ 172600 h 544872"/>
                <a:gd name="connsiteX16" fmla="*/ 526204 w 878349"/>
                <a:gd name="connsiteY16" fmla="*/ 2045 h 544872"/>
                <a:gd name="connsiteX0" fmla="*/ 526204 w 878349"/>
                <a:gd name="connsiteY0" fmla="*/ 3099 h 545926"/>
                <a:gd name="connsiteX1" fmla="*/ 753041 w 878349"/>
                <a:gd name="connsiteY1" fmla="*/ 285676 h 545926"/>
                <a:gd name="connsiteX2" fmla="*/ 798544 w 878349"/>
                <a:gd name="connsiteY2" fmla="*/ 294863 h 545926"/>
                <a:gd name="connsiteX3" fmla="*/ 878349 w 878349"/>
                <a:gd name="connsiteY3" fmla="*/ 415260 h 545926"/>
                <a:gd name="connsiteX4" fmla="*/ 798544 w 878349"/>
                <a:gd name="connsiteY4" fmla="*/ 535658 h 545926"/>
                <a:gd name="connsiteX5" fmla="*/ 759827 w 878349"/>
                <a:gd name="connsiteY5" fmla="*/ 543474 h 545926"/>
                <a:gd name="connsiteX6" fmla="*/ 753908 w 878349"/>
                <a:gd name="connsiteY6" fmla="*/ 545926 h 545926"/>
                <a:gd name="connsiteX7" fmla="*/ 747683 w 878349"/>
                <a:gd name="connsiteY7" fmla="*/ 545926 h 545926"/>
                <a:gd name="connsiteX8" fmla="*/ 190471 w 878349"/>
                <a:gd name="connsiteY8" fmla="*/ 545926 h 545926"/>
                <a:gd name="connsiteX9" fmla="*/ 166602 w 878349"/>
                <a:gd name="connsiteY9" fmla="*/ 545926 h 545926"/>
                <a:gd name="connsiteX10" fmla="*/ 158924 w 878349"/>
                <a:gd name="connsiteY10" fmla="*/ 542746 h 545926"/>
                <a:gd name="connsiteX11" fmla="*/ 152084 w 878349"/>
                <a:gd name="connsiteY11" fmla="*/ 542057 h 545926"/>
                <a:gd name="connsiteX12" fmla="*/ 0 w 878349"/>
                <a:gd name="connsiteY12" fmla="*/ 355455 h 545926"/>
                <a:gd name="connsiteX13" fmla="*/ 190471 w 878349"/>
                <a:gd name="connsiteY13" fmla="*/ 164984 h 545926"/>
                <a:gd name="connsiteX14" fmla="*/ 228858 w 878349"/>
                <a:gd name="connsiteY14" fmla="*/ 168854 h 545926"/>
                <a:gd name="connsiteX15" fmla="*/ 244320 w 878349"/>
                <a:gd name="connsiteY15" fmla="*/ 173654 h 545926"/>
                <a:gd name="connsiteX16" fmla="*/ 526204 w 878349"/>
                <a:gd name="connsiteY16" fmla="*/ 3099 h 545926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798544 w 878349"/>
                <a:gd name="connsiteY2" fmla="*/ 294587 h 545650"/>
                <a:gd name="connsiteX3" fmla="*/ 878349 w 878349"/>
                <a:gd name="connsiteY3" fmla="*/ 414984 h 545650"/>
                <a:gd name="connsiteX4" fmla="*/ 798544 w 878349"/>
                <a:gd name="connsiteY4" fmla="*/ 535382 h 545650"/>
                <a:gd name="connsiteX5" fmla="*/ 759827 w 878349"/>
                <a:gd name="connsiteY5" fmla="*/ 543198 h 545650"/>
                <a:gd name="connsiteX6" fmla="*/ 753908 w 878349"/>
                <a:gd name="connsiteY6" fmla="*/ 545650 h 545650"/>
                <a:gd name="connsiteX7" fmla="*/ 747683 w 878349"/>
                <a:gd name="connsiteY7" fmla="*/ 545650 h 545650"/>
                <a:gd name="connsiteX8" fmla="*/ 190471 w 878349"/>
                <a:gd name="connsiteY8" fmla="*/ 545650 h 545650"/>
                <a:gd name="connsiteX9" fmla="*/ 166602 w 878349"/>
                <a:gd name="connsiteY9" fmla="*/ 545650 h 545650"/>
                <a:gd name="connsiteX10" fmla="*/ 158924 w 878349"/>
                <a:gd name="connsiteY10" fmla="*/ 542470 h 545650"/>
                <a:gd name="connsiteX11" fmla="*/ 152084 w 878349"/>
                <a:gd name="connsiteY11" fmla="*/ 541781 h 545650"/>
                <a:gd name="connsiteX12" fmla="*/ 0 w 878349"/>
                <a:gd name="connsiteY12" fmla="*/ 355179 h 545650"/>
                <a:gd name="connsiteX13" fmla="*/ 190471 w 878349"/>
                <a:gd name="connsiteY13" fmla="*/ 164708 h 545650"/>
                <a:gd name="connsiteX14" fmla="*/ 228858 w 878349"/>
                <a:gd name="connsiteY14" fmla="*/ 168578 h 545650"/>
                <a:gd name="connsiteX15" fmla="*/ 244320 w 878349"/>
                <a:gd name="connsiteY15" fmla="*/ 173378 h 545650"/>
                <a:gd name="connsiteX16" fmla="*/ 526204 w 878349"/>
                <a:gd name="connsiteY16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59827 w 878349"/>
                <a:gd name="connsiteY4" fmla="*/ 543198 h 545650"/>
                <a:gd name="connsiteX5" fmla="*/ 753908 w 878349"/>
                <a:gd name="connsiteY5" fmla="*/ 545650 h 545650"/>
                <a:gd name="connsiteX6" fmla="*/ 747683 w 878349"/>
                <a:gd name="connsiteY6" fmla="*/ 545650 h 545650"/>
                <a:gd name="connsiteX7" fmla="*/ 190471 w 878349"/>
                <a:gd name="connsiteY7" fmla="*/ 545650 h 545650"/>
                <a:gd name="connsiteX8" fmla="*/ 166602 w 878349"/>
                <a:gd name="connsiteY8" fmla="*/ 545650 h 545650"/>
                <a:gd name="connsiteX9" fmla="*/ 158924 w 878349"/>
                <a:gd name="connsiteY9" fmla="*/ 542470 h 545650"/>
                <a:gd name="connsiteX10" fmla="*/ 152084 w 878349"/>
                <a:gd name="connsiteY10" fmla="*/ 541781 h 545650"/>
                <a:gd name="connsiteX11" fmla="*/ 0 w 878349"/>
                <a:gd name="connsiteY11" fmla="*/ 355179 h 545650"/>
                <a:gd name="connsiteX12" fmla="*/ 190471 w 878349"/>
                <a:gd name="connsiteY12" fmla="*/ 164708 h 545650"/>
                <a:gd name="connsiteX13" fmla="*/ 228858 w 878349"/>
                <a:gd name="connsiteY13" fmla="*/ 168578 h 545650"/>
                <a:gd name="connsiteX14" fmla="*/ 244320 w 878349"/>
                <a:gd name="connsiteY14" fmla="*/ 173378 h 545650"/>
                <a:gd name="connsiteX15" fmla="*/ 526204 w 878349"/>
                <a:gd name="connsiteY15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59827 w 878349"/>
                <a:gd name="connsiteY4" fmla="*/ 543198 h 545650"/>
                <a:gd name="connsiteX5" fmla="*/ 747683 w 878349"/>
                <a:gd name="connsiteY5" fmla="*/ 545650 h 545650"/>
                <a:gd name="connsiteX6" fmla="*/ 190471 w 878349"/>
                <a:gd name="connsiteY6" fmla="*/ 545650 h 545650"/>
                <a:gd name="connsiteX7" fmla="*/ 166602 w 878349"/>
                <a:gd name="connsiteY7" fmla="*/ 545650 h 545650"/>
                <a:gd name="connsiteX8" fmla="*/ 158924 w 878349"/>
                <a:gd name="connsiteY8" fmla="*/ 542470 h 545650"/>
                <a:gd name="connsiteX9" fmla="*/ 152084 w 878349"/>
                <a:gd name="connsiteY9" fmla="*/ 541781 h 545650"/>
                <a:gd name="connsiteX10" fmla="*/ 0 w 878349"/>
                <a:gd name="connsiteY10" fmla="*/ 355179 h 545650"/>
                <a:gd name="connsiteX11" fmla="*/ 190471 w 878349"/>
                <a:gd name="connsiteY11" fmla="*/ 164708 h 545650"/>
                <a:gd name="connsiteX12" fmla="*/ 228858 w 878349"/>
                <a:gd name="connsiteY12" fmla="*/ 168578 h 545650"/>
                <a:gd name="connsiteX13" fmla="*/ 244320 w 878349"/>
                <a:gd name="connsiteY13" fmla="*/ 173378 h 545650"/>
                <a:gd name="connsiteX14" fmla="*/ 526204 w 878349"/>
                <a:gd name="connsiteY14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47683 w 878349"/>
                <a:gd name="connsiteY4" fmla="*/ 545650 h 545650"/>
                <a:gd name="connsiteX5" fmla="*/ 190471 w 878349"/>
                <a:gd name="connsiteY5" fmla="*/ 545650 h 545650"/>
                <a:gd name="connsiteX6" fmla="*/ 166602 w 878349"/>
                <a:gd name="connsiteY6" fmla="*/ 545650 h 545650"/>
                <a:gd name="connsiteX7" fmla="*/ 158924 w 878349"/>
                <a:gd name="connsiteY7" fmla="*/ 542470 h 545650"/>
                <a:gd name="connsiteX8" fmla="*/ 152084 w 878349"/>
                <a:gd name="connsiteY8" fmla="*/ 541781 h 545650"/>
                <a:gd name="connsiteX9" fmla="*/ 0 w 878349"/>
                <a:gd name="connsiteY9" fmla="*/ 355179 h 545650"/>
                <a:gd name="connsiteX10" fmla="*/ 190471 w 878349"/>
                <a:gd name="connsiteY10" fmla="*/ 164708 h 545650"/>
                <a:gd name="connsiteX11" fmla="*/ 228858 w 878349"/>
                <a:gd name="connsiteY11" fmla="*/ 168578 h 545650"/>
                <a:gd name="connsiteX12" fmla="*/ 244320 w 878349"/>
                <a:gd name="connsiteY12" fmla="*/ 173378 h 545650"/>
                <a:gd name="connsiteX13" fmla="*/ 526204 w 878349"/>
                <a:gd name="connsiteY13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47683 w 878349"/>
                <a:gd name="connsiteY3" fmla="*/ 545650 h 545650"/>
                <a:gd name="connsiteX4" fmla="*/ 190471 w 878349"/>
                <a:gd name="connsiteY4" fmla="*/ 545650 h 545650"/>
                <a:gd name="connsiteX5" fmla="*/ 166602 w 878349"/>
                <a:gd name="connsiteY5" fmla="*/ 545650 h 545650"/>
                <a:gd name="connsiteX6" fmla="*/ 158924 w 878349"/>
                <a:gd name="connsiteY6" fmla="*/ 542470 h 545650"/>
                <a:gd name="connsiteX7" fmla="*/ 152084 w 878349"/>
                <a:gd name="connsiteY7" fmla="*/ 541781 h 545650"/>
                <a:gd name="connsiteX8" fmla="*/ 0 w 878349"/>
                <a:gd name="connsiteY8" fmla="*/ 355179 h 545650"/>
                <a:gd name="connsiteX9" fmla="*/ 190471 w 878349"/>
                <a:gd name="connsiteY9" fmla="*/ 164708 h 545650"/>
                <a:gd name="connsiteX10" fmla="*/ 228858 w 878349"/>
                <a:gd name="connsiteY10" fmla="*/ 168578 h 545650"/>
                <a:gd name="connsiteX11" fmla="*/ 244320 w 878349"/>
                <a:gd name="connsiteY11" fmla="*/ 173378 h 545650"/>
                <a:gd name="connsiteX12" fmla="*/ 526204 w 878349"/>
                <a:gd name="connsiteY12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47683 w 878349"/>
                <a:gd name="connsiteY3" fmla="*/ 545650 h 545650"/>
                <a:gd name="connsiteX4" fmla="*/ 190471 w 878349"/>
                <a:gd name="connsiteY4" fmla="*/ 545650 h 545650"/>
                <a:gd name="connsiteX5" fmla="*/ 166602 w 878349"/>
                <a:gd name="connsiteY5" fmla="*/ 545650 h 545650"/>
                <a:gd name="connsiteX6" fmla="*/ 158924 w 878349"/>
                <a:gd name="connsiteY6" fmla="*/ 542470 h 545650"/>
                <a:gd name="connsiteX7" fmla="*/ 152084 w 878349"/>
                <a:gd name="connsiteY7" fmla="*/ 541781 h 545650"/>
                <a:gd name="connsiteX8" fmla="*/ 0 w 878349"/>
                <a:gd name="connsiteY8" fmla="*/ 355179 h 545650"/>
                <a:gd name="connsiteX9" fmla="*/ 190471 w 878349"/>
                <a:gd name="connsiteY9" fmla="*/ 164708 h 545650"/>
                <a:gd name="connsiteX10" fmla="*/ 228858 w 878349"/>
                <a:gd name="connsiteY10" fmla="*/ 168578 h 545650"/>
                <a:gd name="connsiteX11" fmla="*/ 244320 w 878349"/>
                <a:gd name="connsiteY11" fmla="*/ 173378 h 545650"/>
                <a:gd name="connsiteX12" fmla="*/ 526204 w 878349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60"/>
                <a:gd name="connsiteY0" fmla="*/ 2823 h 545650"/>
                <a:gd name="connsiteX1" fmla="*/ 753041 w 878360"/>
                <a:gd name="connsiteY1" fmla="*/ 285400 h 545650"/>
                <a:gd name="connsiteX2" fmla="*/ 878349 w 878360"/>
                <a:gd name="connsiteY2" fmla="*/ 414984 h 545650"/>
                <a:gd name="connsiteX3" fmla="*/ 747683 w 878360"/>
                <a:gd name="connsiteY3" fmla="*/ 545650 h 545650"/>
                <a:gd name="connsiteX4" fmla="*/ 190471 w 878360"/>
                <a:gd name="connsiteY4" fmla="*/ 545650 h 545650"/>
                <a:gd name="connsiteX5" fmla="*/ 166602 w 878360"/>
                <a:gd name="connsiteY5" fmla="*/ 545650 h 545650"/>
                <a:gd name="connsiteX6" fmla="*/ 158924 w 878360"/>
                <a:gd name="connsiteY6" fmla="*/ 542470 h 545650"/>
                <a:gd name="connsiteX7" fmla="*/ 152084 w 878360"/>
                <a:gd name="connsiteY7" fmla="*/ 541781 h 545650"/>
                <a:gd name="connsiteX8" fmla="*/ 0 w 878360"/>
                <a:gd name="connsiteY8" fmla="*/ 355179 h 545650"/>
                <a:gd name="connsiteX9" fmla="*/ 190471 w 878360"/>
                <a:gd name="connsiteY9" fmla="*/ 164708 h 545650"/>
                <a:gd name="connsiteX10" fmla="*/ 228858 w 878360"/>
                <a:gd name="connsiteY10" fmla="*/ 168578 h 545650"/>
                <a:gd name="connsiteX11" fmla="*/ 244320 w 878360"/>
                <a:gd name="connsiteY11" fmla="*/ 173378 h 545650"/>
                <a:gd name="connsiteX12" fmla="*/ 526204 w 878360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51"/>
                <a:gd name="connsiteY0" fmla="*/ 2823 h 545650"/>
                <a:gd name="connsiteX1" fmla="*/ 753041 w 878351"/>
                <a:gd name="connsiteY1" fmla="*/ 285400 h 545650"/>
                <a:gd name="connsiteX2" fmla="*/ 878349 w 878351"/>
                <a:gd name="connsiteY2" fmla="*/ 414984 h 545650"/>
                <a:gd name="connsiteX3" fmla="*/ 747683 w 878351"/>
                <a:gd name="connsiteY3" fmla="*/ 545650 h 545650"/>
                <a:gd name="connsiteX4" fmla="*/ 190471 w 878351"/>
                <a:gd name="connsiteY4" fmla="*/ 545650 h 545650"/>
                <a:gd name="connsiteX5" fmla="*/ 166602 w 878351"/>
                <a:gd name="connsiteY5" fmla="*/ 545650 h 545650"/>
                <a:gd name="connsiteX6" fmla="*/ 158924 w 878351"/>
                <a:gd name="connsiteY6" fmla="*/ 542470 h 545650"/>
                <a:gd name="connsiteX7" fmla="*/ 152084 w 878351"/>
                <a:gd name="connsiteY7" fmla="*/ 541781 h 545650"/>
                <a:gd name="connsiteX8" fmla="*/ 0 w 878351"/>
                <a:gd name="connsiteY8" fmla="*/ 355179 h 545650"/>
                <a:gd name="connsiteX9" fmla="*/ 190471 w 878351"/>
                <a:gd name="connsiteY9" fmla="*/ 164708 h 545650"/>
                <a:gd name="connsiteX10" fmla="*/ 228858 w 878351"/>
                <a:gd name="connsiteY10" fmla="*/ 168578 h 545650"/>
                <a:gd name="connsiteX11" fmla="*/ 244320 w 878351"/>
                <a:gd name="connsiteY11" fmla="*/ 173378 h 545650"/>
                <a:gd name="connsiteX12" fmla="*/ 526204 w 878351"/>
                <a:gd name="connsiteY12" fmla="*/ 2823 h 545650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7585 w 879730"/>
                <a:gd name="connsiteY0" fmla="*/ 2823 h 545651"/>
                <a:gd name="connsiteX1" fmla="*/ 754422 w 879730"/>
                <a:gd name="connsiteY1" fmla="*/ 285400 h 545651"/>
                <a:gd name="connsiteX2" fmla="*/ 879730 w 879730"/>
                <a:gd name="connsiteY2" fmla="*/ 414984 h 545651"/>
                <a:gd name="connsiteX3" fmla="*/ 749064 w 879730"/>
                <a:gd name="connsiteY3" fmla="*/ 545650 h 545651"/>
                <a:gd name="connsiteX4" fmla="*/ 191852 w 879730"/>
                <a:gd name="connsiteY4" fmla="*/ 545650 h 545651"/>
                <a:gd name="connsiteX5" fmla="*/ 167983 w 879730"/>
                <a:gd name="connsiteY5" fmla="*/ 545650 h 545651"/>
                <a:gd name="connsiteX6" fmla="*/ 160305 w 879730"/>
                <a:gd name="connsiteY6" fmla="*/ 542470 h 545651"/>
                <a:gd name="connsiteX7" fmla="*/ 153465 w 879730"/>
                <a:gd name="connsiteY7" fmla="*/ 541781 h 545651"/>
                <a:gd name="connsiteX8" fmla="*/ 1381 w 879730"/>
                <a:gd name="connsiteY8" fmla="*/ 355179 h 545651"/>
                <a:gd name="connsiteX9" fmla="*/ 230239 w 879730"/>
                <a:gd name="connsiteY9" fmla="*/ 168578 h 545651"/>
                <a:gd name="connsiteX10" fmla="*/ 245701 w 879730"/>
                <a:gd name="connsiteY10" fmla="*/ 173378 h 545651"/>
                <a:gd name="connsiteX11" fmla="*/ 527585 w 879730"/>
                <a:gd name="connsiteY11" fmla="*/ 2823 h 545651"/>
                <a:gd name="connsiteX0" fmla="*/ 528098 w 880243"/>
                <a:gd name="connsiteY0" fmla="*/ 2823 h 545651"/>
                <a:gd name="connsiteX1" fmla="*/ 754935 w 880243"/>
                <a:gd name="connsiteY1" fmla="*/ 285400 h 545651"/>
                <a:gd name="connsiteX2" fmla="*/ 880243 w 880243"/>
                <a:gd name="connsiteY2" fmla="*/ 414984 h 545651"/>
                <a:gd name="connsiteX3" fmla="*/ 749577 w 880243"/>
                <a:gd name="connsiteY3" fmla="*/ 545650 h 545651"/>
                <a:gd name="connsiteX4" fmla="*/ 192365 w 880243"/>
                <a:gd name="connsiteY4" fmla="*/ 545650 h 545651"/>
                <a:gd name="connsiteX5" fmla="*/ 168496 w 880243"/>
                <a:gd name="connsiteY5" fmla="*/ 545650 h 545651"/>
                <a:gd name="connsiteX6" fmla="*/ 160818 w 880243"/>
                <a:gd name="connsiteY6" fmla="*/ 542470 h 545651"/>
                <a:gd name="connsiteX7" fmla="*/ 153978 w 880243"/>
                <a:gd name="connsiteY7" fmla="*/ 541781 h 545651"/>
                <a:gd name="connsiteX8" fmla="*/ 1894 w 880243"/>
                <a:gd name="connsiteY8" fmla="*/ 355179 h 545651"/>
                <a:gd name="connsiteX9" fmla="*/ 246214 w 880243"/>
                <a:gd name="connsiteY9" fmla="*/ 173378 h 545651"/>
                <a:gd name="connsiteX10" fmla="*/ 528098 w 880243"/>
                <a:gd name="connsiteY10" fmla="*/ 2823 h 545651"/>
                <a:gd name="connsiteX0" fmla="*/ 528098 w 880243"/>
                <a:gd name="connsiteY0" fmla="*/ 2823 h 545651"/>
                <a:gd name="connsiteX1" fmla="*/ 754935 w 880243"/>
                <a:gd name="connsiteY1" fmla="*/ 285400 h 545651"/>
                <a:gd name="connsiteX2" fmla="*/ 880243 w 880243"/>
                <a:gd name="connsiteY2" fmla="*/ 414984 h 545651"/>
                <a:gd name="connsiteX3" fmla="*/ 749577 w 880243"/>
                <a:gd name="connsiteY3" fmla="*/ 545650 h 545651"/>
                <a:gd name="connsiteX4" fmla="*/ 192365 w 880243"/>
                <a:gd name="connsiteY4" fmla="*/ 545650 h 545651"/>
                <a:gd name="connsiteX5" fmla="*/ 168496 w 880243"/>
                <a:gd name="connsiteY5" fmla="*/ 545650 h 545651"/>
                <a:gd name="connsiteX6" fmla="*/ 160818 w 880243"/>
                <a:gd name="connsiteY6" fmla="*/ 542470 h 545651"/>
                <a:gd name="connsiteX7" fmla="*/ 153978 w 880243"/>
                <a:gd name="connsiteY7" fmla="*/ 541781 h 545651"/>
                <a:gd name="connsiteX8" fmla="*/ 1894 w 880243"/>
                <a:gd name="connsiteY8" fmla="*/ 355179 h 545651"/>
                <a:gd name="connsiteX9" fmla="*/ 246214 w 880243"/>
                <a:gd name="connsiteY9" fmla="*/ 173378 h 545651"/>
                <a:gd name="connsiteX10" fmla="*/ 528098 w 880243"/>
                <a:gd name="connsiteY10" fmla="*/ 2823 h 545651"/>
                <a:gd name="connsiteX0" fmla="*/ 526208 w 878353"/>
                <a:gd name="connsiteY0" fmla="*/ 2823 h 545651"/>
                <a:gd name="connsiteX1" fmla="*/ 753045 w 878353"/>
                <a:gd name="connsiteY1" fmla="*/ 285400 h 545651"/>
                <a:gd name="connsiteX2" fmla="*/ 878353 w 878353"/>
                <a:gd name="connsiteY2" fmla="*/ 414984 h 545651"/>
                <a:gd name="connsiteX3" fmla="*/ 747687 w 878353"/>
                <a:gd name="connsiteY3" fmla="*/ 545650 h 545651"/>
                <a:gd name="connsiteX4" fmla="*/ 190475 w 878353"/>
                <a:gd name="connsiteY4" fmla="*/ 545650 h 545651"/>
                <a:gd name="connsiteX5" fmla="*/ 166606 w 878353"/>
                <a:gd name="connsiteY5" fmla="*/ 545650 h 545651"/>
                <a:gd name="connsiteX6" fmla="*/ 158928 w 878353"/>
                <a:gd name="connsiteY6" fmla="*/ 542470 h 545651"/>
                <a:gd name="connsiteX7" fmla="*/ 152088 w 878353"/>
                <a:gd name="connsiteY7" fmla="*/ 541781 h 545651"/>
                <a:gd name="connsiteX8" fmla="*/ 4 w 878353"/>
                <a:gd name="connsiteY8" fmla="*/ 355179 h 545651"/>
                <a:gd name="connsiteX9" fmla="*/ 244324 w 878353"/>
                <a:gd name="connsiteY9" fmla="*/ 173378 h 545651"/>
                <a:gd name="connsiteX10" fmla="*/ 526208 w 878353"/>
                <a:gd name="connsiteY10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66614 w 878361"/>
                <a:gd name="connsiteY5" fmla="*/ 545650 h 545651"/>
                <a:gd name="connsiteX6" fmla="*/ 158936 w 878361"/>
                <a:gd name="connsiteY6" fmla="*/ 542470 h 545651"/>
                <a:gd name="connsiteX7" fmla="*/ 152096 w 878361"/>
                <a:gd name="connsiteY7" fmla="*/ 541781 h 545651"/>
                <a:gd name="connsiteX8" fmla="*/ 12 w 878361"/>
                <a:gd name="connsiteY8" fmla="*/ 355179 h 545651"/>
                <a:gd name="connsiteX9" fmla="*/ 244332 w 878361"/>
                <a:gd name="connsiteY9" fmla="*/ 173378 h 545651"/>
                <a:gd name="connsiteX10" fmla="*/ 526216 w 878361"/>
                <a:gd name="connsiteY10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58936 w 878361"/>
                <a:gd name="connsiteY5" fmla="*/ 542470 h 545651"/>
                <a:gd name="connsiteX6" fmla="*/ 152096 w 878361"/>
                <a:gd name="connsiteY6" fmla="*/ 541781 h 545651"/>
                <a:gd name="connsiteX7" fmla="*/ 12 w 878361"/>
                <a:gd name="connsiteY7" fmla="*/ 355179 h 545651"/>
                <a:gd name="connsiteX8" fmla="*/ 244332 w 878361"/>
                <a:gd name="connsiteY8" fmla="*/ 173378 h 545651"/>
                <a:gd name="connsiteX9" fmla="*/ 526216 w 878361"/>
                <a:gd name="connsiteY9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52096 w 878361"/>
                <a:gd name="connsiteY5" fmla="*/ 541781 h 545651"/>
                <a:gd name="connsiteX6" fmla="*/ 12 w 878361"/>
                <a:gd name="connsiteY6" fmla="*/ 355179 h 545651"/>
                <a:gd name="connsiteX7" fmla="*/ 244332 w 878361"/>
                <a:gd name="connsiteY7" fmla="*/ 173378 h 545651"/>
                <a:gd name="connsiteX8" fmla="*/ 526216 w 878361"/>
                <a:gd name="connsiteY8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2 w 878361"/>
                <a:gd name="connsiteY5" fmla="*/ 355179 h 545651"/>
                <a:gd name="connsiteX6" fmla="*/ 244332 w 878361"/>
                <a:gd name="connsiteY6" fmla="*/ 173378 h 545651"/>
                <a:gd name="connsiteX7" fmla="*/ 526216 w 878361"/>
                <a:gd name="connsiteY7" fmla="*/ 2823 h 545651"/>
                <a:gd name="connsiteX0" fmla="*/ 528231 w 880376"/>
                <a:gd name="connsiteY0" fmla="*/ 2823 h 545651"/>
                <a:gd name="connsiteX1" fmla="*/ 755068 w 880376"/>
                <a:gd name="connsiteY1" fmla="*/ 285400 h 545651"/>
                <a:gd name="connsiteX2" fmla="*/ 880376 w 880376"/>
                <a:gd name="connsiteY2" fmla="*/ 414984 h 545651"/>
                <a:gd name="connsiteX3" fmla="*/ 749710 w 880376"/>
                <a:gd name="connsiteY3" fmla="*/ 545650 h 545651"/>
                <a:gd name="connsiteX4" fmla="*/ 192498 w 880376"/>
                <a:gd name="connsiteY4" fmla="*/ 545650 h 545651"/>
                <a:gd name="connsiteX5" fmla="*/ 2027 w 880376"/>
                <a:gd name="connsiteY5" fmla="*/ 355179 h 545651"/>
                <a:gd name="connsiteX6" fmla="*/ 246347 w 880376"/>
                <a:gd name="connsiteY6" fmla="*/ 173378 h 545651"/>
                <a:gd name="connsiteX7" fmla="*/ 528231 w 880376"/>
                <a:gd name="connsiteY7" fmla="*/ 2823 h 545651"/>
                <a:gd name="connsiteX0" fmla="*/ 526217 w 878362"/>
                <a:gd name="connsiteY0" fmla="*/ 2823 h 545651"/>
                <a:gd name="connsiteX1" fmla="*/ 753054 w 878362"/>
                <a:gd name="connsiteY1" fmla="*/ 285400 h 545651"/>
                <a:gd name="connsiteX2" fmla="*/ 878362 w 878362"/>
                <a:gd name="connsiteY2" fmla="*/ 414984 h 545651"/>
                <a:gd name="connsiteX3" fmla="*/ 747696 w 878362"/>
                <a:gd name="connsiteY3" fmla="*/ 545650 h 545651"/>
                <a:gd name="connsiteX4" fmla="*/ 190484 w 878362"/>
                <a:gd name="connsiteY4" fmla="*/ 545650 h 545651"/>
                <a:gd name="connsiteX5" fmla="*/ 13 w 878362"/>
                <a:gd name="connsiteY5" fmla="*/ 355179 h 545651"/>
                <a:gd name="connsiteX6" fmla="*/ 244333 w 878362"/>
                <a:gd name="connsiteY6" fmla="*/ 173378 h 545651"/>
                <a:gd name="connsiteX7" fmla="*/ 526217 w 878362"/>
                <a:gd name="connsiteY7" fmla="*/ 2823 h 545651"/>
                <a:gd name="connsiteX0" fmla="*/ 526964 w 879109"/>
                <a:gd name="connsiteY0" fmla="*/ 2823 h 545651"/>
                <a:gd name="connsiteX1" fmla="*/ 753801 w 879109"/>
                <a:gd name="connsiteY1" fmla="*/ 285400 h 545651"/>
                <a:gd name="connsiteX2" fmla="*/ 879109 w 879109"/>
                <a:gd name="connsiteY2" fmla="*/ 414984 h 545651"/>
                <a:gd name="connsiteX3" fmla="*/ 748443 w 879109"/>
                <a:gd name="connsiteY3" fmla="*/ 545650 h 545651"/>
                <a:gd name="connsiteX4" fmla="*/ 191231 w 879109"/>
                <a:gd name="connsiteY4" fmla="*/ 545650 h 545651"/>
                <a:gd name="connsiteX5" fmla="*/ 760 w 879109"/>
                <a:gd name="connsiteY5" fmla="*/ 355179 h 545651"/>
                <a:gd name="connsiteX6" fmla="*/ 245080 w 879109"/>
                <a:gd name="connsiteY6" fmla="*/ 173378 h 545651"/>
                <a:gd name="connsiteX7" fmla="*/ 526964 w 879109"/>
                <a:gd name="connsiteY7" fmla="*/ 2823 h 545651"/>
                <a:gd name="connsiteX0" fmla="*/ 526217 w 878362"/>
                <a:gd name="connsiteY0" fmla="*/ 2823 h 545651"/>
                <a:gd name="connsiteX1" fmla="*/ 753054 w 878362"/>
                <a:gd name="connsiteY1" fmla="*/ 285400 h 545651"/>
                <a:gd name="connsiteX2" fmla="*/ 878362 w 878362"/>
                <a:gd name="connsiteY2" fmla="*/ 414984 h 545651"/>
                <a:gd name="connsiteX3" fmla="*/ 747696 w 878362"/>
                <a:gd name="connsiteY3" fmla="*/ 545650 h 545651"/>
                <a:gd name="connsiteX4" fmla="*/ 190484 w 878362"/>
                <a:gd name="connsiteY4" fmla="*/ 545650 h 545651"/>
                <a:gd name="connsiteX5" fmla="*/ 13 w 878362"/>
                <a:gd name="connsiteY5" fmla="*/ 355179 h 545651"/>
                <a:gd name="connsiteX6" fmla="*/ 244333 w 878362"/>
                <a:gd name="connsiteY6" fmla="*/ 173378 h 545651"/>
                <a:gd name="connsiteX7" fmla="*/ 526217 w 878362"/>
                <a:gd name="connsiteY7" fmla="*/ 2823 h 545651"/>
                <a:gd name="connsiteX0" fmla="*/ 526245 w 878390"/>
                <a:gd name="connsiteY0" fmla="*/ 2823 h 545651"/>
                <a:gd name="connsiteX1" fmla="*/ 753082 w 878390"/>
                <a:gd name="connsiteY1" fmla="*/ 285400 h 545651"/>
                <a:gd name="connsiteX2" fmla="*/ 878390 w 878390"/>
                <a:gd name="connsiteY2" fmla="*/ 414984 h 545651"/>
                <a:gd name="connsiteX3" fmla="*/ 747724 w 878390"/>
                <a:gd name="connsiteY3" fmla="*/ 545650 h 545651"/>
                <a:gd name="connsiteX4" fmla="*/ 190512 w 878390"/>
                <a:gd name="connsiteY4" fmla="*/ 545650 h 545651"/>
                <a:gd name="connsiteX5" fmla="*/ 41 w 878390"/>
                <a:gd name="connsiteY5" fmla="*/ 355179 h 545651"/>
                <a:gd name="connsiteX6" fmla="*/ 244361 w 878390"/>
                <a:gd name="connsiteY6" fmla="*/ 173378 h 545651"/>
                <a:gd name="connsiteX7" fmla="*/ 526245 w 878390"/>
                <a:gd name="connsiteY7" fmla="*/ 2823 h 545651"/>
                <a:gd name="connsiteX0" fmla="*/ 526964 w 879109"/>
                <a:gd name="connsiteY0" fmla="*/ 2823 h 545651"/>
                <a:gd name="connsiteX1" fmla="*/ 753801 w 879109"/>
                <a:gd name="connsiteY1" fmla="*/ 285400 h 545651"/>
                <a:gd name="connsiteX2" fmla="*/ 879109 w 879109"/>
                <a:gd name="connsiteY2" fmla="*/ 414984 h 545651"/>
                <a:gd name="connsiteX3" fmla="*/ 748443 w 879109"/>
                <a:gd name="connsiteY3" fmla="*/ 545650 h 545651"/>
                <a:gd name="connsiteX4" fmla="*/ 191231 w 879109"/>
                <a:gd name="connsiteY4" fmla="*/ 545650 h 545651"/>
                <a:gd name="connsiteX5" fmla="*/ 760 w 879109"/>
                <a:gd name="connsiteY5" fmla="*/ 355179 h 545651"/>
                <a:gd name="connsiteX6" fmla="*/ 245080 w 879109"/>
                <a:gd name="connsiteY6" fmla="*/ 173378 h 545651"/>
                <a:gd name="connsiteX7" fmla="*/ 526964 w 879109"/>
                <a:gd name="connsiteY7" fmla="*/ 2823 h 545651"/>
                <a:gd name="connsiteX0" fmla="*/ 526721 w 878866"/>
                <a:gd name="connsiteY0" fmla="*/ 2823 h 545651"/>
                <a:gd name="connsiteX1" fmla="*/ 753558 w 878866"/>
                <a:gd name="connsiteY1" fmla="*/ 285400 h 545651"/>
                <a:gd name="connsiteX2" fmla="*/ 878866 w 878866"/>
                <a:gd name="connsiteY2" fmla="*/ 414984 h 545651"/>
                <a:gd name="connsiteX3" fmla="*/ 748200 w 878866"/>
                <a:gd name="connsiteY3" fmla="*/ 545650 h 545651"/>
                <a:gd name="connsiteX4" fmla="*/ 190988 w 878866"/>
                <a:gd name="connsiteY4" fmla="*/ 545650 h 545651"/>
                <a:gd name="connsiteX5" fmla="*/ 517 w 878866"/>
                <a:gd name="connsiteY5" fmla="*/ 355179 h 545651"/>
                <a:gd name="connsiteX6" fmla="*/ 244837 w 878866"/>
                <a:gd name="connsiteY6" fmla="*/ 173378 h 545651"/>
                <a:gd name="connsiteX7" fmla="*/ 526721 w 878866"/>
                <a:gd name="connsiteY7" fmla="*/ 2823 h 545651"/>
                <a:gd name="connsiteX0" fmla="*/ 526246 w 878391"/>
                <a:gd name="connsiteY0" fmla="*/ 2823 h 545651"/>
                <a:gd name="connsiteX1" fmla="*/ 753083 w 878391"/>
                <a:gd name="connsiteY1" fmla="*/ 285400 h 545651"/>
                <a:gd name="connsiteX2" fmla="*/ 878391 w 878391"/>
                <a:gd name="connsiteY2" fmla="*/ 414984 h 545651"/>
                <a:gd name="connsiteX3" fmla="*/ 747725 w 878391"/>
                <a:gd name="connsiteY3" fmla="*/ 545650 h 545651"/>
                <a:gd name="connsiteX4" fmla="*/ 190513 w 878391"/>
                <a:gd name="connsiteY4" fmla="*/ 545650 h 545651"/>
                <a:gd name="connsiteX5" fmla="*/ 42 w 878391"/>
                <a:gd name="connsiteY5" fmla="*/ 355179 h 545651"/>
                <a:gd name="connsiteX6" fmla="*/ 244362 w 878391"/>
                <a:gd name="connsiteY6" fmla="*/ 173378 h 545651"/>
                <a:gd name="connsiteX7" fmla="*/ 526246 w 878391"/>
                <a:gd name="connsiteY7" fmla="*/ 2823 h 545651"/>
                <a:gd name="connsiteX0" fmla="*/ 526246 w 878391"/>
                <a:gd name="connsiteY0" fmla="*/ 2823 h 545651"/>
                <a:gd name="connsiteX1" fmla="*/ 753083 w 878391"/>
                <a:gd name="connsiteY1" fmla="*/ 285400 h 545651"/>
                <a:gd name="connsiteX2" fmla="*/ 878391 w 878391"/>
                <a:gd name="connsiteY2" fmla="*/ 414984 h 545651"/>
                <a:gd name="connsiteX3" fmla="*/ 747725 w 878391"/>
                <a:gd name="connsiteY3" fmla="*/ 545650 h 545651"/>
                <a:gd name="connsiteX4" fmla="*/ 190513 w 878391"/>
                <a:gd name="connsiteY4" fmla="*/ 545650 h 545651"/>
                <a:gd name="connsiteX5" fmla="*/ 42 w 878391"/>
                <a:gd name="connsiteY5" fmla="*/ 355179 h 545651"/>
                <a:gd name="connsiteX6" fmla="*/ 244362 w 878391"/>
                <a:gd name="connsiteY6" fmla="*/ 173378 h 545651"/>
                <a:gd name="connsiteX7" fmla="*/ 526246 w 878391"/>
                <a:gd name="connsiteY7" fmla="*/ 2823 h 545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8391" h="545651">
                  <a:moveTo>
                    <a:pt x="526246" y="2823"/>
                  </a:moveTo>
                  <a:cubicBezTo>
                    <a:pt x="663881" y="24023"/>
                    <a:pt x="772336" y="152517"/>
                    <a:pt x="753083" y="285400"/>
                  </a:cubicBezTo>
                  <a:cubicBezTo>
                    <a:pt x="852208" y="299089"/>
                    <a:pt x="878212" y="375742"/>
                    <a:pt x="878391" y="414984"/>
                  </a:cubicBezTo>
                  <a:cubicBezTo>
                    <a:pt x="878627" y="466609"/>
                    <a:pt x="833938" y="546043"/>
                    <a:pt x="747725" y="545650"/>
                  </a:cubicBezTo>
                  <a:lnTo>
                    <a:pt x="190513" y="545650"/>
                  </a:lnTo>
                  <a:cubicBezTo>
                    <a:pt x="77130" y="544985"/>
                    <a:pt x="2268" y="445667"/>
                    <a:pt x="42" y="355179"/>
                  </a:cubicBezTo>
                  <a:cubicBezTo>
                    <a:pt x="-2184" y="264691"/>
                    <a:pt x="84465" y="123521"/>
                    <a:pt x="244362" y="173378"/>
                  </a:cubicBezTo>
                  <a:cubicBezTo>
                    <a:pt x="271526" y="75658"/>
                    <a:pt x="394045" y="-17540"/>
                    <a:pt x="526246" y="2823"/>
                  </a:cubicBezTo>
                  <a:close/>
                </a:path>
              </a:pathLst>
            </a:custGeom>
            <a:noFill/>
            <a:ln w="12700">
              <a:solidFill>
                <a:schemeClr val="accent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5710" tIns="140568" rIns="175710" bIns="14056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95751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921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8D7E42D0-D9EC-F944-9892-610A464CAAE7}"/>
                </a:ext>
              </a:extLst>
            </p:cNvPr>
            <p:cNvSpPr/>
            <p:nvPr/>
          </p:nvSpPr>
          <p:spPr bwMode="auto">
            <a:xfrm>
              <a:off x="11138157" y="3021086"/>
              <a:ext cx="205040" cy="148466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175" name="Straight Arrow Connector 174">
              <a:extLst>
                <a:ext uri="{FF2B5EF4-FFF2-40B4-BE49-F238E27FC236}">
                  <a16:creationId xmlns:a16="http://schemas.microsoft.com/office/drawing/2014/main" id="{00DEBDC6-6492-F148-8E12-49D6CD21A2E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245742" y="2947705"/>
              <a:ext cx="0" cy="316340"/>
            </a:xfrm>
            <a:prstGeom prst="straightConnector1">
              <a:avLst/>
            </a:prstGeom>
            <a:ln w="12700">
              <a:solidFill>
                <a:schemeClr val="tx2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A86BB0FF-4AC9-DF44-A0D3-7DA0508F9A30}"/>
              </a:ext>
            </a:extLst>
          </p:cNvPr>
          <p:cNvGrpSpPr/>
          <p:nvPr/>
        </p:nvGrpSpPr>
        <p:grpSpPr>
          <a:xfrm rot="1800000">
            <a:off x="10786431" y="1954183"/>
            <a:ext cx="593218" cy="687490"/>
            <a:chOff x="6281977" y="1925712"/>
            <a:chExt cx="609366" cy="706203"/>
          </a:xfrm>
        </p:grpSpPr>
        <p:sp>
          <p:nvSpPr>
            <p:cNvPr id="177" name="Hexagon 176">
              <a:extLst>
                <a:ext uri="{FF2B5EF4-FFF2-40B4-BE49-F238E27FC236}">
                  <a16:creationId xmlns:a16="http://schemas.microsoft.com/office/drawing/2014/main" id="{525929D0-BBE2-7549-BF50-EE6F390F4136}"/>
                </a:ext>
              </a:extLst>
            </p:cNvPr>
            <p:cNvSpPr/>
            <p:nvPr/>
          </p:nvSpPr>
          <p:spPr bwMode="auto">
            <a:xfrm rot="16200000">
              <a:off x="6261742" y="2000529"/>
              <a:ext cx="651443" cy="557784"/>
            </a:xfrm>
            <a:prstGeom prst="hexagon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9C105D50-BBEE-1845-90BC-0EF30FC08E51}"/>
                </a:ext>
              </a:extLst>
            </p:cNvPr>
            <p:cNvCxnSpPr>
              <a:cxnSpLocks/>
              <a:stCxn id="177" idx="3"/>
              <a:endCxn id="177" idx="0"/>
            </p:cNvCxnSpPr>
            <p:nvPr/>
          </p:nvCxnSpPr>
          <p:spPr>
            <a:xfrm flipV="1">
              <a:off x="6587464" y="1953700"/>
              <a:ext cx="0" cy="651443"/>
            </a:xfrm>
            <a:prstGeom prst="line">
              <a:avLst/>
            </a:prstGeom>
            <a:ln w="12700">
              <a:solidFill>
                <a:schemeClr val="accent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9" name="Group 178">
              <a:extLst>
                <a:ext uri="{FF2B5EF4-FFF2-40B4-BE49-F238E27FC236}">
                  <a16:creationId xmlns:a16="http://schemas.microsoft.com/office/drawing/2014/main" id="{5666BB99-699A-BB4A-A87F-433E1A3B07F5}"/>
                </a:ext>
              </a:extLst>
            </p:cNvPr>
            <p:cNvGrpSpPr/>
            <p:nvPr/>
          </p:nvGrpSpPr>
          <p:grpSpPr>
            <a:xfrm>
              <a:off x="6584950" y="2093649"/>
              <a:ext cx="281406" cy="372551"/>
              <a:chOff x="6584950" y="2093146"/>
              <a:chExt cx="281406" cy="372551"/>
            </a:xfrm>
          </p:grpSpPr>
          <p:cxnSp>
            <p:nvCxnSpPr>
              <p:cNvPr id="192" name="Straight Connector 191">
                <a:extLst>
                  <a:ext uri="{FF2B5EF4-FFF2-40B4-BE49-F238E27FC236}">
                    <a16:creationId xmlns:a16="http://schemas.microsoft.com/office/drawing/2014/main" id="{A7077814-1982-794A-B409-3D6FBED1A944}"/>
                  </a:ext>
                </a:extLst>
              </p:cNvPr>
              <p:cNvCxnSpPr>
                <a:cxnSpLocks/>
                <a:stCxn id="177" idx="2"/>
              </p:cNvCxnSpPr>
              <p:nvPr/>
            </p:nvCxnSpPr>
            <p:spPr>
              <a:xfrm flipH="1" flipV="1">
                <a:off x="6584950" y="2415525"/>
                <a:ext cx="281406" cy="50172"/>
              </a:xfrm>
              <a:prstGeom prst="line">
                <a:avLst/>
              </a:prstGeom>
              <a:ln w="12700">
                <a:solidFill>
                  <a:schemeClr val="accent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3" name="Straight Connector 192">
                <a:extLst>
                  <a:ext uri="{FF2B5EF4-FFF2-40B4-BE49-F238E27FC236}">
                    <a16:creationId xmlns:a16="http://schemas.microsoft.com/office/drawing/2014/main" id="{C4E38DD5-96BD-6E4A-BD6D-9806C6143270}"/>
                  </a:ext>
                </a:extLst>
              </p:cNvPr>
              <p:cNvCxnSpPr>
                <a:cxnSpLocks/>
                <a:stCxn id="177" idx="1"/>
              </p:cNvCxnSpPr>
              <p:nvPr/>
            </p:nvCxnSpPr>
            <p:spPr>
              <a:xfrm flipH="1">
                <a:off x="6584950" y="2093146"/>
                <a:ext cx="281406" cy="110304"/>
              </a:xfrm>
              <a:prstGeom prst="line">
                <a:avLst/>
              </a:prstGeom>
              <a:ln w="12700">
                <a:solidFill>
                  <a:schemeClr val="accent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Straight Connector 193">
                <a:extLst>
                  <a:ext uri="{FF2B5EF4-FFF2-40B4-BE49-F238E27FC236}">
                    <a16:creationId xmlns:a16="http://schemas.microsoft.com/office/drawing/2014/main" id="{94323C2B-5C8D-D940-8C97-7697AFFA4C4E}"/>
                  </a:ext>
                </a:extLst>
              </p:cNvPr>
              <p:cNvCxnSpPr>
                <a:cxnSpLocks/>
                <a:stCxn id="177" idx="1"/>
              </p:cNvCxnSpPr>
              <p:nvPr/>
            </p:nvCxnSpPr>
            <p:spPr>
              <a:xfrm flipH="1">
                <a:off x="6584950" y="2093146"/>
                <a:ext cx="281406" cy="322378"/>
              </a:xfrm>
              <a:prstGeom prst="line">
                <a:avLst/>
              </a:prstGeom>
              <a:ln w="12700">
                <a:solidFill>
                  <a:schemeClr val="accent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0" name="Group 179">
              <a:extLst>
                <a:ext uri="{FF2B5EF4-FFF2-40B4-BE49-F238E27FC236}">
                  <a16:creationId xmlns:a16="http://schemas.microsoft.com/office/drawing/2014/main" id="{50BC3873-06AC-EF47-9509-95E76B7BAE33}"/>
                </a:ext>
              </a:extLst>
            </p:cNvPr>
            <p:cNvGrpSpPr/>
            <p:nvPr/>
          </p:nvGrpSpPr>
          <p:grpSpPr>
            <a:xfrm flipH="1">
              <a:off x="6304801" y="2093649"/>
              <a:ext cx="281406" cy="372551"/>
              <a:chOff x="6584950" y="2093146"/>
              <a:chExt cx="281406" cy="372551"/>
            </a:xfrm>
          </p:grpSpPr>
          <p:cxnSp>
            <p:nvCxnSpPr>
              <p:cNvPr id="189" name="Straight Connector 188">
                <a:extLst>
                  <a:ext uri="{FF2B5EF4-FFF2-40B4-BE49-F238E27FC236}">
                    <a16:creationId xmlns:a16="http://schemas.microsoft.com/office/drawing/2014/main" id="{021D98BA-5720-0D4F-BC0F-E2B3C6C0A60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6584950" y="2415525"/>
                <a:ext cx="281406" cy="50172"/>
              </a:xfrm>
              <a:prstGeom prst="line">
                <a:avLst/>
              </a:prstGeom>
              <a:ln w="12700">
                <a:solidFill>
                  <a:schemeClr val="accent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Straight Connector 189">
                <a:extLst>
                  <a:ext uri="{FF2B5EF4-FFF2-40B4-BE49-F238E27FC236}">
                    <a16:creationId xmlns:a16="http://schemas.microsoft.com/office/drawing/2014/main" id="{C28ED1E1-FE46-D14E-B6B5-FA134E8017A7}"/>
                  </a:ext>
                </a:extLst>
              </p:cNvPr>
              <p:cNvCxnSpPr/>
              <p:nvPr/>
            </p:nvCxnSpPr>
            <p:spPr>
              <a:xfrm flipH="1">
                <a:off x="6584950" y="2093146"/>
                <a:ext cx="281406" cy="110304"/>
              </a:xfrm>
              <a:prstGeom prst="line">
                <a:avLst/>
              </a:prstGeom>
              <a:ln w="12700">
                <a:solidFill>
                  <a:schemeClr val="accent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1" name="Straight Connector 190">
                <a:extLst>
                  <a:ext uri="{FF2B5EF4-FFF2-40B4-BE49-F238E27FC236}">
                    <a16:creationId xmlns:a16="http://schemas.microsoft.com/office/drawing/2014/main" id="{52B3EA98-E9C3-9241-BF96-AF61696A0B9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584950" y="2093146"/>
                <a:ext cx="281406" cy="322378"/>
              </a:xfrm>
              <a:prstGeom prst="line">
                <a:avLst/>
              </a:prstGeom>
              <a:ln w="12700">
                <a:solidFill>
                  <a:schemeClr val="accent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81" name="Oval 180">
              <a:extLst>
                <a:ext uri="{FF2B5EF4-FFF2-40B4-BE49-F238E27FC236}">
                  <a16:creationId xmlns:a16="http://schemas.microsoft.com/office/drawing/2014/main" id="{28D8B1C0-9C53-DA40-8086-BD304ADF2DA6}"/>
                </a:ext>
              </a:extLst>
            </p:cNvPr>
            <p:cNvSpPr/>
            <p:nvPr/>
          </p:nvSpPr>
          <p:spPr bwMode="auto">
            <a:xfrm>
              <a:off x="6281977" y="2066999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2" name="Oval 181">
              <a:extLst>
                <a:ext uri="{FF2B5EF4-FFF2-40B4-BE49-F238E27FC236}">
                  <a16:creationId xmlns:a16="http://schemas.microsoft.com/office/drawing/2014/main" id="{61BA9DB7-16AE-A14C-85C2-1A70346706A5}"/>
                </a:ext>
              </a:extLst>
            </p:cNvPr>
            <p:cNvSpPr/>
            <p:nvPr/>
          </p:nvSpPr>
          <p:spPr bwMode="auto">
            <a:xfrm>
              <a:off x="6558202" y="2173362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3" name="Oval 182">
              <a:extLst>
                <a:ext uri="{FF2B5EF4-FFF2-40B4-BE49-F238E27FC236}">
                  <a16:creationId xmlns:a16="http://schemas.microsoft.com/office/drawing/2014/main" id="{F92A4BCE-3077-D54C-ABDB-62E0CC9D0B6C}"/>
                </a:ext>
              </a:extLst>
            </p:cNvPr>
            <p:cNvSpPr/>
            <p:nvPr/>
          </p:nvSpPr>
          <p:spPr bwMode="auto">
            <a:xfrm>
              <a:off x="6831252" y="2066999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4" name="Oval 183">
              <a:extLst>
                <a:ext uri="{FF2B5EF4-FFF2-40B4-BE49-F238E27FC236}">
                  <a16:creationId xmlns:a16="http://schemas.microsoft.com/office/drawing/2014/main" id="{9B860905-C32B-BE49-912A-0B52BE6419D4}"/>
                </a:ext>
              </a:extLst>
            </p:cNvPr>
            <p:cNvSpPr/>
            <p:nvPr/>
          </p:nvSpPr>
          <p:spPr bwMode="auto">
            <a:xfrm>
              <a:off x="6558202" y="2387674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5" name="Oval 184">
              <a:extLst>
                <a:ext uri="{FF2B5EF4-FFF2-40B4-BE49-F238E27FC236}">
                  <a16:creationId xmlns:a16="http://schemas.microsoft.com/office/drawing/2014/main" id="{E6A6F9AD-E5FB-FC45-8D91-7E2039D38A65}"/>
                </a:ext>
              </a:extLst>
            </p:cNvPr>
            <p:cNvSpPr/>
            <p:nvPr/>
          </p:nvSpPr>
          <p:spPr bwMode="auto">
            <a:xfrm>
              <a:off x="6834427" y="2438474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6" name="Oval 185">
              <a:extLst>
                <a:ext uri="{FF2B5EF4-FFF2-40B4-BE49-F238E27FC236}">
                  <a16:creationId xmlns:a16="http://schemas.microsoft.com/office/drawing/2014/main" id="{0CF31637-10F1-E94E-95A2-882CEF5D600B}"/>
                </a:ext>
              </a:extLst>
            </p:cNvPr>
            <p:cNvSpPr/>
            <p:nvPr/>
          </p:nvSpPr>
          <p:spPr bwMode="auto">
            <a:xfrm>
              <a:off x="6558202" y="2574999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7" name="Oval 186">
              <a:extLst>
                <a:ext uri="{FF2B5EF4-FFF2-40B4-BE49-F238E27FC236}">
                  <a16:creationId xmlns:a16="http://schemas.microsoft.com/office/drawing/2014/main" id="{61037609-1A15-3E4A-B6FB-8D3444D07326}"/>
                </a:ext>
              </a:extLst>
            </p:cNvPr>
            <p:cNvSpPr/>
            <p:nvPr/>
          </p:nvSpPr>
          <p:spPr bwMode="auto">
            <a:xfrm>
              <a:off x="6291502" y="2438474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8" name="Oval 187">
              <a:extLst>
                <a:ext uri="{FF2B5EF4-FFF2-40B4-BE49-F238E27FC236}">
                  <a16:creationId xmlns:a16="http://schemas.microsoft.com/office/drawing/2014/main" id="{21E30766-5BEA-014A-A71E-0DD9D456F5DF}"/>
                </a:ext>
              </a:extLst>
            </p:cNvPr>
            <p:cNvSpPr/>
            <p:nvPr/>
          </p:nvSpPr>
          <p:spPr bwMode="auto">
            <a:xfrm>
              <a:off x="6558202" y="1925712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95" name="Group 194">
            <a:extLst>
              <a:ext uri="{FF2B5EF4-FFF2-40B4-BE49-F238E27FC236}">
                <a16:creationId xmlns:a16="http://schemas.microsoft.com/office/drawing/2014/main" id="{31BA5C6F-0674-7C48-9056-BD48849AA1ED}"/>
              </a:ext>
            </a:extLst>
          </p:cNvPr>
          <p:cNvGrpSpPr/>
          <p:nvPr/>
        </p:nvGrpSpPr>
        <p:grpSpPr>
          <a:xfrm>
            <a:off x="10387064" y="6879347"/>
            <a:ext cx="682656" cy="4979766"/>
            <a:chOff x="967154" y="1481462"/>
            <a:chExt cx="5331069" cy="4214950"/>
          </a:xfrm>
          <a:noFill/>
        </p:grpSpPr>
        <p:cxnSp>
          <p:nvCxnSpPr>
            <p:cNvPr id="196" name="Straight Connector 195">
              <a:extLst>
                <a:ext uri="{FF2B5EF4-FFF2-40B4-BE49-F238E27FC236}">
                  <a16:creationId xmlns:a16="http://schemas.microsoft.com/office/drawing/2014/main" id="{BEC7017F-7AD2-304C-BE14-D4E66475C6DB}"/>
                </a:ext>
              </a:extLst>
            </p:cNvPr>
            <p:cNvCxnSpPr>
              <a:cxnSpLocks/>
            </p:cNvCxnSpPr>
            <p:nvPr/>
          </p:nvCxnSpPr>
          <p:spPr>
            <a:xfrm>
              <a:off x="967154" y="5696412"/>
              <a:ext cx="5331069" cy="0"/>
            </a:xfrm>
            <a:prstGeom prst="line">
              <a:avLst/>
            </a:prstGeom>
            <a:grpFill/>
            <a:ln w="12700">
              <a:solidFill>
                <a:schemeClr val="accent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7" name="Rectangle 196">
              <a:extLst>
                <a:ext uri="{FF2B5EF4-FFF2-40B4-BE49-F238E27FC236}">
                  <a16:creationId xmlns:a16="http://schemas.microsoft.com/office/drawing/2014/main" id="{149C43B7-28BE-CA40-9275-5359BAF500B4}"/>
                </a:ext>
              </a:extLst>
            </p:cNvPr>
            <p:cNvSpPr/>
            <p:nvPr/>
          </p:nvSpPr>
          <p:spPr bwMode="auto">
            <a:xfrm>
              <a:off x="1286608" y="2696308"/>
              <a:ext cx="2793023" cy="3000104"/>
            </a:xfrm>
            <a:prstGeom prst="rect">
              <a:avLst/>
            </a:prstGeom>
            <a:grpFill/>
            <a:ln w="12700">
              <a:solidFill>
                <a:schemeClr val="accent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8" name="Rectangle 197">
              <a:extLst>
                <a:ext uri="{FF2B5EF4-FFF2-40B4-BE49-F238E27FC236}">
                  <a16:creationId xmlns:a16="http://schemas.microsoft.com/office/drawing/2014/main" id="{EF98AB08-028C-F543-B507-412E1111B133}"/>
                </a:ext>
              </a:extLst>
            </p:cNvPr>
            <p:cNvSpPr/>
            <p:nvPr/>
          </p:nvSpPr>
          <p:spPr bwMode="auto">
            <a:xfrm>
              <a:off x="2225919" y="4700954"/>
              <a:ext cx="914400" cy="995458"/>
            </a:xfrm>
            <a:prstGeom prst="rect">
              <a:avLst/>
            </a:prstGeom>
            <a:grpFill/>
            <a:ln w="12700">
              <a:solidFill>
                <a:schemeClr val="accent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9" name="Freeform: Shape 404">
              <a:extLst>
                <a:ext uri="{FF2B5EF4-FFF2-40B4-BE49-F238E27FC236}">
                  <a16:creationId xmlns:a16="http://schemas.microsoft.com/office/drawing/2014/main" id="{30CF6A7F-B14F-8440-9BE6-2616D465776D}"/>
                </a:ext>
              </a:extLst>
            </p:cNvPr>
            <p:cNvSpPr/>
            <p:nvPr/>
          </p:nvSpPr>
          <p:spPr bwMode="auto">
            <a:xfrm>
              <a:off x="3301093" y="1481462"/>
              <a:ext cx="2666747" cy="4214948"/>
            </a:xfrm>
            <a:custGeom>
              <a:avLst/>
              <a:gdLst>
                <a:gd name="connsiteX0" fmla="*/ 0 w 2662937"/>
                <a:gd name="connsiteY0" fmla="*/ 0 h 4214948"/>
                <a:gd name="connsiteX1" fmla="*/ 2662937 w 2662937"/>
                <a:gd name="connsiteY1" fmla="*/ 0 h 4214948"/>
                <a:gd name="connsiteX2" fmla="*/ 2662937 w 2662937"/>
                <a:gd name="connsiteY2" fmla="*/ 4214948 h 4214948"/>
                <a:gd name="connsiteX3" fmla="*/ 0 w 2662937"/>
                <a:gd name="connsiteY3" fmla="*/ 4214948 h 4214948"/>
                <a:gd name="connsiteX4" fmla="*/ 0 w 2662937"/>
                <a:gd name="connsiteY4" fmla="*/ 3286480 h 4214948"/>
                <a:gd name="connsiteX5" fmla="*/ 864617 w 2662937"/>
                <a:gd name="connsiteY5" fmla="*/ 3286480 h 4214948"/>
                <a:gd name="connsiteX6" fmla="*/ 864617 w 2662937"/>
                <a:gd name="connsiteY6" fmla="*/ 896983 h 4214948"/>
                <a:gd name="connsiteX7" fmla="*/ 0 w 2662937"/>
                <a:gd name="connsiteY7" fmla="*/ 896983 h 4214948"/>
                <a:gd name="connsiteX8" fmla="*/ 0 w 2662937"/>
                <a:gd name="connsiteY8" fmla="*/ 0 h 4214948"/>
                <a:gd name="connsiteX0" fmla="*/ 864617 w 2662937"/>
                <a:gd name="connsiteY0" fmla="*/ 3286480 h 4214948"/>
                <a:gd name="connsiteX1" fmla="*/ 864617 w 2662937"/>
                <a:gd name="connsiteY1" fmla="*/ 896983 h 4214948"/>
                <a:gd name="connsiteX2" fmla="*/ 0 w 2662937"/>
                <a:gd name="connsiteY2" fmla="*/ 896983 h 4214948"/>
                <a:gd name="connsiteX3" fmla="*/ 0 w 2662937"/>
                <a:gd name="connsiteY3" fmla="*/ 0 h 4214948"/>
                <a:gd name="connsiteX4" fmla="*/ 2662937 w 2662937"/>
                <a:gd name="connsiteY4" fmla="*/ 0 h 4214948"/>
                <a:gd name="connsiteX5" fmla="*/ 2662937 w 2662937"/>
                <a:gd name="connsiteY5" fmla="*/ 4214948 h 4214948"/>
                <a:gd name="connsiteX6" fmla="*/ 0 w 2662937"/>
                <a:gd name="connsiteY6" fmla="*/ 4214948 h 4214948"/>
                <a:gd name="connsiteX7" fmla="*/ 0 w 2662937"/>
                <a:gd name="connsiteY7" fmla="*/ 3286480 h 4214948"/>
                <a:gd name="connsiteX8" fmla="*/ 956057 w 2662937"/>
                <a:gd name="connsiteY8" fmla="*/ 3377920 h 4214948"/>
                <a:gd name="connsiteX0" fmla="*/ 864617 w 2662937"/>
                <a:gd name="connsiteY0" fmla="*/ 3286480 h 4214948"/>
                <a:gd name="connsiteX1" fmla="*/ 864617 w 2662937"/>
                <a:gd name="connsiteY1" fmla="*/ 896983 h 4214948"/>
                <a:gd name="connsiteX2" fmla="*/ 0 w 2662937"/>
                <a:gd name="connsiteY2" fmla="*/ 896983 h 4214948"/>
                <a:gd name="connsiteX3" fmla="*/ 0 w 2662937"/>
                <a:gd name="connsiteY3" fmla="*/ 0 h 4214948"/>
                <a:gd name="connsiteX4" fmla="*/ 2662937 w 2662937"/>
                <a:gd name="connsiteY4" fmla="*/ 0 h 4214948"/>
                <a:gd name="connsiteX5" fmla="*/ 2662937 w 2662937"/>
                <a:gd name="connsiteY5" fmla="*/ 4214948 h 4214948"/>
                <a:gd name="connsiteX6" fmla="*/ 0 w 2662937"/>
                <a:gd name="connsiteY6" fmla="*/ 4214948 h 4214948"/>
                <a:gd name="connsiteX7" fmla="*/ 0 w 2662937"/>
                <a:gd name="connsiteY7" fmla="*/ 3286480 h 4214948"/>
                <a:gd name="connsiteX0" fmla="*/ 864617 w 2662937"/>
                <a:gd name="connsiteY0" fmla="*/ 3286480 h 4214948"/>
                <a:gd name="connsiteX1" fmla="*/ 864617 w 2662937"/>
                <a:gd name="connsiteY1" fmla="*/ 896983 h 4214948"/>
                <a:gd name="connsiteX2" fmla="*/ 0 w 2662937"/>
                <a:gd name="connsiteY2" fmla="*/ 896983 h 4214948"/>
                <a:gd name="connsiteX3" fmla="*/ 0 w 2662937"/>
                <a:gd name="connsiteY3" fmla="*/ 0 h 4214948"/>
                <a:gd name="connsiteX4" fmla="*/ 2662937 w 2662937"/>
                <a:gd name="connsiteY4" fmla="*/ 0 h 4214948"/>
                <a:gd name="connsiteX5" fmla="*/ 2662937 w 2662937"/>
                <a:gd name="connsiteY5" fmla="*/ 4214948 h 4214948"/>
                <a:gd name="connsiteX6" fmla="*/ 0 w 2662937"/>
                <a:gd name="connsiteY6" fmla="*/ 4214948 h 4214948"/>
                <a:gd name="connsiteX0" fmla="*/ 864617 w 2662937"/>
                <a:gd name="connsiteY0" fmla="*/ 896983 h 4214948"/>
                <a:gd name="connsiteX1" fmla="*/ 0 w 2662937"/>
                <a:gd name="connsiteY1" fmla="*/ 896983 h 4214948"/>
                <a:gd name="connsiteX2" fmla="*/ 0 w 2662937"/>
                <a:gd name="connsiteY2" fmla="*/ 0 h 4214948"/>
                <a:gd name="connsiteX3" fmla="*/ 2662937 w 2662937"/>
                <a:gd name="connsiteY3" fmla="*/ 0 h 4214948"/>
                <a:gd name="connsiteX4" fmla="*/ 2662937 w 2662937"/>
                <a:gd name="connsiteY4" fmla="*/ 4214948 h 4214948"/>
                <a:gd name="connsiteX5" fmla="*/ 0 w 2662937"/>
                <a:gd name="connsiteY5" fmla="*/ 4214948 h 4214948"/>
                <a:gd name="connsiteX0" fmla="*/ 0 w 2662937"/>
                <a:gd name="connsiteY0" fmla="*/ 896983 h 4214948"/>
                <a:gd name="connsiteX1" fmla="*/ 0 w 2662937"/>
                <a:gd name="connsiteY1" fmla="*/ 0 h 4214948"/>
                <a:gd name="connsiteX2" fmla="*/ 2662937 w 2662937"/>
                <a:gd name="connsiteY2" fmla="*/ 0 h 4214948"/>
                <a:gd name="connsiteX3" fmla="*/ 2662937 w 2662937"/>
                <a:gd name="connsiteY3" fmla="*/ 4214948 h 4214948"/>
                <a:gd name="connsiteX4" fmla="*/ 0 w 2662937"/>
                <a:gd name="connsiteY4" fmla="*/ 4214948 h 4214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2937" h="4214948">
                  <a:moveTo>
                    <a:pt x="0" y="896983"/>
                  </a:moveTo>
                  <a:lnTo>
                    <a:pt x="0" y="0"/>
                  </a:lnTo>
                  <a:lnTo>
                    <a:pt x="2662937" y="0"/>
                  </a:lnTo>
                  <a:lnTo>
                    <a:pt x="2662937" y="4214948"/>
                  </a:lnTo>
                  <a:lnTo>
                    <a:pt x="0" y="4214948"/>
                  </a:lnTo>
                </a:path>
              </a:pathLst>
            </a:custGeom>
            <a:grpFill/>
            <a:ln w="12700">
              <a:solidFill>
                <a:schemeClr val="accent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0" name="Freeform: Shape 405">
              <a:extLst>
                <a:ext uri="{FF2B5EF4-FFF2-40B4-BE49-F238E27FC236}">
                  <a16:creationId xmlns:a16="http://schemas.microsoft.com/office/drawing/2014/main" id="{955D3493-950B-6647-8376-6CD561B3CAFE}"/>
                </a:ext>
              </a:extLst>
            </p:cNvPr>
            <p:cNvSpPr/>
            <p:nvPr/>
          </p:nvSpPr>
          <p:spPr bwMode="auto">
            <a:xfrm>
              <a:off x="4427765" y="4700955"/>
              <a:ext cx="647700" cy="995456"/>
            </a:xfrm>
            <a:custGeom>
              <a:avLst/>
              <a:gdLst>
                <a:gd name="connsiteX0" fmla="*/ 48985 w 696685"/>
                <a:gd name="connsiteY0" fmla="*/ 0 h 1831521"/>
                <a:gd name="connsiteX1" fmla="*/ 696685 w 696685"/>
                <a:gd name="connsiteY1" fmla="*/ 0 h 1831521"/>
                <a:gd name="connsiteX2" fmla="*/ 696685 w 696685"/>
                <a:gd name="connsiteY2" fmla="*/ 1831521 h 1831521"/>
                <a:gd name="connsiteX3" fmla="*/ 0 w 696685"/>
                <a:gd name="connsiteY3" fmla="*/ 1831521 h 1831521"/>
                <a:gd name="connsiteX4" fmla="*/ 0 w 696685"/>
                <a:gd name="connsiteY4" fmla="*/ 1302517 h 1831521"/>
                <a:gd name="connsiteX5" fmla="*/ 48985 w 696685"/>
                <a:gd name="connsiteY5" fmla="*/ 1302517 h 1831521"/>
                <a:gd name="connsiteX0" fmla="*/ 48985 w 696685"/>
                <a:gd name="connsiteY0" fmla="*/ 1302517 h 1831521"/>
                <a:gd name="connsiteX1" fmla="*/ 48985 w 696685"/>
                <a:gd name="connsiteY1" fmla="*/ 0 h 1831521"/>
                <a:gd name="connsiteX2" fmla="*/ 696685 w 696685"/>
                <a:gd name="connsiteY2" fmla="*/ 0 h 1831521"/>
                <a:gd name="connsiteX3" fmla="*/ 696685 w 696685"/>
                <a:gd name="connsiteY3" fmla="*/ 1831521 h 1831521"/>
                <a:gd name="connsiteX4" fmla="*/ 0 w 696685"/>
                <a:gd name="connsiteY4" fmla="*/ 1831521 h 1831521"/>
                <a:gd name="connsiteX5" fmla="*/ 0 w 696685"/>
                <a:gd name="connsiteY5" fmla="*/ 1302517 h 1831521"/>
                <a:gd name="connsiteX6" fmla="*/ 140425 w 696685"/>
                <a:gd name="connsiteY6" fmla="*/ 1470756 h 1831521"/>
                <a:gd name="connsiteX0" fmla="*/ 48985 w 696685"/>
                <a:gd name="connsiteY0" fmla="*/ 1302517 h 1831521"/>
                <a:gd name="connsiteX1" fmla="*/ 48985 w 696685"/>
                <a:gd name="connsiteY1" fmla="*/ 0 h 1831521"/>
                <a:gd name="connsiteX2" fmla="*/ 696685 w 696685"/>
                <a:gd name="connsiteY2" fmla="*/ 0 h 1831521"/>
                <a:gd name="connsiteX3" fmla="*/ 696685 w 696685"/>
                <a:gd name="connsiteY3" fmla="*/ 1831521 h 1831521"/>
                <a:gd name="connsiteX4" fmla="*/ 0 w 696685"/>
                <a:gd name="connsiteY4" fmla="*/ 1831521 h 1831521"/>
                <a:gd name="connsiteX5" fmla="*/ 0 w 696685"/>
                <a:gd name="connsiteY5" fmla="*/ 1302517 h 1831521"/>
                <a:gd name="connsiteX0" fmla="*/ 48985 w 696685"/>
                <a:gd name="connsiteY0" fmla="*/ 1302517 h 1831521"/>
                <a:gd name="connsiteX1" fmla="*/ 48985 w 696685"/>
                <a:gd name="connsiteY1" fmla="*/ 0 h 1831521"/>
                <a:gd name="connsiteX2" fmla="*/ 696685 w 696685"/>
                <a:gd name="connsiteY2" fmla="*/ 0 h 1831521"/>
                <a:gd name="connsiteX3" fmla="*/ 696685 w 696685"/>
                <a:gd name="connsiteY3" fmla="*/ 1831521 h 1831521"/>
                <a:gd name="connsiteX4" fmla="*/ 0 w 696685"/>
                <a:gd name="connsiteY4" fmla="*/ 1831521 h 1831521"/>
                <a:gd name="connsiteX0" fmla="*/ 48985 w 696685"/>
                <a:gd name="connsiteY0" fmla="*/ 0 h 1831521"/>
                <a:gd name="connsiteX1" fmla="*/ 696685 w 696685"/>
                <a:gd name="connsiteY1" fmla="*/ 0 h 1831521"/>
                <a:gd name="connsiteX2" fmla="*/ 696685 w 696685"/>
                <a:gd name="connsiteY2" fmla="*/ 1831521 h 1831521"/>
                <a:gd name="connsiteX3" fmla="*/ 0 w 696685"/>
                <a:gd name="connsiteY3" fmla="*/ 1831521 h 1831521"/>
                <a:gd name="connsiteX0" fmla="*/ 0 w 647700"/>
                <a:gd name="connsiteY0" fmla="*/ 0 h 1831521"/>
                <a:gd name="connsiteX1" fmla="*/ 647700 w 647700"/>
                <a:gd name="connsiteY1" fmla="*/ 0 h 1831521"/>
                <a:gd name="connsiteX2" fmla="*/ 647700 w 647700"/>
                <a:gd name="connsiteY2" fmla="*/ 1831521 h 1831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7700" h="1831521">
                  <a:moveTo>
                    <a:pt x="0" y="0"/>
                  </a:moveTo>
                  <a:lnTo>
                    <a:pt x="647700" y="0"/>
                  </a:lnTo>
                  <a:lnTo>
                    <a:pt x="647700" y="1831521"/>
                  </a:lnTo>
                </a:path>
              </a:pathLst>
            </a:custGeom>
            <a:grpFill/>
            <a:ln w="12700">
              <a:solidFill>
                <a:schemeClr val="accent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1099D9F-7ED2-6541-8648-491FB43A7D14}"/>
              </a:ext>
            </a:extLst>
          </p:cNvPr>
          <p:cNvSpPr/>
          <p:nvPr/>
        </p:nvSpPr>
        <p:spPr bwMode="auto">
          <a:xfrm>
            <a:off x="8100159" y="148623"/>
            <a:ext cx="894457" cy="724966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239" name="Freeform 238">
            <a:extLst>
              <a:ext uri="{FF2B5EF4-FFF2-40B4-BE49-F238E27FC236}">
                <a16:creationId xmlns:a16="http://schemas.microsoft.com/office/drawing/2014/main" id="{BF84D008-0197-DB4B-A0C2-9548A308D674}"/>
              </a:ext>
            </a:extLst>
          </p:cNvPr>
          <p:cNvSpPr/>
          <p:nvPr/>
        </p:nvSpPr>
        <p:spPr bwMode="auto">
          <a:xfrm rot="19841501" flipH="1">
            <a:off x="6784305" y="1266659"/>
            <a:ext cx="136659" cy="305889"/>
          </a:xfrm>
          <a:custGeom>
            <a:avLst/>
            <a:gdLst>
              <a:gd name="connsiteX0" fmla="*/ 250825 w 250825"/>
              <a:gd name="connsiteY0" fmla="*/ 0 h 269875"/>
              <a:gd name="connsiteX1" fmla="*/ 0 w 250825"/>
              <a:gd name="connsiteY1" fmla="*/ 142875 h 269875"/>
              <a:gd name="connsiteX2" fmla="*/ 250825 w 250825"/>
              <a:gd name="connsiteY2" fmla="*/ 269875 h 269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0825" h="269875">
                <a:moveTo>
                  <a:pt x="250825" y="0"/>
                </a:moveTo>
                <a:lnTo>
                  <a:pt x="0" y="142875"/>
                </a:lnTo>
                <a:lnTo>
                  <a:pt x="250825" y="269875"/>
                </a:lnTo>
              </a:path>
            </a:pathLst>
          </a:custGeom>
          <a:ln w="1270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 useBgFill="1">
        <p:nvSpPr>
          <p:cNvPr id="240" name="Freeform 239">
            <a:extLst>
              <a:ext uri="{FF2B5EF4-FFF2-40B4-BE49-F238E27FC236}">
                <a16:creationId xmlns:a16="http://schemas.microsoft.com/office/drawing/2014/main" id="{0EA015D6-8970-F442-96D2-12A12E0331D4}"/>
              </a:ext>
            </a:extLst>
          </p:cNvPr>
          <p:cNvSpPr/>
          <p:nvPr/>
        </p:nvSpPr>
        <p:spPr bwMode="auto">
          <a:xfrm rot="1583341" flipH="1">
            <a:off x="10244855" y="1283761"/>
            <a:ext cx="136659" cy="305889"/>
          </a:xfrm>
          <a:custGeom>
            <a:avLst/>
            <a:gdLst>
              <a:gd name="connsiteX0" fmla="*/ 250825 w 250825"/>
              <a:gd name="connsiteY0" fmla="*/ 0 h 269875"/>
              <a:gd name="connsiteX1" fmla="*/ 0 w 250825"/>
              <a:gd name="connsiteY1" fmla="*/ 142875 h 269875"/>
              <a:gd name="connsiteX2" fmla="*/ 250825 w 250825"/>
              <a:gd name="connsiteY2" fmla="*/ 269875 h 269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0825" h="269875">
                <a:moveTo>
                  <a:pt x="250825" y="0"/>
                </a:moveTo>
                <a:lnTo>
                  <a:pt x="0" y="142875"/>
                </a:lnTo>
                <a:lnTo>
                  <a:pt x="250825" y="269875"/>
                </a:lnTo>
              </a:path>
            </a:pathLst>
          </a:custGeom>
          <a:ln w="1270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 useBgFill="1">
        <p:nvSpPr>
          <p:cNvPr id="241" name="Freeform 240">
            <a:extLst>
              <a:ext uri="{FF2B5EF4-FFF2-40B4-BE49-F238E27FC236}">
                <a16:creationId xmlns:a16="http://schemas.microsoft.com/office/drawing/2014/main" id="{6B0D99FF-B2E7-624A-B45A-9634031CA932}"/>
              </a:ext>
            </a:extLst>
          </p:cNvPr>
          <p:cNvSpPr/>
          <p:nvPr/>
        </p:nvSpPr>
        <p:spPr bwMode="auto">
          <a:xfrm rot="6586313" flipH="1">
            <a:off x="11134886" y="4076091"/>
            <a:ext cx="136659" cy="305889"/>
          </a:xfrm>
          <a:custGeom>
            <a:avLst/>
            <a:gdLst>
              <a:gd name="connsiteX0" fmla="*/ 250825 w 250825"/>
              <a:gd name="connsiteY0" fmla="*/ 0 h 269875"/>
              <a:gd name="connsiteX1" fmla="*/ 0 w 250825"/>
              <a:gd name="connsiteY1" fmla="*/ 142875 h 269875"/>
              <a:gd name="connsiteX2" fmla="*/ 250825 w 250825"/>
              <a:gd name="connsiteY2" fmla="*/ 269875 h 269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0825" h="269875">
                <a:moveTo>
                  <a:pt x="250825" y="0"/>
                </a:moveTo>
                <a:lnTo>
                  <a:pt x="0" y="142875"/>
                </a:lnTo>
                <a:lnTo>
                  <a:pt x="250825" y="269875"/>
                </a:lnTo>
              </a:path>
            </a:pathLst>
          </a:custGeom>
          <a:ln w="1270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 useBgFill="1">
        <p:nvSpPr>
          <p:cNvPr id="242" name="Freeform 241">
            <a:extLst>
              <a:ext uri="{FF2B5EF4-FFF2-40B4-BE49-F238E27FC236}">
                <a16:creationId xmlns:a16="http://schemas.microsoft.com/office/drawing/2014/main" id="{F4F68F41-8CEF-A649-9EA5-926EC4FBDD9F}"/>
              </a:ext>
            </a:extLst>
          </p:cNvPr>
          <p:cNvSpPr/>
          <p:nvPr/>
        </p:nvSpPr>
        <p:spPr bwMode="auto">
          <a:xfrm rot="10800000" flipH="1">
            <a:off x="8547388" y="6055793"/>
            <a:ext cx="136659" cy="305889"/>
          </a:xfrm>
          <a:custGeom>
            <a:avLst/>
            <a:gdLst>
              <a:gd name="connsiteX0" fmla="*/ 250825 w 250825"/>
              <a:gd name="connsiteY0" fmla="*/ 0 h 269875"/>
              <a:gd name="connsiteX1" fmla="*/ 0 w 250825"/>
              <a:gd name="connsiteY1" fmla="*/ 142875 h 269875"/>
              <a:gd name="connsiteX2" fmla="*/ 250825 w 250825"/>
              <a:gd name="connsiteY2" fmla="*/ 269875 h 269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0825" h="269875">
                <a:moveTo>
                  <a:pt x="250825" y="0"/>
                </a:moveTo>
                <a:lnTo>
                  <a:pt x="0" y="142875"/>
                </a:lnTo>
                <a:lnTo>
                  <a:pt x="250825" y="269875"/>
                </a:lnTo>
              </a:path>
            </a:pathLst>
          </a:custGeom>
          <a:ln w="1270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 useBgFill="1">
        <p:nvSpPr>
          <p:cNvPr id="243" name="Freeform 242">
            <a:extLst>
              <a:ext uri="{FF2B5EF4-FFF2-40B4-BE49-F238E27FC236}">
                <a16:creationId xmlns:a16="http://schemas.microsoft.com/office/drawing/2014/main" id="{0ADB20F3-7508-1E48-AF72-636595DAC877}"/>
              </a:ext>
            </a:extLst>
          </p:cNvPr>
          <p:cNvSpPr/>
          <p:nvPr/>
        </p:nvSpPr>
        <p:spPr bwMode="auto">
          <a:xfrm rot="13939501" flipH="1">
            <a:off x="6101589" y="4532304"/>
            <a:ext cx="136659" cy="305889"/>
          </a:xfrm>
          <a:custGeom>
            <a:avLst/>
            <a:gdLst>
              <a:gd name="connsiteX0" fmla="*/ 250825 w 250825"/>
              <a:gd name="connsiteY0" fmla="*/ 0 h 269875"/>
              <a:gd name="connsiteX1" fmla="*/ 0 w 250825"/>
              <a:gd name="connsiteY1" fmla="*/ 142875 h 269875"/>
              <a:gd name="connsiteX2" fmla="*/ 250825 w 250825"/>
              <a:gd name="connsiteY2" fmla="*/ 269875 h 269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0825" h="269875">
                <a:moveTo>
                  <a:pt x="250825" y="0"/>
                </a:moveTo>
                <a:lnTo>
                  <a:pt x="0" y="142875"/>
                </a:lnTo>
                <a:lnTo>
                  <a:pt x="250825" y="269875"/>
                </a:lnTo>
              </a:path>
            </a:pathLst>
          </a:custGeom>
          <a:ln w="1270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D66D741F-9E32-4325-80E2-0E237C1A40B6}"/>
              </a:ext>
            </a:extLst>
          </p:cNvPr>
          <p:cNvGrpSpPr/>
          <p:nvPr/>
        </p:nvGrpSpPr>
        <p:grpSpPr>
          <a:xfrm rot="1758133">
            <a:off x="8097408" y="220198"/>
            <a:ext cx="1364605" cy="690803"/>
            <a:chOff x="8588574" y="428487"/>
            <a:chExt cx="1330434" cy="673502"/>
          </a:xfrm>
        </p:grpSpPr>
        <p:sp>
          <p:nvSpPr>
            <p:cNvPr id="107" name="Rectangle 106">
              <a:extLst>
                <a:ext uri="{FF2B5EF4-FFF2-40B4-BE49-F238E27FC236}">
                  <a16:creationId xmlns:a16="http://schemas.microsoft.com/office/drawing/2014/main" id="{4605EE45-72F0-410F-96CC-92D0209F2B13}"/>
                </a:ext>
              </a:extLst>
            </p:cNvPr>
            <p:cNvSpPr/>
            <p:nvPr/>
          </p:nvSpPr>
          <p:spPr bwMode="auto">
            <a:xfrm>
              <a:off x="9715808" y="428487"/>
              <a:ext cx="203200" cy="166829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07EA252C-F2D3-448B-8D0C-6D5A39BD1C4C}"/>
                </a:ext>
              </a:extLst>
            </p:cNvPr>
            <p:cNvSpPr/>
            <p:nvPr/>
          </p:nvSpPr>
          <p:spPr bwMode="auto">
            <a:xfrm>
              <a:off x="8588574" y="935160"/>
              <a:ext cx="203200" cy="166829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36" name="TextBox 135">
            <a:extLst>
              <a:ext uri="{FF2B5EF4-FFF2-40B4-BE49-F238E27FC236}">
                <a16:creationId xmlns:a16="http://schemas.microsoft.com/office/drawing/2014/main" id="{21C7EB02-38D6-F449-B54A-AA4153E5EEE8}"/>
              </a:ext>
            </a:extLst>
          </p:cNvPr>
          <p:cNvSpPr txBox="1"/>
          <p:nvPr/>
        </p:nvSpPr>
        <p:spPr>
          <a:xfrm>
            <a:off x="7925710" y="957206"/>
            <a:ext cx="1356926" cy="4984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600"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pPr marL="0" marR="0" lvl="0" indent="0" algn="ctr" defTabSz="9140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rain &amp; </a:t>
            </a:r>
            <a:br>
              <a:rPr kumimoji="0" lang="en-US" sz="137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en-US" sz="137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est Mode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E6F65DF-0886-4B1B-ABA5-CBF2D438B3D1}"/>
              </a:ext>
            </a:extLst>
          </p:cNvPr>
          <p:cNvSpPr txBox="1"/>
          <p:nvPr/>
        </p:nvSpPr>
        <p:spPr>
          <a:xfrm>
            <a:off x="7189876" y="3072640"/>
            <a:ext cx="3049148" cy="96026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accent1"/>
                </a:solidFill>
                <a:latin typeface="+mj-lt"/>
              </a:rPr>
              <a:t>Integrated with Azure DevOps</a:t>
            </a:r>
          </a:p>
        </p:txBody>
      </p:sp>
      <p:grpSp>
        <p:nvGrpSpPr>
          <p:cNvPr id="298" name="Group 297">
            <a:extLst>
              <a:ext uri="{FF2B5EF4-FFF2-40B4-BE49-F238E27FC236}">
                <a16:creationId xmlns:a16="http://schemas.microsoft.com/office/drawing/2014/main" id="{32FFCCA8-39A9-4E11-813C-979DB273E786}"/>
              </a:ext>
            </a:extLst>
          </p:cNvPr>
          <p:cNvGrpSpPr/>
          <p:nvPr/>
        </p:nvGrpSpPr>
        <p:grpSpPr>
          <a:xfrm>
            <a:off x="5207678" y="2978373"/>
            <a:ext cx="1373649" cy="484028"/>
            <a:chOff x="2762483" y="3494189"/>
            <a:chExt cx="1219498" cy="379473"/>
          </a:xfrm>
        </p:grpSpPr>
        <p:pic>
          <p:nvPicPr>
            <p:cNvPr id="299" name="Picture 298" descr="A close up of a sign&#10;&#10;Description automatically generated">
              <a:extLst>
                <a:ext uri="{FF2B5EF4-FFF2-40B4-BE49-F238E27FC236}">
                  <a16:creationId xmlns:a16="http://schemas.microsoft.com/office/drawing/2014/main" id="{5B9FAF76-796A-4C25-BEDD-06206647BD8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86829" y="3541599"/>
              <a:ext cx="295152" cy="308427"/>
            </a:xfrm>
            <a:prstGeom prst="rect">
              <a:avLst/>
            </a:prstGeom>
          </p:spPr>
        </p:pic>
        <p:pic>
          <p:nvPicPr>
            <p:cNvPr id="300" name="Picture 299" descr="A close up of a sign&#10;&#10;Description automatically generated">
              <a:extLst>
                <a:ext uri="{FF2B5EF4-FFF2-40B4-BE49-F238E27FC236}">
                  <a16:creationId xmlns:a16="http://schemas.microsoft.com/office/drawing/2014/main" id="{FC724F2F-AFD2-42E5-B0C6-F24E13A7AD8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62483" y="3494189"/>
              <a:ext cx="351260" cy="350774"/>
            </a:xfrm>
            <a:prstGeom prst="rect">
              <a:avLst/>
            </a:prstGeom>
          </p:spPr>
        </p:pic>
        <p:pic>
          <p:nvPicPr>
            <p:cNvPr id="301" name="Picture 300" descr="A picture containing vector graphics&#10;&#10;Description automatically generated">
              <a:extLst>
                <a:ext uri="{FF2B5EF4-FFF2-40B4-BE49-F238E27FC236}">
                  <a16:creationId xmlns:a16="http://schemas.microsoft.com/office/drawing/2014/main" id="{2C3F622B-0A8C-4B19-838B-7C4929F5062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3030" y="3522888"/>
              <a:ext cx="306761" cy="350774"/>
            </a:xfrm>
            <a:prstGeom prst="rect">
              <a:avLst/>
            </a:prstGeom>
          </p:spPr>
        </p:pic>
      </p:grpSp>
      <p:pic>
        <p:nvPicPr>
          <p:cNvPr id="302" name="Picture 301">
            <a:extLst>
              <a:ext uri="{FF2B5EF4-FFF2-40B4-BE49-F238E27FC236}">
                <a16:creationId xmlns:a16="http://schemas.microsoft.com/office/drawing/2014/main" id="{C9B862B8-E534-47D2-B46F-3513F96F520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9024" y="4962553"/>
            <a:ext cx="795874" cy="447385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23173286-93E7-4194-9E10-872BE2AE34F1}"/>
              </a:ext>
            </a:extLst>
          </p:cNvPr>
          <p:cNvGrpSpPr/>
          <p:nvPr/>
        </p:nvGrpSpPr>
        <p:grpSpPr>
          <a:xfrm>
            <a:off x="8150230" y="185775"/>
            <a:ext cx="1032354" cy="767264"/>
            <a:chOff x="8267568" y="420203"/>
            <a:chExt cx="1032354" cy="767264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80CC8A9-B255-4FB6-9143-F45170A6C591}"/>
                </a:ext>
              </a:extLst>
            </p:cNvPr>
            <p:cNvSpPr/>
            <p:nvPr/>
          </p:nvSpPr>
          <p:spPr>
            <a:xfrm>
              <a:off x="8790153" y="1014696"/>
              <a:ext cx="30852" cy="64077"/>
            </a:xfrm>
            <a:custGeom>
              <a:avLst/>
              <a:gdLst>
                <a:gd name="connsiteX0" fmla="*/ 0 w 30851"/>
                <a:gd name="connsiteY0" fmla="*/ 0 h 64077"/>
                <a:gd name="connsiteX1" fmla="*/ 30852 w 30851"/>
                <a:gd name="connsiteY1" fmla="*/ 30615 h 64077"/>
                <a:gd name="connsiteX2" fmla="*/ 31089 w 30851"/>
                <a:gd name="connsiteY2" fmla="*/ 65976 h 64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851" h="64077">
                  <a:moveTo>
                    <a:pt x="0" y="0"/>
                  </a:moveTo>
                  <a:cubicBezTo>
                    <a:pt x="30852" y="30615"/>
                    <a:pt x="30852" y="30615"/>
                    <a:pt x="30852" y="30615"/>
                  </a:cubicBezTo>
                  <a:cubicBezTo>
                    <a:pt x="31089" y="65976"/>
                    <a:pt x="31089" y="65976"/>
                    <a:pt x="31089" y="65976"/>
                  </a:cubicBezTo>
                </a:path>
              </a:pathLst>
            </a:custGeom>
            <a:noFill/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45BF4EE2-025C-44FB-ACFF-4408315F08D3}"/>
                </a:ext>
              </a:extLst>
            </p:cNvPr>
            <p:cNvSpPr/>
            <p:nvPr/>
          </p:nvSpPr>
          <p:spPr>
            <a:xfrm>
              <a:off x="8727262" y="1015408"/>
              <a:ext cx="28479" cy="64077"/>
            </a:xfrm>
            <a:custGeom>
              <a:avLst/>
              <a:gdLst>
                <a:gd name="connsiteX0" fmla="*/ 29665 w 28478"/>
                <a:gd name="connsiteY0" fmla="*/ 0 h 64077"/>
                <a:gd name="connsiteX1" fmla="*/ 0 w 28478"/>
                <a:gd name="connsiteY1" fmla="*/ 30377 h 64077"/>
                <a:gd name="connsiteX2" fmla="*/ 237 w 28478"/>
                <a:gd name="connsiteY2" fmla="*/ 65738 h 64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478" h="64077">
                  <a:moveTo>
                    <a:pt x="29665" y="0"/>
                  </a:moveTo>
                  <a:cubicBezTo>
                    <a:pt x="0" y="30377"/>
                    <a:pt x="0" y="30377"/>
                    <a:pt x="0" y="30377"/>
                  </a:cubicBezTo>
                  <a:cubicBezTo>
                    <a:pt x="237" y="65738"/>
                    <a:pt x="237" y="65738"/>
                    <a:pt x="237" y="65738"/>
                  </a:cubicBezTo>
                </a:path>
              </a:pathLst>
            </a:custGeom>
            <a:noFill/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A920F03-696D-4722-9742-4FE1332E2C67}"/>
                </a:ext>
              </a:extLst>
            </p:cNvPr>
            <p:cNvSpPr/>
            <p:nvPr/>
          </p:nvSpPr>
          <p:spPr>
            <a:xfrm>
              <a:off x="8387416" y="809884"/>
              <a:ext cx="408195" cy="367850"/>
            </a:xfrm>
            <a:custGeom>
              <a:avLst/>
              <a:gdLst>
                <a:gd name="connsiteX0" fmla="*/ 93505 w 408195"/>
                <a:gd name="connsiteY0" fmla="*/ 129818 h 367849"/>
                <a:gd name="connsiteX1" fmla="*/ 34886 w 408195"/>
                <a:gd name="connsiteY1" fmla="*/ 188674 h 367849"/>
                <a:gd name="connsiteX2" fmla="*/ 34886 w 408195"/>
                <a:gd name="connsiteY2" fmla="*/ 367853 h 367849"/>
                <a:gd name="connsiteX3" fmla="*/ 151887 w 408195"/>
                <a:gd name="connsiteY3" fmla="*/ 367853 h 367849"/>
                <a:gd name="connsiteX4" fmla="*/ 151887 w 408195"/>
                <a:gd name="connsiteY4" fmla="*/ 188674 h 367849"/>
                <a:gd name="connsiteX5" fmla="*/ 93505 w 408195"/>
                <a:gd name="connsiteY5" fmla="*/ 129818 h 367849"/>
                <a:gd name="connsiteX6" fmla="*/ 93505 w 408195"/>
                <a:gd name="connsiteY6" fmla="*/ 129818 h 367849"/>
                <a:gd name="connsiteX7" fmla="*/ 0 w 408195"/>
                <a:gd name="connsiteY7" fmla="*/ 367853 h 367849"/>
                <a:gd name="connsiteX8" fmla="*/ 187248 w 408195"/>
                <a:gd name="connsiteY8" fmla="*/ 367853 h 367849"/>
                <a:gd name="connsiteX9" fmla="*/ 150225 w 408195"/>
                <a:gd name="connsiteY9" fmla="*/ 173249 h 367849"/>
                <a:gd name="connsiteX10" fmla="*/ 259394 w 408195"/>
                <a:gd name="connsiteY10" fmla="*/ 60046 h 367849"/>
                <a:gd name="connsiteX11" fmla="*/ 258682 w 408195"/>
                <a:gd name="connsiteY11" fmla="*/ 9971 h 367849"/>
                <a:gd name="connsiteX12" fmla="*/ 209081 w 408195"/>
                <a:gd name="connsiteY12" fmla="*/ 10683 h 367849"/>
                <a:gd name="connsiteX13" fmla="*/ 94454 w 408195"/>
                <a:gd name="connsiteY13" fmla="*/ 129581 h 367849"/>
                <a:gd name="connsiteX14" fmla="*/ 369274 w 408195"/>
                <a:gd name="connsiteY14" fmla="*/ 128157 h 367849"/>
                <a:gd name="connsiteX15" fmla="*/ 402974 w 408195"/>
                <a:gd name="connsiteY15" fmla="*/ 116291 h 367849"/>
                <a:gd name="connsiteX16" fmla="*/ 391582 w 408195"/>
                <a:gd name="connsiteY16" fmla="*/ 87100 h 367849"/>
                <a:gd name="connsiteX17" fmla="*/ 243730 w 408195"/>
                <a:gd name="connsiteY17" fmla="*/ 952 h 367849"/>
                <a:gd name="connsiteX18" fmla="*/ 369274 w 408195"/>
                <a:gd name="connsiteY18" fmla="*/ 128157 h 367849"/>
                <a:gd name="connsiteX19" fmla="*/ 256783 w 408195"/>
                <a:gd name="connsiteY19" fmla="*/ 62182 h 367849"/>
                <a:gd name="connsiteX20" fmla="*/ 363104 w 408195"/>
                <a:gd name="connsiteY20" fmla="*/ 188674 h 367849"/>
                <a:gd name="connsiteX21" fmla="*/ 390633 w 408195"/>
                <a:gd name="connsiteY21" fmla="*/ 211695 h 367849"/>
                <a:gd name="connsiteX22" fmla="*/ 410094 w 408195"/>
                <a:gd name="connsiteY22" fmla="*/ 187013 h 367849"/>
                <a:gd name="connsiteX23" fmla="*/ 404398 w 408195"/>
                <a:gd name="connsiteY23" fmla="*/ 109409 h 367849"/>
                <a:gd name="connsiteX24" fmla="*/ 363104 w 408195"/>
                <a:gd name="connsiteY24" fmla="*/ 188674 h 367849"/>
                <a:gd name="connsiteX25" fmla="*/ 362629 w 408195"/>
                <a:gd name="connsiteY25" fmla="*/ 123173 h 367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08195" h="367849">
                  <a:moveTo>
                    <a:pt x="93505" y="129818"/>
                  </a:moveTo>
                  <a:cubicBezTo>
                    <a:pt x="61229" y="129818"/>
                    <a:pt x="34886" y="156161"/>
                    <a:pt x="34886" y="188674"/>
                  </a:cubicBezTo>
                  <a:cubicBezTo>
                    <a:pt x="34886" y="353614"/>
                    <a:pt x="34886" y="367853"/>
                    <a:pt x="34886" y="367853"/>
                  </a:cubicBezTo>
                  <a:cubicBezTo>
                    <a:pt x="151887" y="367853"/>
                    <a:pt x="151887" y="367853"/>
                    <a:pt x="151887" y="367853"/>
                  </a:cubicBezTo>
                  <a:cubicBezTo>
                    <a:pt x="151887" y="202914"/>
                    <a:pt x="151887" y="188674"/>
                    <a:pt x="151887" y="188674"/>
                  </a:cubicBezTo>
                  <a:cubicBezTo>
                    <a:pt x="152124" y="156161"/>
                    <a:pt x="126018" y="129818"/>
                    <a:pt x="93505" y="129818"/>
                  </a:cubicBezTo>
                  <a:lnTo>
                    <a:pt x="93505" y="129818"/>
                  </a:lnTo>
                  <a:close/>
                  <a:moveTo>
                    <a:pt x="0" y="367853"/>
                  </a:moveTo>
                  <a:cubicBezTo>
                    <a:pt x="187248" y="367853"/>
                    <a:pt x="187248" y="367853"/>
                    <a:pt x="187248" y="367853"/>
                  </a:cubicBezTo>
                  <a:moveTo>
                    <a:pt x="150225" y="173249"/>
                  </a:moveTo>
                  <a:cubicBezTo>
                    <a:pt x="259394" y="60046"/>
                    <a:pt x="259394" y="60046"/>
                    <a:pt x="259394" y="60046"/>
                  </a:cubicBezTo>
                  <a:cubicBezTo>
                    <a:pt x="272921" y="46044"/>
                    <a:pt x="272684" y="23735"/>
                    <a:pt x="258682" y="9971"/>
                  </a:cubicBezTo>
                  <a:cubicBezTo>
                    <a:pt x="244917" y="-3557"/>
                    <a:pt x="222609" y="-3319"/>
                    <a:pt x="209081" y="10683"/>
                  </a:cubicBezTo>
                  <a:cubicBezTo>
                    <a:pt x="94454" y="129581"/>
                    <a:pt x="94454" y="129581"/>
                    <a:pt x="94454" y="129581"/>
                  </a:cubicBezTo>
                  <a:moveTo>
                    <a:pt x="369274" y="128157"/>
                  </a:moveTo>
                  <a:cubicBezTo>
                    <a:pt x="381615" y="135514"/>
                    <a:pt x="397753" y="130293"/>
                    <a:pt x="402974" y="116291"/>
                  </a:cubicBezTo>
                  <a:cubicBezTo>
                    <a:pt x="407246" y="105374"/>
                    <a:pt x="401787" y="93033"/>
                    <a:pt x="391582" y="87100"/>
                  </a:cubicBezTo>
                  <a:cubicBezTo>
                    <a:pt x="243730" y="952"/>
                    <a:pt x="243730" y="952"/>
                    <a:pt x="243730" y="952"/>
                  </a:cubicBezTo>
                  <a:moveTo>
                    <a:pt x="369274" y="128157"/>
                  </a:moveTo>
                  <a:cubicBezTo>
                    <a:pt x="256783" y="62182"/>
                    <a:pt x="256783" y="62182"/>
                    <a:pt x="256783" y="62182"/>
                  </a:cubicBezTo>
                  <a:moveTo>
                    <a:pt x="363104" y="188674"/>
                  </a:moveTo>
                  <a:cubicBezTo>
                    <a:pt x="363104" y="202914"/>
                    <a:pt x="375919" y="214305"/>
                    <a:pt x="390633" y="211695"/>
                  </a:cubicBezTo>
                  <a:cubicBezTo>
                    <a:pt x="402025" y="209796"/>
                    <a:pt x="410094" y="198879"/>
                    <a:pt x="410094" y="187013"/>
                  </a:cubicBezTo>
                  <a:cubicBezTo>
                    <a:pt x="409856" y="164230"/>
                    <a:pt x="404635" y="126733"/>
                    <a:pt x="404398" y="109409"/>
                  </a:cubicBezTo>
                  <a:moveTo>
                    <a:pt x="363104" y="188674"/>
                  </a:moveTo>
                  <a:cubicBezTo>
                    <a:pt x="362866" y="161620"/>
                    <a:pt x="362866" y="140023"/>
                    <a:pt x="362629" y="123173"/>
                  </a:cubicBezTo>
                </a:path>
              </a:pathLst>
            </a:custGeom>
            <a:noFill/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0726F1AE-8E1B-44B8-9A88-199841D1F2FF}"/>
                </a:ext>
              </a:extLst>
            </p:cNvPr>
            <p:cNvSpPr/>
            <p:nvPr/>
          </p:nvSpPr>
          <p:spPr>
            <a:xfrm>
              <a:off x="8652505" y="849045"/>
              <a:ext cx="37972" cy="26105"/>
            </a:xfrm>
            <a:custGeom>
              <a:avLst/>
              <a:gdLst>
                <a:gd name="connsiteX0" fmla="*/ 38446 w 37971"/>
                <a:gd name="connsiteY0" fmla="*/ 0 h 26105"/>
                <a:gd name="connsiteX1" fmla="*/ 0 w 37971"/>
                <a:gd name="connsiteY1" fmla="*/ 27529 h 26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971" h="26105">
                  <a:moveTo>
                    <a:pt x="38446" y="0"/>
                  </a:moveTo>
                  <a:lnTo>
                    <a:pt x="0" y="27529"/>
                  </a:lnTo>
                </a:path>
              </a:pathLst>
            </a:custGeom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3FEB90DC-6E2D-4504-9920-B66EAF3F3B11}"/>
                </a:ext>
              </a:extLst>
            </p:cNvPr>
            <p:cNvSpPr/>
            <p:nvPr/>
          </p:nvSpPr>
          <p:spPr>
            <a:xfrm>
              <a:off x="8669355" y="856876"/>
              <a:ext cx="37972" cy="26105"/>
            </a:xfrm>
            <a:custGeom>
              <a:avLst/>
              <a:gdLst>
                <a:gd name="connsiteX0" fmla="*/ 38446 w 37971"/>
                <a:gd name="connsiteY0" fmla="*/ 0 h 26105"/>
                <a:gd name="connsiteX1" fmla="*/ 0 w 37971"/>
                <a:gd name="connsiteY1" fmla="*/ 27529 h 26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971" h="26105">
                  <a:moveTo>
                    <a:pt x="38446" y="0"/>
                  </a:moveTo>
                  <a:lnTo>
                    <a:pt x="0" y="27529"/>
                  </a:lnTo>
                </a:path>
              </a:pathLst>
            </a:custGeom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419A9D48-7E9C-49ED-805B-AA1FC6A98642}"/>
                </a:ext>
              </a:extLst>
            </p:cNvPr>
            <p:cNvSpPr/>
            <p:nvPr/>
          </p:nvSpPr>
          <p:spPr>
            <a:xfrm>
              <a:off x="8685731" y="867081"/>
              <a:ext cx="37972" cy="26105"/>
            </a:xfrm>
            <a:custGeom>
              <a:avLst/>
              <a:gdLst>
                <a:gd name="connsiteX0" fmla="*/ 38209 w 37971"/>
                <a:gd name="connsiteY0" fmla="*/ 0 h 26105"/>
                <a:gd name="connsiteX1" fmla="*/ 0 w 37971"/>
                <a:gd name="connsiteY1" fmla="*/ 27529 h 26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971" h="26105">
                  <a:moveTo>
                    <a:pt x="38209" y="0"/>
                  </a:moveTo>
                  <a:lnTo>
                    <a:pt x="0" y="27529"/>
                  </a:lnTo>
                </a:path>
              </a:pathLst>
            </a:custGeom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42E7B1D-E295-4CD7-ABE4-B069E607C0B7}"/>
                </a:ext>
              </a:extLst>
            </p:cNvPr>
            <p:cNvSpPr/>
            <p:nvPr/>
          </p:nvSpPr>
          <p:spPr>
            <a:xfrm>
              <a:off x="8701631" y="876812"/>
              <a:ext cx="37972" cy="26105"/>
            </a:xfrm>
            <a:custGeom>
              <a:avLst/>
              <a:gdLst>
                <a:gd name="connsiteX0" fmla="*/ 38446 w 37971"/>
                <a:gd name="connsiteY0" fmla="*/ 0 h 26105"/>
                <a:gd name="connsiteX1" fmla="*/ 0 w 37971"/>
                <a:gd name="connsiteY1" fmla="*/ 27529 h 26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971" h="26105">
                  <a:moveTo>
                    <a:pt x="38446" y="0"/>
                  </a:moveTo>
                  <a:lnTo>
                    <a:pt x="0" y="27529"/>
                  </a:lnTo>
                </a:path>
              </a:pathLst>
            </a:custGeom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E8476F9-1879-465C-B4D6-3A5AE232DFBC}"/>
                </a:ext>
              </a:extLst>
            </p:cNvPr>
            <p:cNvSpPr/>
            <p:nvPr/>
          </p:nvSpPr>
          <p:spPr>
            <a:xfrm>
              <a:off x="8469292" y="998558"/>
              <a:ext cx="21359" cy="23732"/>
            </a:xfrm>
            <a:custGeom>
              <a:avLst/>
              <a:gdLst>
                <a:gd name="connsiteX0" fmla="*/ 11629 w 21359"/>
                <a:gd name="connsiteY0" fmla="*/ 0 h 23732"/>
                <a:gd name="connsiteX1" fmla="*/ 0 w 21359"/>
                <a:gd name="connsiteY1" fmla="*/ 11866 h 23732"/>
                <a:gd name="connsiteX2" fmla="*/ 11629 w 21359"/>
                <a:gd name="connsiteY2" fmla="*/ 23732 h 23732"/>
                <a:gd name="connsiteX3" fmla="*/ 23258 w 21359"/>
                <a:gd name="connsiteY3" fmla="*/ 11866 h 23732"/>
                <a:gd name="connsiteX4" fmla="*/ 11629 w 21359"/>
                <a:gd name="connsiteY4" fmla="*/ 0 h 23732"/>
                <a:gd name="connsiteX5" fmla="*/ 11629 w 21359"/>
                <a:gd name="connsiteY5" fmla="*/ 0 h 2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359" h="23732">
                  <a:moveTo>
                    <a:pt x="11629" y="0"/>
                  </a:moveTo>
                  <a:cubicBezTo>
                    <a:pt x="5221" y="0"/>
                    <a:pt x="0" y="5221"/>
                    <a:pt x="0" y="11866"/>
                  </a:cubicBezTo>
                  <a:cubicBezTo>
                    <a:pt x="0" y="18274"/>
                    <a:pt x="5221" y="23732"/>
                    <a:pt x="11629" y="23732"/>
                  </a:cubicBezTo>
                  <a:cubicBezTo>
                    <a:pt x="18037" y="23732"/>
                    <a:pt x="23258" y="18511"/>
                    <a:pt x="23258" y="11866"/>
                  </a:cubicBezTo>
                  <a:cubicBezTo>
                    <a:pt x="23495" y="5221"/>
                    <a:pt x="18274" y="0"/>
                    <a:pt x="11629" y="0"/>
                  </a:cubicBezTo>
                  <a:lnTo>
                    <a:pt x="11629" y="0"/>
                  </a:lnTo>
                  <a:close/>
                </a:path>
              </a:pathLst>
            </a:custGeom>
            <a:noFill/>
            <a:ln w="23594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2E6AB57-5E77-443F-9F38-568ADA0D7C80}"/>
                </a:ext>
              </a:extLst>
            </p:cNvPr>
            <p:cNvSpPr/>
            <p:nvPr/>
          </p:nvSpPr>
          <p:spPr>
            <a:xfrm>
              <a:off x="8607651" y="835280"/>
              <a:ext cx="21359" cy="23732"/>
            </a:xfrm>
            <a:custGeom>
              <a:avLst/>
              <a:gdLst>
                <a:gd name="connsiteX0" fmla="*/ 11629 w 21359"/>
                <a:gd name="connsiteY0" fmla="*/ 0 h 23732"/>
                <a:gd name="connsiteX1" fmla="*/ 0 w 21359"/>
                <a:gd name="connsiteY1" fmla="*/ 11866 h 23732"/>
                <a:gd name="connsiteX2" fmla="*/ 11629 w 21359"/>
                <a:gd name="connsiteY2" fmla="*/ 23732 h 23732"/>
                <a:gd name="connsiteX3" fmla="*/ 23258 w 21359"/>
                <a:gd name="connsiteY3" fmla="*/ 11866 h 23732"/>
                <a:gd name="connsiteX4" fmla="*/ 11629 w 21359"/>
                <a:gd name="connsiteY4" fmla="*/ 0 h 23732"/>
                <a:gd name="connsiteX5" fmla="*/ 11629 w 21359"/>
                <a:gd name="connsiteY5" fmla="*/ 0 h 2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359" h="23732">
                  <a:moveTo>
                    <a:pt x="11629" y="0"/>
                  </a:moveTo>
                  <a:cubicBezTo>
                    <a:pt x="5221" y="0"/>
                    <a:pt x="0" y="5221"/>
                    <a:pt x="0" y="11866"/>
                  </a:cubicBezTo>
                  <a:cubicBezTo>
                    <a:pt x="0" y="18274"/>
                    <a:pt x="5221" y="23732"/>
                    <a:pt x="11629" y="23732"/>
                  </a:cubicBezTo>
                  <a:cubicBezTo>
                    <a:pt x="18037" y="23732"/>
                    <a:pt x="23258" y="18511"/>
                    <a:pt x="23258" y="11866"/>
                  </a:cubicBezTo>
                  <a:cubicBezTo>
                    <a:pt x="23495" y="5221"/>
                    <a:pt x="18274" y="0"/>
                    <a:pt x="11629" y="0"/>
                  </a:cubicBezTo>
                  <a:lnTo>
                    <a:pt x="11629" y="0"/>
                  </a:lnTo>
                  <a:close/>
                </a:path>
              </a:pathLst>
            </a:custGeom>
            <a:solidFill>
              <a:srgbClr val="4EB1FF"/>
            </a:solidFill>
            <a:ln w="2359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F4F9499-6F32-438D-9393-65BDC75310A4}"/>
                </a:ext>
              </a:extLst>
            </p:cNvPr>
            <p:cNvSpPr/>
            <p:nvPr/>
          </p:nvSpPr>
          <p:spPr>
            <a:xfrm>
              <a:off x="8754792" y="904104"/>
              <a:ext cx="21359" cy="23732"/>
            </a:xfrm>
            <a:custGeom>
              <a:avLst/>
              <a:gdLst>
                <a:gd name="connsiteX0" fmla="*/ 11629 w 21359"/>
                <a:gd name="connsiteY0" fmla="*/ 0 h 23732"/>
                <a:gd name="connsiteX1" fmla="*/ 0 w 21359"/>
                <a:gd name="connsiteY1" fmla="*/ 11866 h 23732"/>
                <a:gd name="connsiteX2" fmla="*/ 11629 w 21359"/>
                <a:gd name="connsiteY2" fmla="*/ 23732 h 23732"/>
                <a:gd name="connsiteX3" fmla="*/ 23258 w 21359"/>
                <a:gd name="connsiteY3" fmla="*/ 11866 h 23732"/>
                <a:gd name="connsiteX4" fmla="*/ 11629 w 21359"/>
                <a:gd name="connsiteY4" fmla="*/ 0 h 23732"/>
                <a:gd name="connsiteX5" fmla="*/ 11629 w 21359"/>
                <a:gd name="connsiteY5" fmla="*/ 0 h 2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359" h="23732">
                  <a:moveTo>
                    <a:pt x="11629" y="0"/>
                  </a:moveTo>
                  <a:cubicBezTo>
                    <a:pt x="5221" y="0"/>
                    <a:pt x="0" y="5221"/>
                    <a:pt x="0" y="11866"/>
                  </a:cubicBezTo>
                  <a:cubicBezTo>
                    <a:pt x="0" y="18274"/>
                    <a:pt x="5221" y="23732"/>
                    <a:pt x="11629" y="23732"/>
                  </a:cubicBezTo>
                  <a:cubicBezTo>
                    <a:pt x="18037" y="23732"/>
                    <a:pt x="23258" y="18511"/>
                    <a:pt x="23258" y="11866"/>
                  </a:cubicBezTo>
                  <a:cubicBezTo>
                    <a:pt x="23495" y="5221"/>
                    <a:pt x="18274" y="0"/>
                    <a:pt x="11629" y="0"/>
                  </a:cubicBezTo>
                  <a:lnTo>
                    <a:pt x="11629" y="0"/>
                  </a:lnTo>
                  <a:close/>
                </a:path>
              </a:pathLst>
            </a:custGeom>
            <a:solidFill>
              <a:srgbClr val="4EB1FF"/>
            </a:solidFill>
            <a:ln w="2359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ABFA7316-FABF-425B-A11B-1862FC6C97CD}"/>
                </a:ext>
              </a:extLst>
            </p:cNvPr>
            <p:cNvSpPr/>
            <p:nvPr/>
          </p:nvSpPr>
          <p:spPr>
            <a:xfrm>
              <a:off x="8762417" y="985773"/>
              <a:ext cx="21359" cy="21359"/>
            </a:xfrm>
            <a:custGeom>
              <a:avLst/>
              <a:gdLst>
                <a:gd name="connsiteX0" fmla="*/ 13971 w 21359"/>
                <a:gd name="connsiteY0" fmla="*/ 207 h 21359"/>
                <a:gd name="connsiteX1" fmla="*/ 207 w 21359"/>
                <a:gd name="connsiteY1" fmla="*/ 9462 h 21359"/>
                <a:gd name="connsiteX2" fmla="*/ 9462 w 21359"/>
                <a:gd name="connsiteY2" fmla="*/ 23227 h 21359"/>
                <a:gd name="connsiteX3" fmla="*/ 23227 w 21359"/>
                <a:gd name="connsiteY3" fmla="*/ 13971 h 21359"/>
                <a:gd name="connsiteX4" fmla="*/ 13971 w 21359"/>
                <a:gd name="connsiteY4" fmla="*/ 207 h 21359"/>
                <a:gd name="connsiteX5" fmla="*/ 13971 w 21359"/>
                <a:gd name="connsiteY5" fmla="*/ 207 h 21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359" h="21359">
                  <a:moveTo>
                    <a:pt x="13971" y="207"/>
                  </a:moveTo>
                  <a:cubicBezTo>
                    <a:pt x="7564" y="-980"/>
                    <a:pt x="1393" y="3055"/>
                    <a:pt x="207" y="9462"/>
                  </a:cubicBezTo>
                  <a:cubicBezTo>
                    <a:pt x="-980" y="15870"/>
                    <a:pt x="3055" y="22040"/>
                    <a:pt x="9462" y="23227"/>
                  </a:cubicBezTo>
                  <a:cubicBezTo>
                    <a:pt x="15870" y="24414"/>
                    <a:pt x="22040" y="20379"/>
                    <a:pt x="23227" y="13971"/>
                  </a:cubicBezTo>
                  <a:cubicBezTo>
                    <a:pt x="24651" y="7564"/>
                    <a:pt x="20379" y="1393"/>
                    <a:pt x="13971" y="207"/>
                  </a:cubicBezTo>
                  <a:lnTo>
                    <a:pt x="13971" y="207"/>
                  </a:lnTo>
                  <a:close/>
                </a:path>
              </a:pathLst>
            </a:custGeom>
            <a:solidFill>
              <a:srgbClr val="4EB1FF"/>
            </a:solidFill>
            <a:ln w="2359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3657BA17-ABE6-4359-9671-F046BACB9EC8}"/>
                </a:ext>
              </a:extLst>
            </p:cNvPr>
            <p:cNvSpPr/>
            <p:nvPr/>
          </p:nvSpPr>
          <p:spPr>
            <a:xfrm>
              <a:off x="8767132" y="1155191"/>
              <a:ext cx="21359" cy="23732"/>
            </a:xfrm>
            <a:custGeom>
              <a:avLst/>
              <a:gdLst>
                <a:gd name="connsiteX0" fmla="*/ 11629 w 21359"/>
                <a:gd name="connsiteY0" fmla="*/ 0 h 23732"/>
                <a:gd name="connsiteX1" fmla="*/ 0 w 21359"/>
                <a:gd name="connsiteY1" fmla="*/ 11866 h 23732"/>
                <a:gd name="connsiteX2" fmla="*/ 11629 w 21359"/>
                <a:gd name="connsiteY2" fmla="*/ 23732 h 23732"/>
                <a:gd name="connsiteX3" fmla="*/ 23258 w 21359"/>
                <a:gd name="connsiteY3" fmla="*/ 11866 h 23732"/>
                <a:gd name="connsiteX4" fmla="*/ 11629 w 21359"/>
                <a:gd name="connsiteY4" fmla="*/ 0 h 23732"/>
                <a:gd name="connsiteX5" fmla="*/ 11629 w 21359"/>
                <a:gd name="connsiteY5" fmla="*/ 0 h 2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359" h="23732">
                  <a:moveTo>
                    <a:pt x="11629" y="0"/>
                  </a:moveTo>
                  <a:cubicBezTo>
                    <a:pt x="5221" y="0"/>
                    <a:pt x="0" y="5221"/>
                    <a:pt x="0" y="11866"/>
                  </a:cubicBezTo>
                  <a:cubicBezTo>
                    <a:pt x="0" y="18274"/>
                    <a:pt x="5221" y="23732"/>
                    <a:pt x="11629" y="23732"/>
                  </a:cubicBezTo>
                  <a:cubicBezTo>
                    <a:pt x="18037" y="23732"/>
                    <a:pt x="23258" y="18511"/>
                    <a:pt x="23258" y="11866"/>
                  </a:cubicBezTo>
                  <a:cubicBezTo>
                    <a:pt x="23258" y="5221"/>
                    <a:pt x="18037" y="0"/>
                    <a:pt x="11629" y="0"/>
                  </a:cubicBezTo>
                  <a:lnTo>
                    <a:pt x="11629" y="0"/>
                  </a:lnTo>
                  <a:close/>
                </a:path>
              </a:pathLst>
            </a:custGeom>
            <a:solidFill>
              <a:srgbClr val="4EB1FF"/>
            </a:solidFill>
            <a:ln w="2359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85C695E-3835-4AD6-9787-CA3E8CDF5C7B}"/>
                </a:ext>
              </a:extLst>
            </p:cNvPr>
            <p:cNvSpPr/>
            <p:nvPr/>
          </p:nvSpPr>
          <p:spPr>
            <a:xfrm>
              <a:off x="8267568" y="1185094"/>
              <a:ext cx="1032354" cy="2373"/>
            </a:xfrm>
            <a:custGeom>
              <a:avLst/>
              <a:gdLst>
                <a:gd name="connsiteX0" fmla="*/ 0 w 1032353"/>
                <a:gd name="connsiteY0" fmla="*/ 0 h 0"/>
                <a:gd name="connsiteX1" fmla="*/ 1033778 w 1032353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32353">
                  <a:moveTo>
                    <a:pt x="0" y="0"/>
                  </a:moveTo>
                  <a:lnTo>
                    <a:pt x="1033778" y="0"/>
                  </a:lnTo>
                </a:path>
              </a:pathLst>
            </a:custGeom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0B4C145-A913-4940-BE96-FCFF7F465900}"/>
                </a:ext>
              </a:extLst>
            </p:cNvPr>
            <p:cNvSpPr/>
            <p:nvPr/>
          </p:nvSpPr>
          <p:spPr>
            <a:xfrm>
              <a:off x="8844737" y="620978"/>
              <a:ext cx="144767" cy="282414"/>
            </a:xfrm>
            <a:custGeom>
              <a:avLst/>
              <a:gdLst>
                <a:gd name="connsiteX0" fmla="*/ 109643 w 144766"/>
                <a:gd name="connsiteY0" fmla="*/ 0 h 282413"/>
                <a:gd name="connsiteX1" fmla="*/ 109643 w 144766"/>
                <a:gd name="connsiteY1" fmla="*/ 0 h 282413"/>
                <a:gd name="connsiteX2" fmla="*/ 145954 w 144766"/>
                <a:gd name="connsiteY2" fmla="*/ 86148 h 282413"/>
                <a:gd name="connsiteX3" fmla="*/ 110355 w 144766"/>
                <a:gd name="connsiteY3" fmla="*/ 173008 h 282413"/>
                <a:gd name="connsiteX4" fmla="*/ 0 w 144766"/>
                <a:gd name="connsiteY4" fmla="*/ 283363 h 282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766" h="282413">
                  <a:moveTo>
                    <a:pt x="109643" y="0"/>
                  </a:moveTo>
                  <a:lnTo>
                    <a:pt x="109643" y="0"/>
                  </a:lnTo>
                  <a:cubicBezTo>
                    <a:pt x="133613" y="23970"/>
                    <a:pt x="145241" y="55296"/>
                    <a:pt x="145954" y="86148"/>
                  </a:cubicBezTo>
                  <a:cubicBezTo>
                    <a:pt x="145954" y="117475"/>
                    <a:pt x="133613" y="149751"/>
                    <a:pt x="110355" y="173008"/>
                  </a:cubicBezTo>
                  <a:cubicBezTo>
                    <a:pt x="78079" y="205284"/>
                    <a:pt x="0" y="283363"/>
                    <a:pt x="0" y="283363"/>
                  </a:cubicBezTo>
                </a:path>
              </a:pathLst>
            </a:custGeom>
            <a:noFill/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9C7FCA5E-9600-4ECC-9086-21E5BE84B945}"/>
                </a:ext>
              </a:extLst>
            </p:cNvPr>
            <p:cNvSpPr/>
            <p:nvPr/>
          </p:nvSpPr>
          <p:spPr>
            <a:xfrm>
              <a:off x="8841177" y="877761"/>
              <a:ext cx="28479" cy="28479"/>
            </a:xfrm>
            <a:custGeom>
              <a:avLst/>
              <a:gdLst>
                <a:gd name="connsiteX0" fmla="*/ 0 w 28478"/>
                <a:gd name="connsiteY0" fmla="*/ 0 h 28478"/>
                <a:gd name="connsiteX1" fmla="*/ 712 w 28478"/>
                <a:gd name="connsiteY1" fmla="*/ 23970 h 28478"/>
                <a:gd name="connsiteX2" fmla="*/ 5696 w 28478"/>
                <a:gd name="connsiteY2" fmla="*/ 28953 h 28478"/>
                <a:gd name="connsiteX3" fmla="*/ 29665 w 28478"/>
                <a:gd name="connsiteY3" fmla="*/ 29665 h 28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78" h="28478">
                  <a:moveTo>
                    <a:pt x="0" y="0"/>
                  </a:moveTo>
                  <a:cubicBezTo>
                    <a:pt x="712" y="23970"/>
                    <a:pt x="712" y="23970"/>
                    <a:pt x="712" y="23970"/>
                  </a:cubicBezTo>
                  <a:cubicBezTo>
                    <a:pt x="712" y="27292"/>
                    <a:pt x="2373" y="28953"/>
                    <a:pt x="5696" y="28953"/>
                  </a:cubicBezTo>
                  <a:cubicBezTo>
                    <a:pt x="29665" y="29665"/>
                    <a:pt x="29665" y="29665"/>
                    <a:pt x="29665" y="29665"/>
                  </a:cubicBezTo>
                </a:path>
              </a:pathLst>
            </a:custGeom>
            <a:noFill/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E8057A6C-D123-4E1A-B4C7-7BCDC7E6C443}"/>
                </a:ext>
              </a:extLst>
            </p:cNvPr>
            <p:cNvSpPr/>
            <p:nvPr/>
          </p:nvSpPr>
          <p:spPr>
            <a:xfrm>
              <a:off x="8332120" y="662035"/>
              <a:ext cx="237323" cy="374970"/>
            </a:xfrm>
            <a:custGeom>
              <a:avLst/>
              <a:gdLst>
                <a:gd name="connsiteX0" fmla="*/ 35598 w 237322"/>
                <a:gd name="connsiteY0" fmla="*/ 375682 h 374969"/>
                <a:gd name="connsiteX1" fmla="*/ 35598 w 237322"/>
                <a:gd name="connsiteY1" fmla="*/ 375682 h 374969"/>
                <a:gd name="connsiteX2" fmla="*/ 0 w 237322"/>
                <a:gd name="connsiteY2" fmla="*/ 288822 h 374969"/>
                <a:gd name="connsiteX3" fmla="*/ 36548 w 237322"/>
                <a:gd name="connsiteY3" fmla="*/ 202673 h 374969"/>
                <a:gd name="connsiteX4" fmla="*/ 239221 w 237322"/>
                <a:gd name="connsiteY4" fmla="*/ 0 h 374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322" h="374969">
                  <a:moveTo>
                    <a:pt x="35598" y="375682"/>
                  </a:moveTo>
                  <a:lnTo>
                    <a:pt x="35598" y="375682"/>
                  </a:lnTo>
                  <a:cubicBezTo>
                    <a:pt x="11629" y="351712"/>
                    <a:pt x="0" y="320148"/>
                    <a:pt x="0" y="288822"/>
                  </a:cubicBezTo>
                  <a:cubicBezTo>
                    <a:pt x="0" y="257258"/>
                    <a:pt x="12578" y="226643"/>
                    <a:pt x="36548" y="202673"/>
                  </a:cubicBezTo>
                  <a:cubicBezTo>
                    <a:pt x="68112" y="171110"/>
                    <a:pt x="239221" y="0"/>
                    <a:pt x="239221" y="0"/>
                  </a:cubicBezTo>
                </a:path>
              </a:pathLst>
            </a:custGeom>
            <a:noFill/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65E4FFF-CABC-4047-9905-3F7E85DA91D3}"/>
                </a:ext>
              </a:extLst>
            </p:cNvPr>
            <p:cNvSpPr/>
            <p:nvPr/>
          </p:nvSpPr>
          <p:spPr>
            <a:xfrm>
              <a:off x="8543100" y="660373"/>
              <a:ext cx="28479" cy="28479"/>
            </a:xfrm>
            <a:custGeom>
              <a:avLst/>
              <a:gdLst>
                <a:gd name="connsiteX0" fmla="*/ 28953 w 28478"/>
                <a:gd name="connsiteY0" fmla="*/ 28953 h 28478"/>
                <a:gd name="connsiteX1" fmla="*/ 28953 w 28478"/>
                <a:gd name="connsiteY1" fmla="*/ 4034 h 28478"/>
                <a:gd name="connsiteX2" fmla="*/ 24919 w 28478"/>
                <a:gd name="connsiteY2" fmla="*/ 0 h 28478"/>
                <a:gd name="connsiteX3" fmla="*/ 0 w 28478"/>
                <a:gd name="connsiteY3" fmla="*/ 0 h 28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78" h="28478">
                  <a:moveTo>
                    <a:pt x="28953" y="28953"/>
                  </a:moveTo>
                  <a:cubicBezTo>
                    <a:pt x="28953" y="4034"/>
                    <a:pt x="28953" y="4034"/>
                    <a:pt x="28953" y="4034"/>
                  </a:cubicBezTo>
                  <a:cubicBezTo>
                    <a:pt x="28953" y="2373"/>
                    <a:pt x="26580" y="0"/>
                    <a:pt x="24919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DA343FB-355F-4A66-8451-22F3A5F59F23}"/>
                </a:ext>
              </a:extLst>
            </p:cNvPr>
            <p:cNvSpPr/>
            <p:nvPr/>
          </p:nvSpPr>
          <p:spPr>
            <a:xfrm>
              <a:off x="8630038" y="420203"/>
              <a:ext cx="465153" cy="256308"/>
            </a:xfrm>
            <a:custGeom>
              <a:avLst/>
              <a:gdLst>
                <a:gd name="connsiteX0" fmla="*/ 230125 w 465152"/>
                <a:gd name="connsiteY0" fmla="*/ 0 h 256308"/>
                <a:gd name="connsiteX1" fmla="*/ 331462 w 465152"/>
                <a:gd name="connsiteY1" fmla="*/ 67162 h 256308"/>
                <a:gd name="connsiteX2" fmla="*/ 332411 w 465152"/>
                <a:gd name="connsiteY2" fmla="*/ 70247 h 256308"/>
                <a:gd name="connsiteX3" fmla="*/ 341192 w 465152"/>
                <a:gd name="connsiteY3" fmla="*/ 66925 h 256308"/>
                <a:gd name="connsiteX4" fmla="*/ 370146 w 465152"/>
                <a:gd name="connsiteY4" fmla="*/ 62653 h 256308"/>
                <a:gd name="connsiteX5" fmla="*/ 467448 w 465152"/>
                <a:gd name="connsiteY5" fmla="*/ 160193 h 256308"/>
                <a:gd name="connsiteX6" fmla="*/ 380113 w 465152"/>
                <a:gd name="connsiteY6" fmla="*/ 257258 h 256308"/>
                <a:gd name="connsiteX7" fmla="*/ 372756 w 465152"/>
                <a:gd name="connsiteY7" fmla="*/ 257732 h 256308"/>
                <a:gd name="connsiteX8" fmla="*/ 368722 w 465152"/>
                <a:gd name="connsiteY8" fmla="*/ 258207 h 256308"/>
                <a:gd name="connsiteX9" fmla="*/ 54744 w 465152"/>
                <a:gd name="connsiteY9" fmla="*/ 258207 h 256308"/>
                <a:gd name="connsiteX10" fmla="*/ 50235 w 465152"/>
                <a:gd name="connsiteY10" fmla="*/ 258444 h 256308"/>
                <a:gd name="connsiteX11" fmla="*/ 39555 w 465152"/>
                <a:gd name="connsiteY11" fmla="*/ 256783 h 256308"/>
                <a:gd name="connsiteX12" fmla="*/ 1821 w 465152"/>
                <a:gd name="connsiteY12" fmla="*/ 191282 h 256308"/>
                <a:gd name="connsiteX13" fmla="*/ 56405 w 465152"/>
                <a:gd name="connsiteY13" fmla="*/ 151886 h 256308"/>
                <a:gd name="connsiteX14" fmla="*/ 60439 w 465152"/>
                <a:gd name="connsiteY14" fmla="*/ 152598 h 256308"/>
                <a:gd name="connsiteX15" fmla="*/ 59253 w 465152"/>
                <a:gd name="connsiteY15" fmla="*/ 145953 h 256308"/>
                <a:gd name="connsiteX16" fmla="*/ 67559 w 465152"/>
                <a:gd name="connsiteY16" fmla="*/ 110118 h 256308"/>
                <a:gd name="connsiteX17" fmla="*/ 117634 w 465152"/>
                <a:gd name="connsiteY17" fmla="*/ 78791 h 256308"/>
                <a:gd name="connsiteX18" fmla="*/ 124991 w 465152"/>
                <a:gd name="connsiteY18" fmla="*/ 79028 h 256308"/>
                <a:gd name="connsiteX19" fmla="*/ 125229 w 465152"/>
                <a:gd name="connsiteY19" fmla="*/ 77842 h 256308"/>
                <a:gd name="connsiteX20" fmla="*/ 230125 w 465152"/>
                <a:gd name="connsiteY20" fmla="*/ 0 h 256308"/>
                <a:gd name="connsiteX21" fmla="*/ 230125 w 465152"/>
                <a:gd name="connsiteY21" fmla="*/ 0 h 256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65152" h="256308">
                  <a:moveTo>
                    <a:pt x="230125" y="0"/>
                  </a:moveTo>
                  <a:cubicBezTo>
                    <a:pt x="275691" y="0"/>
                    <a:pt x="314612" y="27767"/>
                    <a:pt x="331462" y="67162"/>
                  </a:cubicBezTo>
                  <a:lnTo>
                    <a:pt x="332411" y="70247"/>
                  </a:lnTo>
                  <a:lnTo>
                    <a:pt x="341192" y="66925"/>
                  </a:lnTo>
                  <a:cubicBezTo>
                    <a:pt x="350448" y="64077"/>
                    <a:pt x="360178" y="62653"/>
                    <a:pt x="370146" y="62653"/>
                  </a:cubicBezTo>
                  <a:cubicBezTo>
                    <a:pt x="424018" y="62653"/>
                    <a:pt x="467448" y="106320"/>
                    <a:pt x="467448" y="160193"/>
                  </a:cubicBezTo>
                  <a:cubicBezTo>
                    <a:pt x="467448" y="210742"/>
                    <a:pt x="429239" y="252274"/>
                    <a:pt x="380113" y="257258"/>
                  </a:cubicBezTo>
                  <a:lnTo>
                    <a:pt x="372756" y="257732"/>
                  </a:lnTo>
                  <a:lnTo>
                    <a:pt x="368722" y="258207"/>
                  </a:lnTo>
                  <a:lnTo>
                    <a:pt x="54744" y="258207"/>
                  </a:lnTo>
                  <a:lnTo>
                    <a:pt x="50235" y="258444"/>
                  </a:lnTo>
                  <a:cubicBezTo>
                    <a:pt x="46675" y="258207"/>
                    <a:pt x="43115" y="257732"/>
                    <a:pt x="39555" y="256783"/>
                  </a:cubicBezTo>
                  <a:cubicBezTo>
                    <a:pt x="11076" y="249189"/>
                    <a:pt x="-5774" y="219761"/>
                    <a:pt x="1821" y="191282"/>
                  </a:cubicBezTo>
                  <a:cubicBezTo>
                    <a:pt x="8466" y="166363"/>
                    <a:pt x="31723" y="150225"/>
                    <a:pt x="56405" y="151886"/>
                  </a:cubicBezTo>
                  <a:lnTo>
                    <a:pt x="60439" y="152598"/>
                  </a:lnTo>
                  <a:lnTo>
                    <a:pt x="59253" y="145953"/>
                  </a:lnTo>
                  <a:cubicBezTo>
                    <a:pt x="58304" y="133850"/>
                    <a:pt x="60914" y="121509"/>
                    <a:pt x="67559" y="110118"/>
                  </a:cubicBezTo>
                  <a:cubicBezTo>
                    <a:pt x="78476" y="91369"/>
                    <a:pt x="97462" y="80215"/>
                    <a:pt x="117634" y="78791"/>
                  </a:cubicBezTo>
                  <a:lnTo>
                    <a:pt x="124991" y="79028"/>
                  </a:lnTo>
                  <a:lnTo>
                    <a:pt x="125229" y="77842"/>
                  </a:lnTo>
                  <a:cubicBezTo>
                    <a:pt x="138993" y="32513"/>
                    <a:pt x="180762" y="0"/>
                    <a:pt x="230125" y="0"/>
                  </a:cubicBezTo>
                  <a:lnTo>
                    <a:pt x="230125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719081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5F9A0B9-16EA-674C-9F51-93BF10956E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39" y="1161030"/>
            <a:ext cx="11548949" cy="5226010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Challenges are cumulative, building upon each other.</a:t>
            </a:r>
          </a:p>
          <a:p>
            <a:r>
              <a:rPr lang="en-US" dirty="0"/>
              <a:t>Establish Confidence – start small and simple (think hello world)</a:t>
            </a:r>
          </a:p>
          <a:p>
            <a:r>
              <a:rPr lang="en-US" dirty="0"/>
              <a:t>Build Competence – by having successively more complex challenge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Challenges are NOT step-by-step hands on labs! </a:t>
            </a:r>
          </a:p>
          <a:p>
            <a:pPr marL="0" indent="0">
              <a:buNone/>
            </a:pPr>
            <a:r>
              <a:rPr lang="en-US" dirty="0"/>
              <a:t>No “clicking here” or “copy n pasting there”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Challenge definitions are short.  A couple of sentences or bullet points stating the end goal(s) and perhaps a hint at the skill(s) needed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You MUST work together as a team to figure out how to complete them!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DADFA8C-24AF-3540-80D8-FFEAB44EB08A}"/>
              </a:ext>
            </a:extLst>
          </p:cNvPr>
          <p:cNvSpPr txBox="1"/>
          <p:nvPr/>
        </p:nvSpPr>
        <p:spPr>
          <a:xfrm>
            <a:off x="478054" y="360886"/>
            <a:ext cx="9374176" cy="6647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21883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Format</a:t>
            </a:r>
          </a:p>
        </p:txBody>
      </p:sp>
    </p:spTree>
    <p:extLst>
      <p:ext uri="{BB962C8B-B14F-4D97-AF65-F5344CB8AC3E}">
        <p14:creationId xmlns:p14="http://schemas.microsoft.com/office/powerpoint/2010/main" val="875239523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5F9A0B9-16EA-674C-9F51-93BF10956E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39" y="1161030"/>
            <a:ext cx="11548949" cy="572428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For each challenge we will deliver a ”mini-lecture” explaining concepts in it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DADFA8C-24AF-3540-80D8-FFEAB44EB08A}"/>
              </a:ext>
            </a:extLst>
          </p:cNvPr>
          <p:cNvSpPr txBox="1"/>
          <p:nvPr/>
        </p:nvSpPr>
        <p:spPr>
          <a:xfrm>
            <a:off x="478054" y="360886"/>
            <a:ext cx="9374176" cy="6647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21883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Format</a:t>
            </a: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064B4CE5-CEF3-004C-9652-D1C24BEF5C4B}"/>
              </a:ext>
            </a:extLst>
          </p:cNvPr>
          <p:cNvSpPr txBox="1">
            <a:spLocks/>
          </p:cNvSpPr>
          <p:nvPr/>
        </p:nvSpPr>
        <p:spPr>
          <a:xfrm>
            <a:off x="4592208" y="3604163"/>
            <a:ext cx="7891349" cy="1520380"/>
          </a:xfrm>
          <a:prstGeom prst="rect">
            <a:avLst/>
          </a:prstGeom>
        </p:spPr>
        <p:txBody>
          <a:bodyPr vert="horz" wrap="square" lIns="146275" tIns="91422" rIns="146275" bIns="91422" rtlCol="0">
            <a:spAutoFit/>
          </a:bodyPr>
          <a:lstStyle>
            <a:lvl1pPr marL="336076" marR="0" indent="-336076" algn="l" defTabSz="9141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800" b="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72575" marR="0" indent="-236497" algn="l" defTabSz="9141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600" b="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2pPr>
            <a:lvl3pPr marL="784175" marR="0" indent="-224050" algn="l" defTabSz="9141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3pPr>
            <a:lvl4pPr marL="1008227" marR="0" indent="-224050" algn="l" defTabSz="9141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4pPr>
            <a:lvl5pPr marL="1232276" marR="0" indent="-224050" algn="l" defTabSz="9141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5pPr>
            <a:lvl6pPr marL="2513990" indent="-228544" algn="l" defTabSz="9141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080" indent="-228544" algn="l" defTabSz="9141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170" indent="-228544" algn="l" defTabSz="9141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258" indent="-228544" algn="l" defTabSz="9141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lang="en-US" dirty="0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Light"/>
              </a:rPr>
              <a:t>Don’t be beholden by the clock!</a:t>
            </a:r>
          </a:p>
          <a:p>
            <a:pPr marL="0" marR="0" lvl="0" indent="0" algn="ctr" defTabSz="9141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lang="en-US" dirty="0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Light"/>
              </a:rPr>
              <a:t>Move quickly or take it slow.</a:t>
            </a:r>
          </a:p>
          <a:p>
            <a:pPr marL="0" marR="0" lvl="0" indent="0" algn="ctr" defTabSz="9141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lang="en-US" dirty="0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Light"/>
              </a:rPr>
              <a:t>Your proctors are here to help you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77F3A31-D728-6847-84F5-F504F4CF9DE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56441" y="3026579"/>
            <a:ext cx="2871158" cy="287115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C863E0E-ABEA-407C-8F78-D0010835A14D}"/>
              </a:ext>
            </a:extLst>
          </p:cNvPr>
          <p:cNvSpPr txBox="1"/>
          <p:nvPr/>
        </p:nvSpPr>
        <p:spPr>
          <a:xfrm>
            <a:off x="269239" y="2025539"/>
            <a:ext cx="10996638" cy="1403461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l" defTabSz="9141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+mn-cs"/>
              </a:rPr>
              <a:t>We’ll review results for each challenge when it looks like a majority of folks have completed the challenge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srgbClr val="505050"/>
                  </a:gs>
                  <a:gs pos="30000">
                    <a:srgbClr val="505050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C149397-C1CA-4939-B7DB-EA1514298B1C}"/>
              </a:ext>
            </a:extLst>
          </p:cNvPr>
          <p:cNvSpPr txBox="1"/>
          <p:nvPr/>
        </p:nvSpPr>
        <p:spPr>
          <a:xfrm>
            <a:off x="501356" y="5696970"/>
            <a:ext cx="11316832" cy="1037207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here WILL be more challenges than you can complete in our allotted time!  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hese are takeaways for follow up at home or with customers!</a:t>
            </a:r>
          </a:p>
        </p:txBody>
      </p:sp>
    </p:spTree>
    <p:extLst>
      <p:ext uri="{BB962C8B-B14F-4D97-AF65-F5344CB8AC3E}">
        <p14:creationId xmlns:p14="http://schemas.microsoft.com/office/powerpoint/2010/main" val="1473274422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5F9A0B9-16EA-674C-9F51-93BF10956E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39" y="1161030"/>
            <a:ext cx="11548949" cy="1046404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Each team will have a proctor through-out the whole hack.</a:t>
            </a:r>
          </a:p>
          <a:p>
            <a:pPr marL="0" indent="0">
              <a:buNone/>
            </a:pPr>
            <a:r>
              <a:rPr lang="en-US" dirty="0"/>
              <a:t>Use them! But don’t expect them to give you all the answers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DADFA8C-24AF-3540-80D8-FFEAB44EB08A}"/>
              </a:ext>
            </a:extLst>
          </p:cNvPr>
          <p:cNvSpPr txBox="1"/>
          <p:nvPr/>
        </p:nvSpPr>
        <p:spPr>
          <a:xfrm>
            <a:off x="478054" y="360886"/>
            <a:ext cx="9374176" cy="6647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21883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Proctors</a:t>
            </a: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064B4CE5-CEF3-004C-9652-D1C24BEF5C4B}"/>
              </a:ext>
            </a:extLst>
          </p:cNvPr>
          <p:cNvSpPr txBox="1">
            <a:spLocks/>
          </p:cNvSpPr>
          <p:nvPr/>
        </p:nvSpPr>
        <p:spPr>
          <a:xfrm>
            <a:off x="2098038" y="5062812"/>
            <a:ext cx="7891349" cy="1046404"/>
          </a:xfrm>
          <a:prstGeom prst="rect">
            <a:avLst/>
          </a:prstGeom>
        </p:spPr>
        <p:txBody>
          <a:bodyPr vert="horz" wrap="square" lIns="146275" tIns="91422" rIns="146275" bIns="91422" rtlCol="0">
            <a:spAutoFit/>
          </a:bodyPr>
          <a:lstStyle>
            <a:lvl1pPr marL="336076" marR="0" indent="-336076" algn="l" defTabSz="9141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800" b="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72575" marR="0" indent="-236497" algn="l" defTabSz="9141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600" b="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2pPr>
            <a:lvl3pPr marL="784175" marR="0" indent="-224050" algn="l" defTabSz="9141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3pPr>
            <a:lvl4pPr marL="1008227" marR="0" indent="-224050" algn="l" defTabSz="9141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4pPr>
            <a:lvl5pPr marL="1232276" marR="0" indent="-224050" algn="l" defTabSz="9141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5pPr>
            <a:lvl6pPr marL="2513990" indent="-228544" algn="l" defTabSz="9141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080" indent="-228544" algn="l" defTabSz="9141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170" indent="-228544" algn="l" defTabSz="9141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258" indent="-228544" algn="l" defTabSz="9141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+mn-cs"/>
              </a:rPr>
              <a:t>Get to know your proctor, their likes and dislikes...</a:t>
            </a:r>
          </a:p>
          <a:p>
            <a:pPr marL="0" marR="0" lvl="0" indent="0" algn="ctr" defTabSz="9141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+mn-cs"/>
              </a:rPr>
              <a:t>All the better to find a bribe that works!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57BF2DD-22F0-644C-9EE6-AE12295D9D0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5806" y="2377217"/>
            <a:ext cx="2515811" cy="2515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827465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t.GJKZ0gEK3IGHKgaodD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H.1sGai3UOC4ptG_lG1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5gH9kVU0kuHdBfCqVWh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H.1sGai3UOC4ptG_lG1k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H.1sGai3UOC4ptG_lG1k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5-30660_TR21_BO_CT_Template">
  <a:themeElements>
    <a:clrScheme name="TR20 - BO">
      <a:dk1>
        <a:srgbClr val="505050"/>
      </a:dk1>
      <a:lt1>
        <a:srgbClr val="FFFFFF"/>
      </a:lt1>
      <a:dk2>
        <a:srgbClr val="0078D7"/>
      </a:dk2>
      <a:lt2>
        <a:srgbClr val="D2D2D2"/>
      </a:lt2>
      <a:accent1>
        <a:srgbClr val="D83B01"/>
      </a:accent1>
      <a:accent2>
        <a:srgbClr val="0078D7"/>
      </a:accent2>
      <a:accent3>
        <a:srgbClr val="BAD80A"/>
      </a:accent3>
      <a:accent4>
        <a:srgbClr val="FFB900"/>
      </a:accent4>
      <a:accent5>
        <a:srgbClr val="5C2D91"/>
      </a:accent5>
      <a:accent6>
        <a:srgbClr val="002050"/>
      </a:accent6>
      <a:hlink>
        <a:srgbClr val="002050"/>
      </a:hlink>
      <a:folHlink>
        <a:srgbClr val="002050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 w="3175"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R21_BO_CT_Template.potx [Read-Only]" id="{75943521-E3C3-4031-9F22-7C26411915FC}" vid="{7540FE32-89F5-4624-B769-BFB809EDCFE3}"/>
    </a:ext>
  </a:extLst>
</a:theme>
</file>

<file path=ppt/theme/theme11.xml><?xml version="1.0" encoding="utf-8"?>
<a:theme xmlns:a="http://schemas.openxmlformats.org/drawingml/2006/main" name="2_C+E Readiness Template">
  <a:themeElements>
    <a:clrScheme name="S4 Feb 2017 Dark Back">
      <a:dk1>
        <a:srgbClr val="353535"/>
      </a:dk1>
      <a:lt1>
        <a:srgbClr val="FFFFFF"/>
      </a:lt1>
      <a:dk2>
        <a:srgbClr val="0078D7"/>
      </a:dk2>
      <a:lt2>
        <a:srgbClr val="E6E6E6"/>
      </a:lt2>
      <a:accent1>
        <a:srgbClr val="00188F"/>
      </a:accent1>
      <a:accent2>
        <a:srgbClr val="002050"/>
      </a:accent2>
      <a:accent3>
        <a:srgbClr val="E6E6E6"/>
      </a:accent3>
      <a:accent4>
        <a:srgbClr val="107C10"/>
      </a:accent4>
      <a:accent5>
        <a:srgbClr val="737373"/>
      </a:accent5>
      <a:accent6>
        <a:srgbClr val="D2D2D2"/>
      </a:accent6>
      <a:hlink>
        <a:srgbClr val="FFF100"/>
      </a:hlink>
      <a:folHlink>
        <a:srgbClr val="FFF100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4_Q3_FY17_Template.potx" id="{2234CBF7-E2BD-4A8C-B252-208C4EEC6E00}" vid="{F12CDBBA-5821-4B47-80F9-5CAEB4A048D0}"/>
    </a:ext>
  </a:extLst>
</a:theme>
</file>

<file path=ppt/theme/theme12.xml><?xml version="1.0" encoding="utf-8"?>
<a:theme xmlns:a="http://schemas.openxmlformats.org/drawingml/2006/main" name="3_5-30660_TR21_BO_CT_Template">
  <a:themeElements>
    <a:clrScheme name="TR20 - BO">
      <a:dk1>
        <a:srgbClr val="505050"/>
      </a:dk1>
      <a:lt1>
        <a:srgbClr val="FFFFFF"/>
      </a:lt1>
      <a:dk2>
        <a:srgbClr val="0078D7"/>
      </a:dk2>
      <a:lt2>
        <a:srgbClr val="D2D2D2"/>
      </a:lt2>
      <a:accent1>
        <a:srgbClr val="D83B01"/>
      </a:accent1>
      <a:accent2>
        <a:srgbClr val="0078D7"/>
      </a:accent2>
      <a:accent3>
        <a:srgbClr val="BAD80A"/>
      </a:accent3>
      <a:accent4>
        <a:srgbClr val="FFB900"/>
      </a:accent4>
      <a:accent5>
        <a:srgbClr val="5C2D91"/>
      </a:accent5>
      <a:accent6>
        <a:srgbClr val="002050"/>
      </a:accent6>
      <a:hlink>
        <a:srgbClr val="002050"/>
      </a:hlink>
      <a:folHlink>
        <a:srgbClr val="002050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 w="3175"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R21_BO_CT_Template.potx [Read-Only]" id="{75943521-E3C3-4031-9F22-7C26411915FC}" vid="{7540FE32-89F5-4624-B769-BFB809EDCFE3}"/>
    </a:ext>
  </a:extLst>
</a:theme>
</file>

<file path=ppt/theme/theme13.xml><?xml version="1.0" encoding="utf-8"?>
<a:theme xmlns:a="http://schemas.openxmlformats.org/drawingml/2006/main" name="5-50225 Digital Transformation Acadmey 2018">
  <a:themeElements>
    <a:clrScheme name="Custom 6">
      <a:dk1>
        <a:srgbClr val="0D0D0D"/>
      </a:dk1>
      <a:lt1>
        <a:srgbClr val="FFFFFF"/>
      </a:lt1>
      <a:dk2>
        <a:srgbClr val="002050"/>
      </a:dk2>
      <a:lt2>
        <a:srgbClr val="E6E6E6"/>
      </a:lt2>
      <a:accent1>
        <a:srgbClr val="0078D4"/>
      </a:accent1>
      <a:accent2>
        <a:srgbClr val="00BCF2"/>
      </a:accent2>
      <a:accent3>
        <a:srgbClr val="494949"/>
      </a:accent3>
      <a:accent4>
        <a:srgbClr val="737373"/>
      </a:accent4>
      <a:accent5>
        <a:srgbClr val="5C2D91"/>
      </a:accent5>
      <a:accent6>
        <a:srgbClr val="BAD80A"/>
      </a:accent6>
      <a:hlink>
        <a:srgbClr val="0078D4"/>
      </a:hlink>
      <a:folHlink>
        <a:srgbClr val="00BCF2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pp Sales Session_DTA 2018_Template with Core Slides_20180828" id="{D38D3C6C-4008-4837-91F8-A323E6675ABF}" vid="{3362EA76-8940-4188-86B9-C598593ECFED}"/>
    </a:ext>
  </a:extLst>
</a:theme>
</file>

<file path=ppt/theme/theme14.xml><?xml version="1.0" encoding="utf-8"?>
<a:theme xmlns:a="http://schemas.openxmlformats.org/drawingml/2006/main" name="Azure Dev Dark - 2018H2">
  <a:themeElements>
    <a:clrScheme name="Azure 2018 Q1">
      <a:dk1>
        <a:srgbClr val="FFFFFF"/>
      </a:dk1>
      <a:lt1>
        <a:srgbClr val="414241"/>
      </a:lt1>
      <a:dk2>
        <a:srgbClr val="000000"/>
      </a:dk2>
      <a:lt2>
        <a:srgbClr val="E9E9E9"/>
      </a:lt2>
      <a:accent1>
        <a:srgbClr val="0078D7"/>
      </a:accent1>
      <a:accent2>
        <a:srgbClr val="4DB0FF"/>
      </a:accent2>
      <a:accent3>
        <a:srgbClr val="B1D6F2"/>
      </a:accent3>
      <a:accent4>
        <a:srgbClr val="0359A0"/>
      </a:accent4>
      <a:accent5>
        <a:srgbClr val="8CCAFD"/>
      </a:accent5>
      <a:accent6>
        <a:srgbClr val="797979"/>
      </a:accent6>
      <a:hlink>
        <a:srgbClr val="4CAFFF"/>
      </a:hlink>
      <a:folHlink>
        <a:srgbClr val="0478D6"/>
      </a:folHlink>
    </a:clrScheme>
    <a:fontScheme name="Windows Fonts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/>
      <a:bodyPr lIns="0" tIns="0" rIns="0" bIns="0" anchor="t" anchorCtr="0"/>
      <a:lstStyle>
        <a:defPPr>
          <a:defRPr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zure Developer Template" id="{391AED37-9504-4F4A-9002-F0F9A33BE5A1}" vid="{07EA6CC6-0313-4A0C-92B2-C4471F5AFDFA}"/>
    </a:ext>
  </a:extLst>
</a:theme>
</file>

<file path=ppt/theme/theme15.xml><?xml version="1.0" encoding="utf-8"?>
<a:theme xmlns:a="http://schemas.openxmlformats.org/drawingml/2006/main" name="4_5-30660_TR21_BO_CT_Template">
  <a:themeElements>
    <a:clrScheme name="Custom 12">
      <a:dk1>
        <a:srgbClr val="505050"/>
      </a:dk1>
      <a:lt1>
        <a:srgbClr val="FFFFFF"/>
      </a:lt1>
      <a:dk2>
        <a:srgbClr val="0078D7"/>
      </a:dk2>
      <a:lt2>
        <a:srgbClr val="D2D2D2"/>
      </a:lt2>
      <a:accent1>
        <a:srgbClr val="D83B01"/>
      </a:accent1>
      <a:accent2>
        <a:srgbClr val="0078D7"/>
      </a:accent2>
      <a:accent3>
        <a:srgbClr val="BAD80A"/>
      </a:accent3>
      <a:accent4>
        <a:srgbClr val="FFB900"/>
      </a:accent4>
      <a:accent5>
        <a:srgbClr val="5C2D91"/>
      </a:accent5>
      <a:accent6>
        <a:srgbClr val="002050"/>
      </a:accent6>
      <a:hlink>
        <a:srgbClr val="4DB0FF"/>
      </a:hlink>
      <a:folHlink>
        <a:srgbClr val="7F7F7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 w="3175"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R21_BO_CT_Template.potx [Read-Only]" id="{75943521-E3C3-4031-9F22-7C26411915FC}" vid="{7540FE32-89F5-4624-B769-BFB809EDCFE3}"/>
    </a:ext>
  </a:extLst>
</a:theme>
</file>

<file path=ppt/theme/theme16.xml><?xml version="1.0" encoding="utf-8"?>
<a:theme xmlns:a="http://schemas.openxmlformats.org/drawingml/2006/main" name="WHITE TEMPLATE">
  <a:themeElements>
    <a:clrScheme name="MSVID White and Teal_10-2014">
      <a:dk1>
        <a:srgbClr val="505050"/>
      </a:dk1>
      <a:lt1>
        <a:srgbClr val="FFFFFF"/>
      </a:lt1>
      <a:dk2>
        <a:srgbClr val="008272"/>
      </a:dk2>
      <a:lt2>
        <a:srgbClr val="D5F7F6"/>
      </a:lt2>
      <a:accent1>
        <a:srgbClr val="008272"/>
      </a:accent1>
      <a:accent2>
        <a:srgbClr val="B4009E"/>
      </a:accent2>
      <a:accent3>
        <a:srgbClr val="004B50"/>
      </a:accent3>
      <a:accent4>
        <a:srgbClr val="0078D7"/>
      </a:accent4>
      <a:accent5>
        <a:srgbClr val="5C2D91"/>
      </a:accent5>
      <a:accent6>
        <a:srgbClr val="D83B01"/>
      </a:accent6>
      <a:hlink>
        <a:srgbClr val="008272"/>
      </a:hlink>
      <a:folHlink>
        <a:srgbClr val="00827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oduct_Brand_template_16-9_Business_TEAL_1" id="{5E4F6A35-5222-4964-BF6B-D8D6040D0130}" vid="{5DED90E8-4E6D-48DC-ABF5-5DF803FF6458}"/>
    </a:ext>
  </a:extLst>
</a:theme>
</file>

<file path=ppt/theme/theme17.xml><?xml version="1.0" encoding="utf-8"?>
<a:theme xmlns:a="http://schemas.openxmlformats.org/drawingml/2006/main" name="5_5-30660_TR21_BO_CT_Template">
  <a:themeElements>
    <a:clrScheme name="Custom 12">
      <a:dk1>
        <a:srgbClr val="505050"/>
      </a:dk1>
      <a:lt1>
        <a:srgbClr val="FFFFFF"/>
      </a:lt1>
      <a:dk2>
        <a:srgbClr val="0078D7"/>
      </a:dk2>
      <a:lt2>
        <a:srgbClr val="D2D2D2"/>
      </a:lt2>
      <a:accent1>
        <a:srgbClr val="D83B01"/>
      </a:accent1>
      <a:accent2>
        <a:srgbClr val="0078D7"/>
      </a:accent2>
      <a:accent3>
        <a:srgbClr val="BAD80A"/>
      </a:accent3>
      <a:accent4>
        <a:srgbClr val="FFB900"/>
      </a:accent4>
      <a:accent5>
        <a:srgbClr val="5C2D91"/>
      </a:accent5>
      <a:accent6>
        <a:srgbClr val="002050"/>
      </a:accent6>
      <a:hlink>
        <a:srgbClr val="4DB0FF"/>
      </a:hlink>
      <a:folHlink>
        <a:srgbClr val="7F7F7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 w="3175"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R21_BO_CT_Template.potx [Read-Only]" id="{75943521-E3C3-4031-9F22-7C26411915FC}" vid="{7540FE32-89F5-4624-B769-BFB809EDCFE3}"/>
    </a:ext>
  </a:extLst>
</a:theme>
</file>

<file path=ppt/theme/theme1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5-30660_TR21_BO_CT_Template">
  <a:themeElements>
    <a:clrScheme name="Custom 12">
      <a:dk1>
        <a:srgbClr val="505050"/>
      </a:dk1>
      <a:lt1>
        <a:srgbClr val="FFFFFF"/>
      </a:lt1>
      <a:dk2>
        <a:srgbClr val="0078D7"/>
      </a:dk2>
      <a:lt2>
        <a:srgbClr val="D2D2D2"/>
      </a:lt2>
      <a:accent1>
        <a:srgbClr val="D83B01"/>
      </a:accent1>
      <a:accent2>
        <a:srgbClr val="0078D7"/>
      </a:accent2>
      <a:accent3>
        <a:srgbClr val="BAD80A"/>
      </a:accent3>
      <a:accent4>
        <a:srgbClr val="FFB900"/>
      </a:accent4>
      <a:accent5>
        <a:srgbClr val="5C2D91"/>
      </a:accent5>
      <a:accent6>
        <a:srgbClr val="002050"/>
      </a:accent6>
      <a:hlink>
        <a:srgbClr val="4DB0FF"/>
      </a:hlink>
      <a:folHlink>
        <a:srgbClr val="7F7F7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 w="3175"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R21_BO_CT_Template.potx [Read-Only]" id="{75943521-E3C3-4031-9F22-7C26411915FC}" vid="{7540FE32-89F5-4624-B769-BFB809EDCFE3}"/>
    </a:ext>
  </a:extLst>
</a:theme>
</file>

<file path=ppt/theme/theme4.xml><?xml version="1.0" encoding="utf-8"?>
<a:theme xmlns:a="http://schemas.openxmlformats.org/drawingml/2006/main" name="1_5-30660_TR21_BO_CT_Template">
  <a:themeElements>
    <a:clrScheme name="Custom 12">
      <a:dk1>
        <a:srgbClr val="505050"/>
      </a:dk1>
      <a:lt1>
        <a:srgbClr val="FFFFFF"/>
      </a:lt1>
      <a:dk2>
        <a:srgbClr val="0078D7"/>
      </a:dk2>
      <a:lt2>
        <a:srgbClr val="D2D2D2"/>
      </a:lt2>
      <a:accent1>
        <a:srgbClr val="D83B01"/>
      </a:accent1>
      <a:accent2>
        <a:srgbClr val="0078D7"/>
      </a:accent2>
      <a:accent3>
        <a:srgbClr val="BAD80A"/>
      </a:accent3>
      <a:accent4>
        <a:srgbClr val="FFB900"/>
      </a:accent4>
      <a:accent5>
        <a:srgbClr val="5C2D91"/>
      </a:accent5>
      <a:accent6>
        <a:srgbClr val="002050"/>
      </a:accent6>
      <a:hlink>
        <a:srgbClr val="4DB0FF"/>
      </a:hlink>
      <a:folHlink>
        <a:srgbClr val="7F7F7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 w="3175"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R21_BO_CT_Template.potx [Read-Only]" id="{75943521-E3C3-4031-9F22-7C26411915FC}" vid="{7540FE32-89F5-4624-B769-BFB809EDCFE3}"/>
    </a:ext>
  </a:extLst>
</a:theme>
</file>

<file path=ppt/theme/theme5.xml><?xml version="1.0" encoding="utf-8"?>
<a:theme xmlns:a="http://schemas.openxmlformats.org/drawingml/2006/main" name="5-50033_TR23_BO_CT_Template">
  <a:themeElements>
    <a:clrScheme name="TR23">
      <a:dk1>
        <a:srgbClr val="505050"/>
      </a:dk1>
      <a:lt1>
        <a:srgbClr val="FFFFFF"/>
      </a:lt1>
      <a:dk2>
        <a:srgbClr val="0078D7"/>
      </a:dk2>
      <a:lt2>
        <a:srgbClr val="F8F8F8"/>
      </a:lt2>
      <a:accent1>
        <a:srgbClr val="D83B01"/>
      </a:accent1>
      <a:accent2>
        <a:srgbClr val="0078D7"/>
      </a:accent2>
      <a:accent3>
        <a:srgbClr val="BAD80A"/>
      </a:accent3>
      <a:accent4>
        <a:srgbClr val="FFB900"/>
      </a:accent4>
      <a:accent5>
        <a:srgbClr val="5C2D91"/>
      </a:accent5>
      <a:accent6>
        <a:srgbClr val="002050"/>
      </a:accent6>
      <a:hlink>
        <a:srgbClr val="002050"/>
      </a:hlink>
      <a:folHlink>
        <a:srgbClr val="002050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5439">
                  <a:srgbClr val="F8F8F8"/>
                </a:gs>
                <a:gs pos="10000">
                  <a:srgbClr val="F8F8F8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R23_BO_CT_Template.potx [Read-Only]" id="{DA3E9A10-DA9F-4DD8-B50B-5232D30DCC33}" vid="{851D39C6-C268-4F1F-9399-A4174C5AF8C5}"/>
    </a:ext>
  </a:extLst>
</a:theme>
</file>

<file path=ppt/theme/theme6.xml><?xml version="1.0" encoding="utf-8"?>
<a:theme xmlns:a="http://schemas.openxmlformats.org/drawingml/2006/main" name="Content Slides - Light">
  <a:themeElements>
    <a:clrScheme name="VS Studio 11_Light">
      <a:dk1>
        <a:srgbClr val="000000"/>
      </a:dk1>
      <a:lt1>
        <a:srgbClr val="FFFFFF"/>
      </a:lt1>
      <a:dk2>
        <a:srgbClr val="68217A"/>
      </a:dk2>
      <a:lt2>
        <a:srgbClr val="505050"/>
      </a:lt2>
      <a:accent1>
        <a:srgbClr val="68217A"/>
      </a:accent1>
      <a:accent2>
        <a:srgbClr val="00188F"/>
      </a:accent2>
      <a:accent3>
        <a:srgbClr val="BAD80A"/>
      </a:accent3>
      <a:accent4>
        <a:srgbClr val="00BCF2"/>
      </a:accent4>
      <a:accent5>
        <a:srgbClr val="FF8C00"/>
      </a:accent5>
      <a:accent6>
        <a:srgbClr val="009E49"/>
      </a:accent6>
      <a:hlink>
        <a:srgbClr val="00BCF2"/>
      </a:hlink>
      <a:folHlink>
        <a:srgbClr val="0072C6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91436" tIns="45718" rIns="91436" bIns="45718" numCol="1" rtlCol="0" anchor="ctr" anchorCtr="0" compatLnSpc="1">
        <a:prstTxWarp prst="textNoShape">
          <a:avLst/>
        </a:prstTxWarp>
      </a:bodyPr>
      <a:lstStyle>
        <a:defPPr algn="ctr" defTabSz="914099" fontAlgn="base">
          <a:lnSpc>
            <a:spcPct val="90000"/>
          </a:lnSpc>
          <a:spcBef>
            <a:spcPct val="0"/>
          </a:spcBef>
          <a:spcAft>
            <a:spcPct val="0"/>
          </a:spcAft>
          <a:defRPr sz="2000" spc="-5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lnSpc>
            <a:spcPct val="90000"/>
          </a:lnSpc>
          <a:defRPr sz="2400" spc="-70" dirty="0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6_7-30269_Server &amp; Tools Business_16x9">
  <a:themeElements>
    <a:clrScheme name="Custom 9">
      <a:dk1>
        <a:srgbClr val="505050"/>
      </a:dk1>
      <a:lt1>
        <a:srgbClr val="FFFFFF"/>
      </a:lt1>
      <a:dk2>
        <a:srgbClr val="505050"/>
      </a:dk2>
      <a:lt2>
        <a:srgbClr val="969696"/>
      </a:lt2>
      <a:accent1>
        <a:srgbClr val="002050"/>
      </a:accent1>
      <a:accent2>
        <a:srgbClr val="0072C6"/>
      </a:accent2>
      <a:accent3>
        <a:srgbClr val="442359"/>
      </a:accent3>
      <a:accent4>
        <a:srgbClr val="68217A"/>
      </a:accent4>
      <a:accent5>
        <a:srgbClr val="DC3C00"/>
      </a:accent5>
      <a:accent6>
        <a:srgbClr val="FF8C00"/>
      </a:accent6>
      <a:hlink>
        <a:srgbClr val="0072C5"/>
      </a:hlink>
      <a:folHlink>
        <a:srgbClr val="969696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182880" tIns="146304" rIns="182880" bIns="146304" rtlCol="0">
        <a:spAutoFit/>
      </a:bodyPr>
      <a:lstStyle>
        <a:defPPr>
          <a:lnSpc>
            <a:spcPct val="90000"/>
          </a:lnSpc>
          <a:defRPr sz="2400" dirty="0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eople-Centric IT Customer Conversation Deck - Full Deck 2 Oct_v03.pptx" id="{CDD58DAD-3C0C-4EE5-BCF6-8EEC9E02A637}" vid="{142E583D-6DCD-4F9B-876C-242AC5EFF6D0}"/>
    </a:ext>
  </a:extLst>
</a:theme>
</file>

<file path=ppt/theme/theme8.xml><?xml version="1.0" encoding="utf-8"?>
<a:theme xmlns:a="http://schemas.openxmlformats.org/drawingml/2006/main" name="2_EBC_2017">
  <a:themeElements>
    <a:clrScheme name="Custom 2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13B3"/>
      </a:accent2>
      <a:accent3>
        <a:srgbClr val="C6CFCF"/>
      </a:accent3>
      <a:accent4>
        <a:srgbClr val="00A4B3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8D89426A-98D9-452E-82D2-38C97A5E7430}" vid="{43CB4C6F-FCEB-4846-9678-AF1F381D6EF6}"/>
    </a:ext>
  </a:extLst>
</a:theme>
</file>

<file path=ppt/theme/theme9.xml><?xml version="1.0" encoding="utf-8"?>
<a:theme xmlns:a="http://schemas.openxmlformats.org/drawingml/2006/main" name="1_C+E Readiness Template">
  <a:themeElements>
    <a:clrScheme name="S4 Feb 2017 Dark Back">
      <a:dk1>
        <a:srgbClr val="353535"/>
      </a:dk1>
      <a:lt1>
        <a:srgbClr val="FFFFFF"/>
      </a:lt1>
      <a:dk2>
        <a:srgbClr val="0078D7"/>
      </a:dk2>
      <a:lt2>
        <a:srgbClr val="E6E6E6"/>
      </a:lt2>
      <a:accent1>
        <a:srgbClr val="00188F"/>
      </a:accent1>
      <a:accent2>
        <a:srgbClr val="002050"/>
      </a:accent2>
      <a:accent3>
        <a:srgbClr val="E6E6E6"/>
      </a:accent3>
      <a:accent4>
        <a:srgbClr val="107C10"/>
      </a:accent4>
      <a:accent5>
        <a:srgbClr val="737373"/>
      </a:accent5>
      <a:accent6>
        <a:srgbClr val="D2D2D2"/>
      </a:accent6>
      <a:hlink>
        <a:srgbClr val="FFF100"/>
      </a:hlink>
      <a:folHlink>
        <a:srgbClr val="FFF100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4_Q3_FY17_Template.potx" id="{2234CBF7-E2BD-4A8C-B252-208C4EEC6E00}" vid="{F12CDBBA-5821-4B47-80F9-5CAEB4A048D0}"/>
    </a:ext>
  </a:extLst>
</a:theme>
</file>

<file path=ppt/theme/themeOverride1.xml><?xml version="1.0" encoding="utf-8"?>
<a:themeOverride xmlns:a="http://schemas.openxmlformats.org/drawingml/2006/main">
  <a:clrScheme name="MSVID White and Teal_10-2014">
    <a:dk1>
      <a:srgbClr val="505050"/>
    </a:dk1>
    <a:lt1>
      <a:srgbClr val="FFFFFF"/>
    </a:lt1>
    <a:dk2>
      <a:srgbClr val="008272"/>
    </a:dk2>
    <a:lt2>
      <a:srgbClr val="D5F7F6"/>
    </a:lt2>
    <a:accent1>
      <a:srgbClr val="008272"/>
    </a:accent1>
    <a:accent2>
      <a:srgbClr val="B4009E"/>
    </a:accent2>
    <a:accent3>
      <a:srgbClr val="004B50"/>
    </a:accent3>
    <a:accent4>
      <a:srgbClr val="0078D7"/>
    </a:accent4>
    <a:accent5>
      <a:srgbClr val="5C2D91"/>
    </a:accent5>
    <a:accent6>
      <a:srgbClr val="D83B01"/>
    </a:accent6>
    <a:hlink>
      <a:srgbClr val="008272"/>
    </a:hlink>
    <a:folHlink>
      <a:srgbClr val="008272"/>
    </a:folHlink>
  </a:clrScheme>
</a:themeOverride>
</file>

<file path=ppt/theme/themeOverride2.xml><?xml version="1.0" encoding="utf-8"?>
<a:themeOverride xmlns:a="http://schemas.openxmlformats.org/drawingml/2006/main">
  <a:clrScheme name="MSVID White and Teal_10-2014">
    <a:dk1>
      <a:srgbClr val="505050"/>
    </a:dk1>
    <a:lt1>
      <a:srgbClr val="FFFFFF"/>
    </a:lt1>
    <a:dk2>
      <a:srgbClr val="008272"/>
    </a:dk2>
    <a:lt2>
      <a:srgbClr val="D5F7F6"/>
    </a:lt2>
    <a:accent1>
      <a:srgbClr val="008272"/>
    </a:accent1>
    <a:accent2>
      <a:srgbClr val="B4009E"/>
    </a:accent2>
    <a:accent3>
      <a:srgbClr val="004B50"/>
    </a:accent3>
    <a:accent4>
      <a:srgbClr val="0078D7"/>
    </a:accent4>
    <a:accent5>
      <a:srgbClr val="5C2D91"/>
    </a:accent5>
    <a:accent6>
      <a:srgbClr val="D83B01"/>
    </a:accent6>
    <a:hlink>
      <a:srgbClr val="008272"/>
    </a:hlink>
    <a:folHlink>
      <a:srgbClr val="008272"/>
    </a:folHlink>
  </a:clrScheme>
</a:themeOverride>
</file>

<file path=ppt/theme/themeOverride3.xml><?xml version="1.0" encoding="utf-8"?>
<a:themeOverride xmlns:a="http://schemas.openxmlformats.org/drawingml/2006/main">
  <a:clrScheme name="MSVID White and Teal_10-2014">
    <a:dk1>
      <a:srgbClr val="505050"/>
    </a:dk1>
    <a:lt1>
      <a:srgbClr val="FFFFFF"/>
    </a:lt1>
    <a:dk2>
      <a:srgbClr val="008272"/>
    </a:dk2>
    <a:lt2>
      <a:srgbClr val="D5F7F6"/>
    </a:lt2>
    <a:accent1>
      <a:srgbClr val="008272"/>
    </a:accent1>
    <a:accent2>
      <a:srgbClr val="B4009E"/>
    </a:accent2>
    <a:accent3>
      <a:srgbClr val="004B50"/>
    </a:accent3>
    <a:accent4>
      <a:srgbClr val="0078D7"/>
    </a:accent4>
    <a:accent5>
      <a:srgbClr val="5C2D91"/>
    </a:accent5>
    <a:accent6>
      <a:srgbClr val="D83B01"/>
    </a:accent6>
    <a:hlink>
      <a:srgbClr val="008272"/>
    </a:hlink>
    <a:folHlink>
      <a:srgbClr val="008272"/>
    </a:folHlink>
  </a:clrScheme>
</a:themeOverride>
</file>

<file path=ppt/theme/themeOverride4.xml><?xml version="1.0" encoding="utf-8"?>
<a:themeOverride xmlns:a="http://schemas.openxmlformats.org/drawingml/2006/main">
  <a:clrScheme name="MSVID White and Teal_10-2014">
    <a:dk1>
      <a:srgbClr val="505050"/>
    </a:dk1>
    <a:lt1>
      <a:srgbClr val="FFFFFF"/>
    </a:lt1>
    <a:dk2>
      <a:srgbClr val="008272"/>
    </a:dk2>
    <a:lt2>
      <a:srgbClr val="D5F7F6"/>
    </a:lt2>
    <a:accent1>
      <a:srgbClr val="008272"/>
    </a:accent1>
    <a:accent2>
      <a:srgbClr val="B4009E"/>
    </a:accent2>
    <a:accent3>
      <a:srgbClr val="004B50"/>
    </a:accent3>
    <a:accent4>
      <a:srgbClr val="0078D7"/>
    </a:accent4>
    <a:accent5>
      <a:srgbClr val="5C2D91"/>
    </a:accent5>
    <a:accent6>
      <a:srgbClr val="D83B01"/>
    </a:accent6>
    <a:hlink>
      <a:srgbClr val="008272"/>
    </a:hlink>
    <a:folHlink>
      <a:srgbClr val="008272"/>
    </a:folHlink>
  </a:clrScheme>
</a:themeOverride>
</file>

<file path=ppt/theme/themeOverride5.xml><?xml version="1.0" encoding="utf-8"?>
<a:themeOverride xmlns:a="http://schemas.openxmlformats.org/drawingml/2006/main">
  <a:clrScheme name="MSVID White and Teal_10-2014">
    <a:dk1>
      <a:srgbClr val="505050"/>
    </a:dk1>
    <a:lt1>
      <a:srgbClr val="FFFFFF"/>
    </a:lt1>
    <a:dk2>
      <a:srgbClr val="008272"/>
    </a:dk2>
    <a:lt2>
      <a:srgbClr val="D5F7F6"/>
    </a:lt2>
    <a:accent1>
      <a:srgbClr val="008272"/>
    </a:accent1>
    <a:accent2>
      <a:srgbClr val="B4009E"/>
    </a:accent2>
    <a:accent3>
      <a:srgbClr val="004B50"/>
    </a:accent3>
    <a:accent4>
      <a:srgbClr val="0078D7"/>
    </a:accent4>
    <a:accent5>
      <a:srgbClr val="5C2D91"/>
    </a:accent5>
    <a:accent6>
      <a:srgbClr val="D83B01"/>
    </a:accent6>
    <a:hlink>
      <a:srgbClr val="008272"/>
    </a:hlink>
    <a:folHlink>
      <a:srgbClr val="008272"/>
    </a:folHlink>
  </a:clrScheme>
</a:themeOverride>
</file>

<file path=ppt/theme/themeOverride6.xml><?xml version="1.0" encoding="utf-8"?>
<a:themeOverride xmlns:a="http://schemas.openxmlformats.org/drawingml/2006/main">
  <a:clrScheme name="MSVID White and Teal_10-2014">
    <a:dk1>
      <a:srgbClr val="505050"/>
    </a:dk1>
    <a:lt1>
      <a:srgbClr val="FFFFFF"/>
    </a:lt1>
    <a:dk2>
      <a:srgbClr val="008272"/>
    </a:dk2>
    <a:lt2>
      <a:srgbClr val="D5F7F6"/>
    </a:lt2>
    <a:accent1>
      <a:srgbClr val="008272"/>
    </a:accent1>
    <a:accent2>
      <a:srgbClr val="B4009E"/>
    </a:accent2>
    <a:accent3>
      <a:srgbClr val="004B50"/>
    </a:accent3>
    <a:accent4>
      <a:srgbClr val="0078D7"/>
    </a:accent4>
    <a:accent5>
      <a:srgbClr val="5C2D91"/>
    </a:accent5>
    <a:accent6>
      <a:srgbClr val="D83B01"/>
    </a:accent6>
    <a:hlink>
      <a:srgbClr val="008272"/>
    </a:hlink>
    <a:folHlink>
      <a:srgbClr val="008272"/>
    </a:folHlink>
  </a:clrScheme>
</a:themeOverride>
</file>

<file path=ppt/theme/themeOverride7.xml><?xml version="1.0" encoding="utf-8"?>
<a:themeOverride xmlns:a="http://schemas.openxmlformats.org/drawingml/2006/main">
  <a:clrScheme name="MSVID White and Teal_10-2014">
    <a:dk1>
      <a:srgbClr val="505050"/>
    </a:dk1>
    <a:lt1>
      <a:srgbClr val="FFFFFF"/>
    </a:lt1>
    <a:dk2>
      <a:srgbClr val="008272"/>
    </a:dk2>
    <a:lt2>
      <a:srgbClr val="D5F7F6"/>
    </a:lt2>
    <a:accent1>
      <a:srgbClr val="008272"/>
    </a:accent1>
    <a:accent2>
      <a:srgbClr val="B4009E"/>
    </a:accent2>
    <a:accent3>
      <a:srgbClr val="004B50"/>
    </a:accent3>
    <a:accent4>
      <a:srgbClr val="0078D7"/>
    </a:accent4>
    <a:accent5>
      <a:srgbClr val="5C2D91"/>
    </a:accent5>
    <a:accent6>
      <a:srgbClr val="D83B01"/>
    </a:accent6>
    <a:hlink>
      <a:srgbClr val="008272"/>
    </a:hlink>
    <a:folHlink>
      <a:srgbClr val="008272"/>
    </a:folHlink>
  </a:clrScheme>
</a:themeOverride>
</file>

<file path=ppt/theme/themeOverride8.xml><?xml version="1.0" encoding="utf-8"?>
<a:themeOverride xmlns:a="http://schemas.openxmlformats.org/drawingml/2006/main">
  <a:clrScheme name="MSVID White and Teal_10-2014">
    <a:dk1>
      <a:srgbClr val="505050"/>
    </a:dk1>
    <a:lt1>
      <a:srgbClr val="FFFFFF"/>
    </a:lt1>
    <a:dk2>
      <a:srgbClr val="008272"/>
    </a:dk2>
    <a:lt2>
      <a:srgbClr val="D5F7F6"/>
    </a:lt2>
    <a:accent1>
      <a:srgbClr val="008272"/>
    </a:accent1>
    <a:accent2>
      <a:srgbClr val="B4009E"/>
    </a:accent2>
    <a:accent3>
      <a:srgbClr val="004B50"/>
    </a:accent3>
    <a:accent4>
      <a:srgbClr val="0078D7"/>
    </a:accent4>
    <a:accent5>
      <a:srgbClr val="5C2D91"/>
    </a:accent5>
    <a:accent6>
      <a:srgbClr val="D83B01"/>
    </a:accent6>
    <a:hlink>
      <a:srgbClr val="008272"/>
    </a:hlink>
    <a:folHlink>
      <a:srgbClr val="008272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29C361529A2A4CBD939C63066D45E6" ma:contentTypeVersion="10" ma:contentTypeDescription="Create a new document." ma:contentTypeScope="" ma:versionID="04a927498714da235d2b0157ecd8ba13">
  <xsd:schema xmlns:xsd="http://www.w3.org/2001/XMLSchema" xmlns:xs="http://www.w3.org/2001/XMLSchema" xmlns:p="http://schemas.microsoft.com/office/2006/metadata/properties" xmlns:ns2="86461db2-e4d8-4b63-bcd1-f2c2f627c055" xmlns:ns3="d964ef08-bd69-47ce-85df-0e468447ae3a" targetNamespace="http://schemas.microsoft.com/office/2006/metadata/properties" ma:root="true" ma:fieldsID="d2ecd36252094b2fbf3c3c86598d3d6f" ns2:_="" ns3:_="">
    <xsd:import namespace="86461db2-e4d8-4b63-bcd1-f2c2f627c055"/>
    <xsd:import namespace="d964ef08-bd69-47ce-85df-0e468447ae3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1db2-e4d8-4b63-bcd1-f2c2f627c05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EventHashCode" ma:index="1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64ef08-bd69-47ce-85df-0e468447ae3a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E400C92-396E-4C43-9CCF-9CDD730F8135}">
  <ds:schemaRefs>
    <ds:schemaRef ds:uri="http://schemas.microsoft.com/office/2006/metadata/properties"/>
    <ds:schemaRef ds:uri="http://www.w3.org/XML/1998/namespace"/>
    <ds:schemaRef ds:uri="d964ef08-bd69-47ce-85df-0e468447ae3a"/>
    <ds:schemaRef ds:uri="http://schemas.microsoft.com/office/2006/documentManagement/types"/>
    <ds:schemaRef ds:uri="http://schemas.microsoft.com/office/infopath/2007/PartnerControls"/>
    <ds:schemaRef ds:uri="http://purl.org/dc/terms/"/>
    <ds:schemaRef ds:uri="http://purl.org/dc/elements/1.1/"/>
    <ds:schemaRef ds:uri="http://purl.org/dc/dcmitype/"/>
    <ds:schemaRef ds:uri="86461db2-e4d8-4b63-bcd1-f2c2f627c055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16DD8BB0-A670-40EF-AAB0-816ACE122AB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6461db2-e4d8-4b63-bcd1-f2c2f627c055"/>
    <ds:schemaRef ds:uri="d964ef08-bd69-47ce-85df-0e468447ae3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1972FED-198B-4A44-BF4D-F25BA519C34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375</Words>
  <Application>Microsoft Macintosh PowerPoint</Application>
  <PresentationFormat>Widescreen</PresentationFormat>
  <Paragraphs>647</Paragraphs>
  <Slides>63</Slides>
  <Notes>51</Notes>
  <HiddenSlides>1</HiddenSlides>
  <MMClips>0</MMClips>
  <ScaleCrop>false</ScaleCrop>
  <HeadingPairs>
    <vt:vector size="6" baseType="variant">
      <vt:variant>
        <vt:lpstr>Fonts Used</vt:lpstr>
      </vt:variant>
      <vt:variant>
        <vt:i4>24</vt:i4>
      </vt:variant>
      <vt:variant>
        <vt:lpstr>Theme</vt:lpstr>
      </vt:variant>
      <vt:variant>
        <vt:i4>17</vt:i4>
      </vt:variant>
      <vt:variant>
        <vt:lpstr>Slide Titles</vt:lpstr>
      </vt:variant>
      <vt:variant>
        <vt:i4>63</vt:i4>
      </vt:variant>
    </vt:vector>
  </HeadingPairs>
  <TitlesOfParts>
    <vt:vector size="104" baseType="lpstr">
      <vt:lpstr>Arial</vt:lpstr>
      <vt:lpstr>Arial Black</vt:lpstr>
      <vt:lpstr>Calibri</vt:lpstr>
      <vt:lpstr>Calibri Light</vt:lpstr>
      <vt:lpstr>Consolas</vt:lpstr>
      <vt:lpstr>Courier New</vt:lpstr>
      <vt:lpstr>Google Sans</vt:lpstr>
      <vt:lpstr>Lucida Grande</vt:lpstr>
      <vt:lpstr>Noto Sans Symbols</vt:lpstr>
      <vt:lpstr>Noto Symbol</vt:lpstr>
      <vt:lpstr>Quattrocento Sans</vt:lpstr>
      <vt:lpstr>Segoe Pro</vt:lpstr>
      <vt:lpstr>Segoe Pro Semibold</vt:lpstr>
      <vt:lpstr>Segoe Semibold</vt:lpstr>
      <vt:lpstr>Segoe UI</vt:lpstr>
      <vt:lpstr>Segoe UI Bold</vt:lpstr>
      <vt:lpstr>Segoe UI Light</vt:lpstr>
      <vt:lpstr>Segoe UI Semibold</vt:lpstr>
      <vt:lpstr>Segoe UI Semilight</vt:lpstr>
      <vt:lpstr>Source Sans Pro</vt:lpstr>
      <vt:lpstr>Trebuchet MS</vt:lpstr>
      <vt:lpstr>Verdana</vt:lpstr>
      <vt:lpstr>Wingdings</vt:lpstr>
      <vt:lpstr>Wingdings 3</vt:lpstr>
      <vt:lpstr>Office Theme</vt:lpstr>
      <vt:lpstr>1_Office Theme</vt:lpstr>
      <vt:lpstr>2_5-30660_TR21_BO_CT_Template</vt:lpstr>
      <vt:lpstr>1_5-30660_TR21_BO_CT_Template</vt:lpstr>
      <vt:lpstr>5-50033_TR23_BO_CT_Template</vt:lpstr>
      <vt:lpstr>Content Slides - Light</vt:lpstr>
      <vt:lpstr>6_7-30269_Server &amp; Tools Business_16x9</vt:lpstr>
      <vt:lpstr>2_EBC_2017</vt:lpstr>
      <vt:lpstr>1_C+E Readiness Template</vt:lpstr>
      <vt:lpstr>5-30660_TR21_BO_CT_Template</vt:lpstr>
      <vt:lpstr>2_C+E Readiness Template</vt:lpstr>
      <vt:lpstr>3_5-30660_TR21_BO_CT_Template</vt:lpstr>
      <vt:lpstr>5-50225 Digital Transformation Acadmey 2018</vt:lpstr>
      <vt:lpstr>Azure Dev Dark - 2018H2</vt:lpstr>
      <vt:lpstr>4_5-30660_TR21_BO_CT_Template</vt:lpstr>
      <vt:lpstr>WHITE TEMPLATE</vt:lpstr>
      <vt:lpstr>5_5-30660_TR21_BO_CT_Template</vt:lpstr>
      <vt:lpstr>MLOps Kick-off</vt:lpstr>
      <vt:lpstr>You will get your hands dirt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nd now death by Power Point… </vt:lpstr>
      <vt:lpstr>Machine Learning is now where Software Engineering was 15 years ago</vt:lpstr>
      <vt:lpstr>But ML is hard!</vt:lpstr>
      <vt:lpstr>PowerPoint Presentation</vt:lpstr>
      <vt:lpstr>PowerPoint Presentation</vt:lpstr>
      <vt:lpstr>ML Lifecycle</vt:lpstr>
      <vt:lpstr>PowerPoint Presentation</vt:lpstr>
      <vt:lpstr>PowerPoint Presentation</vt:lpstr>
      <vt:lpstr>MLOps!</vt:lpstr>
      <vt:lpstr>PowerPoint Presentation</vt:lpstr>
      <vt:lpstr>Cowboys and Ranchers Can Be Friends!</vt:lpstr>
      <vt:lpstr>Enter MLOps</vt:lpstr>
      <vt:lpstr>MLOps Benefits</vt:lpstr>
      <vt:lpstr>MLOps Workflow</vt:lpstr>
      <vt:lpstr>MLOps Workflow</vt:lpstr>
      <vt:lpstr>MLOps Workflow</vt:lpstr>
      <vt:lpstr>MLOps Workflow</vt:lpstr>
      <vt:lpstr>MLOps Workflow</vt:lpstr>
      <vt:lpstr>MLOps Workflow</vt:lpstr>
      <vt:lpstr>MLOps Workflow</vt:lpstr>
      <vt:lpstr>MLOps on Azure</vt:lpstr>
      <vt:lpstr>Azure Services Supporting MLOps</vt:lpstr>
      <vt:lpstr>New MLOps Services from Azure Machine Learning</vt:lpstr>
      <vt:lpstr>Model Versioning &amp; Storage</vt:lpstr>
      <vt:lpstr>Model Validation</vt:lpstr>
      <vt:lpstr>Model Deployment</vt:lpstr>
      <vt:lpstr>Azure DevOps Pipelines</vt:lpstr>
      <vt:lpstr>Azure DevOps Pipelines</vt:lpstr>
      <vt:lpstr>PowerPoint Presentation</vt:lpstr>
      <vt:lpstr>Build Your Own MLOps Platform</vt:lpstr>
      <vt:lpstr>Azure DevOps + Azure ML </vt:lpstr>
      <vt:lpstr>First Class Model Training Tasks</vt:lpstr>
      <vt:lpstr>Gating and Provisioning on Validation &amp; Profiling</vt:lpstr>
      <vt:lpstr>Automated Deployment</vt:lpstr>
      <vt:lpstr>MLOps Framework on Azure</vt:lpstr>
      <vt:lpstr>Azure ML Ops</vt:lpstr>
      <vt:lpstr>PowerPoint Presentation</vt:lpstr>
      <vt:lpstr>Real World Multi-Cloud</vt:lpstr>
      <vt:lpstr>Real World Multi-Cloud</vt:lpstr>
      <vt:lpstr>Real World Multi-Cloud</vt:lpstr>
      <vt:lpstr>Real World Multi-Cloud</vt:lpstr>
      <vt:lpstr>Real World Multi-Cloud</vt:lpstr>
      <vt:lpstr>Real World Multi-Cloud</vt:lpstr>
      <vt:lpstr>Real World Multi-Cloud</vt:lpstr>
      <vt:lpstr>Real World Multi-Cloud</vt:lpstr>
      <vt:lpstr>Real World Multi-Cloud</vt:lpstr>
      <vt:lpstr>Real World Multi-Cloud</vt:lpstr>
      <vt:lpstr>Real World Multi-Cloud</vt:lpstr>
      <vt:lpstr>Real World Multi-Cloud</vt:lpstr>
      <vt:lpstr>Real World Multi-Cloud</vt:lpstr>
      <vt:lpstr>Real World Multi-Cloud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TA What the Hack</dc:title>
  <dc:creator/>
  <cp:revision>7</cp:revision>
  <dcterms:created xsi:type="dcterms:W3CDTF">1601-01-01T00:00:00Z</dcterms:created>
  <dcterms:modified xsi:type="dcterms:W3CDTF">2021-01-29T12:08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iteId">
    <vt:lpwstr>72f988bf-86f1-41af-91ab-2d7cd011db47</vt:lpwstr>
  </property>
  <property fmtid="{D5CDD505-2E9C-101B-9397-08002B2CF9AE}" pid="4" name="MSIP_Label_f42aa342-8706-4288-bd11-ebb85995028c_Owner">
    <vt:lpwstr>peterlau@microsoft.com</vt:lpwstr>
  </property>
  <property fmtid="{D5CDD505-2E9C-101B-9397-08002B2CF9AE}" pid="5" name="MSIP_Label_f42aa342-8706-4288-bd11-ebb85995028c_SetDate">
    <vt:lpwstr>2018-06-19T23:36:52.4309195Z</vt:lpwstr>
  </property>
  <property fmtid="{D5CDD505-2E9C-101B-9397-08002B2CF9AE}" pid="6" name="MSIP_Label_f42aa342-8706-4288-bd11-ebb85995028c_Name">
    <vt:lpwstr>General</vt:lpwstr>
  </property>
  <property fmtid="{D5CDD505-2E9C-101B-9397-08002B2CF9AE}" pid="7" name="MSIP_Label_f42aa342-8706-4288-bd11-ebb85995028c_Application">
    <vt:lpwstr>Microsoft Azure Information Protection</vt:lpwstr>
  </property>
  <property fmtid="{D5CDD505-2E9C-101B-9397-08002B2CF9AE}" pid="8" name="MSIP_Label_f42aa342-8706-4288-bd11-ebb85995028c_Extended_MSFT_Method">
    <vt:lpwstr>Automatic</vt:lpwstr>
  </property>
  <property fmtid="{D5CDD505-2E9C-101B-9397-08002B2CF9AE}" pid="9" name="Sensitivity">
    <vt:lpwstr>General</vt:lpwstr>
  </property>
  <property fmtid="{D5CDD505-2E9C-101B-9397-08002B2CF9AE}" pid="10" name="ContentTypeId">
    <vt:lpwstr>0x0101005029C361529A2A4CBD939C63066D45E6</vt:lpwstr>
  </property>
</Properties>
</file>